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6"/>
  </p:notesMasterIdLst>
  <p:sldIdLst>
    <p:sldId id="317" r:id="rId2"/>
    <p:sldId id="258" r:id="rId3"/>
    <p:sldId id="359" r:id="rId4"/>
    <p:sldId id="305" r:id="rId5"/>
    <p:sldId id="315" r:id="rId6"/>
    <p:sldId id="343" r:id="rId7"/>
    <p:sldId id="344" r:id="rId8"/>
    <p:sldId id="346" r:id="rId9"/>
    <p:sldId id="347" r:id="rId10"/>
    <p:sldId id="348" r:id="rId11"/>
    <p:sldId id="349" r:id="rId12"/>
    <p:sldId id="350" r:id="rId13"/>
    <p:sldId id="351" r:id="rId14"/>
    <p:sldId id="329" r:id="rId15"/>
    <p:sldId id="352" r:id="rId16"/>
    <p:sldId id="353" r:id="rId17"/>
    <p:sldId id="354" r:id="rId18"/>
    <p:sldId id="303" r:id="rId19"/>
    <p:sldId id="358" r:id="rId20"/>
    <p:sldId id="316" r:id="rId21"/>
    <p:sldId id="311" r:id="rId22"/>
    <p:sldId id="319" r:id="rId23"/>
    <p:sldId id="320" r:id="rId24"/>
    <p:sldId id="261" r:id="rId25"/>
    <p:sldId id="360" r:id="rId26"/>
    <p:sldId id="264" r:id="rId27"/>
    <p:sldId id="357" r:id="rId28"/>
    <p:sldId id="334" r:id="rId29"/>
    <p:sldId id="335" r:id="rId30"/>
    <p:sldId id="340" r:id="rId31"/>
    <p:sldId id="336" r:id="rId32"/>
    <p:sldId id="337" r:id="rId33"/>
    <p:sldId id="339" r:id="rId34"/>
    <p:sldId id="361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48F"/>
    <a:srgbClr val="F6BA3B"/>
    <a:srgbClr val="FFD54F"/>
    <a:srgbClr val="FFC000"/>
    <a:srgbClr val="FFD85B"/>
    <a:srgbClr val="FFB618"/>
    <a:srgbClr val="FF9900"/>
    <a:srgbClr val="009E9E"/>
    <a:srgbClr val="008081"/>
    <a:srgbClr val="FFC8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2" autoAdjust="0"/>
    <p:restoredTop sz="94660"/>
  </p:normalViewPr>
  <p:slideViewPr>
    <p:cSldViewPr snapToGrid="0">
      <p:cViewPr varScale="1">
        <p:scale>
          <a:sx n="67" d="100"/>
          <a:sy n="67" d="100"/>
        </p:scale>
        <p:origin x="68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o-Ai%20day-Toi%20day\Desktop\Book2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otal training time (mins) – Baseline and Hyper tuned</a:t>
            </a:r>
            <a:r>
              <a:rPr lang="en-US" sz="2000" baseline="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models</a:t>
            </a:r>
            <a:endParaRPr lang="en-US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c:rich>
      </c:tx>
      <c:layout>
        <c:manualLayout>
          <c:xMode val="edge"/>
          <c:yMode val="edge"/>
          <c:x val="0.24434532488388008"/>
          <c:y val="2.45284242097577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Total training time (mins)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2:$B$8</c:f>
              <c:strCache>
                <c:ptCount val="7"/>
                <c:pt idx="0">
                  <c:v>Logistic Regression</c:v>
                </c:pt>
                <c:pt idx="1">
                  <c:v>Random Forest</c:v>
                </c:pt>
                <c:pt idx="2">
                  <c:v>Gradient Boosting Tree</c:v>
                </c:pt>
                <c:pt idx="3">
                  <c:v>Naïve Bayes</c:v>
                </c:pt>
                <c:pt idx="4">
                  <c:v>Linear SVC</c:v>
                </c:pt>
                <c:pt idx="5">
                  <c:v>Log Reg Hyper tuned</c:v>
                </c:pt>
                <c:pt idx="6">
                  <c:v>GBT Hyper tuned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27.11</c:v>
                </c:pt>
                <c:pt idx="1">
                  <c:v>32.909999999999997</c:v>
                </c:pt>
                <c:pt idx="2">
                  <c:v>86.16</c:v>
                </c:pt>
                <c:pt idx="3">
                  <c:v>28.479999999999997</c:v>
                </c:pt>
                <c:pt idx="4">
                  <c:v>52.2</c:v>
                </c:pt>
                <c:pt idx="5">
                  <c:v>199.25</c:v>
                </c:pt>
                <c:pt idx="6">
                  <c:v>494.77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D3-40C6-88B1-CB7DFB2F88F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239499312"/>
        <c:axId val="872684080"/>
      </c:barChart>
      <c:catAx>
        <c:axId val="123949931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dirty="0"/>
                  <a:t>Algorithm</a:t>
                </a:r>
                <a:r>
                  <a:rPr lang="en-US" sz="1600" baseline="0" dirty="0"/>
                  <a:t> Name</a:t>
                </a:r>
                <a:endParaRPr lang="en-US" sz="16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2684080"/>
        <c:crosses val="autoZero"/>
        <c:auto val="1"/>
        <c:lblAlgn val="ctr"/>
        <c:lblOffset val="100"/>
        <c:noMultiLvlLbl val="0"/>
      </c:catAx>
      <c:valAx>
        <c:axId val="8726840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/>
                  <a:t>Minut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9499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>
          <a:lumMod val="75000"/>
          <a:lumOff val="2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0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4_3">
  <dgm:title val=""/>
  <dgm:desc val=""/>
  <dgm:catLst>
    <dgm:cat type="accent4" pri="11300"/>
  </dgm:catLst>
  <dgm:styleLbl name="node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shade val="80000"/>
      </a:schemeClr>
      <a:schemeClr val="accent4">
        <a:tint val="7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/>
    <dgm:txEffectClrLst/>
  </dgm:styleLbl>
  <dgm:styleLbl name="ln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9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8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EB9C9B6-13D5-4ABD-A744-8D6B9086F178}" type="doc">
      <dgm:prSet loTypeId="urn:microsoft.com/office/officeart/2005/8/layout/process5" loCatId="process" qsTypeId="urn:microsoft.com/office/officeart/2005/8/quickstyle/simple2" qsCatId="simple" csTypeId="urn:microsoft.com/office/officeart/2005/8/colors/accent5_1" csCatId="accent5" phldr="1"/>
      <dgm:spPr/>
    </dgm:pt>
    <dgm:pt modelId="{29E3FBB3-9ABF-45D6-AF68-C9E865BEB080}">
      <dgm:prSet phldrT="[Text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pPr algn="ctr"/>
          <a:r>
            <a:rPr lang="en-CA" sz="1400" b="1" dirty="0"/>
            <a:t>Lowercase</a:t>
          </a:r>
        </a:p>
      </dgm:t>
    </dgm:pt>
    <dgm:pt modelId="{E6026264-2E8F-4712-B161-5DAE8A163A31}" type="parTrans" cxnId="{0234757E-2AC4-41AE-939C-2CAF4093CEAB}">
      <dgm:prSet/>
      <dgm:spPr/>
      <dgm:t>
        <a:bodyPr/>
        <a:lstStyle/>
        <a:p>
          <a:pPr algn="ctr"/>
          <a:endParaRPr lang="en-CA" sz="2000" b="1"/>
        </a:p>
      </dgm:t>
    </dgm:pt>
    <dgm:pt modelId="{9EF66762-D321-46B3-BCD9-9CE66F4DCE85}" type="sibTrans" cxnId="{0234757E-2AC4-41AE-939C-2CAF4093CEAB}">
      <dgm:prSet custT="1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>
        <a:solidFill>
          <a:schemeClr val="bg2">
            <a:lumMod val="75000"/>
          </a:schemeClr>
        </a:solidFill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pPr algn="ctr"/>
          <a:endParaRPr lang="en-CA" sz="1200" b="1" dirty="0"/>
        </a:p>
      </dgm:t>
    </dgm:pt>
    <dgm:pt modelId="{AE15A575-DB54-4FFA-810A-715561903729}">
      <dgm:prSet phldrT="[Text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pPr algn="ctr"/>
          <a:r>
            <a:rPr lang="en-CA" sz="1400" b="1" dirty="0"/>
            <a:t>Remove HTML</a:t>
          </a:r>
        </a:p>
      </dgm:t>
    </dgm:pt>
    <dgm:pt modelId="{64978CD2-0A78-43A9-AE88-55798695A9EF}" type="parTrans" cxnId="{22B9EDD5-4259-476C-8E9F-AC83C66E4622}">
      <dgm:prSet/>
      <dgm:spPr/>
      <dgm:t>
        <a:bodyPr/>
        <a:lstStyle/>
        <a:p>
          <a:pPr algn="ctr"/>
          <a:endParaRPr lang="en-CA" sz="2000" b="1"/>
        </a:p>
      </dgm:t>
    </dgm:pt>
    <dgm:pt modelId="{9F8154C0-0D0C-4619-9ACB-6C1610440D6B}" type="sibTrans" cxnId="{22B9EDD5-4259-476C-8E9F-AC83C66E4622}">
      <dgm:prSet custT="1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>
        <a:solidFill>
          <a:schemeClr val="bg2">
            <a:lumMod val="75000"/>
          </a:schemeClr>
        </a:solidFill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pPr algn="ctr"/>
          <a:endParaRPr lang="en-CA" sz="1200" b="1" dirty="0"/>
        </a:p>
      </dgm:t>
    </dgm:pt>
    <dgm:pt modelId="{D00D769B-29B9-4707-B2C6-CB36E5210246}">
      <dgm:prSet phldrT="[Text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pPr algn="ctr"/>
          <a:r>
            <a:rPr lang="en-CA" sz="1400" b="1" dirty="0"/>
            <a:t>Remove punctuations</a:t>
          </a:r>
        </a:p>
      </dgm:t>
    </dgm:pt>
    <dgm:pt modelId="{7DECF872-E53B-46AD-A1DE-E259C945A753}" type="parTrans" cxnId="{ED977883-614A-4496-B934-135C347A739D}">
      <dgm:prSet/>
      <dgm:spPr/>
      <dgm:t>
        <a:bodyPr/>
        <a:lstStyle/>
        <a:p>
          <a:pPr algn="ctr"/>
          <a:endParaRPr lang="en-CA" sz="2000" b="1"/>
        </a:p>
      </dgm:t>
    </dgm:pt>
    <dgm:pt modelId="{3D67F219-BDD3-4B48-B6E9-22E9643B2426}" type="sibTrans" cxnId="{ED977883-614A-4496-B934-135C347A739D}">
      <dgm:prSet custT="1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>
        <a:solidFill>
          <a:schemeClr val="bg2">
            <a:lumMod val="75000"/>
          </a:schemeClr>
        </a:solidFill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pPr algn="ctr"/>
          <a:endParaRPr lang="en-CA" sz="1200" b="1" dirty="0"/>
        </a:p>
      </dgm:t>
    </dgm:pt>
    <dgm:pt modelId="{852BDF78-B66D-44B0-ADC4-C9F6ED93F27D}">
      <dgm:prSet phldrT="[Text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pPr algn="ctr"/>
          <a:r>
            <a:rPr lang="en-US" sz="1400" b="1" dirty="0"/>
            <a:t>Remove multiple spaces</a:t>
          </a:r>
          <a:endParaRPr lang="en-CA" sz="1400" b="1" dirty="0"/>
        </a:p>
      </dgm:t>
    </dgm:pt>
    <dgm:pt modelId="{703CAFC7-E933-43A4-BC3B-B7D6F7E2333B}" type="parTrans" cxnId="{3925E4FF-902A-4DC6-96EE-CF775A20B638}">
      <dgm:prSet/>
      <dgm:spPr/>
      <dgm:t>
        <a:bodyPr/>
        <a:lstStyle/>
        <a:p>
          <a:pPr algn="ctr"/>
          <a:endParaRPr lang="en-CA" sz="2000" b="1"/>
        </a:p>
      </dgm:t>
    </dgm:pt>
    <dgm:pt modelId="{57BC78F9-1A3A-44AF-8728-E1FBC9F716B1}" type="sibTrans" cxnId="{3925E4FF-902A-4DC6-96EE-CF775A20B638}">
      <dgm:prSet custT="1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>
        <a:solidFill>
          <a:schemeClr val="bg2">
            <a:lumMod val="75000"/>
          </a:schemeClr>
        </a:solidFill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pPr algn="ctr"/>
          <a:endParaRPr lang="en-CA" sz="1200" b="1" dirty="0"/>
        </a:p>
      </dgm:t>
    </dgm:pt>
    <dgm:pt modelId="{3207AF79-905D-48F6-93DA-D050AEE4D93A}">
      <dgm:prSet phldrT="[Text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pPr algn="ctr"/>
          <a:r>
            <a:rPr lang="en-US" sz="1400" b="1" dirty="0"/>
            <a:t>Regex Tokenizer (Letters only)</a:t>
          </a:r>
          <a:endParaRPr lang="en-CA" sz="1400" b="1" dirty="0"/>
        </a:p>
      </dgm:t>
    </dgm:pt>
    <dgm:pt modelId="{CB2D5F84-FB21-46A2-AF82-97973B2972DC}" type="parTrans" cxnId="{CA410AC6-6BCF-4B07-85D7-56DD86E90D86}">
      <dgm:prSet/>
      <dgm:spPr/>
      <dgm:t>
        <a:bodyPr/>
        <a:lstStyle/>
        <a:p>
          <a:pPr algn="ctr"/>
          <a:endParaRPr lang="en-CA" sz="2000" b="1"/>
        </a:p>
      </dgm:t>
    </dgm:pt>
    <dgm:pt modelId="{C369CF18-2EA9-4C81-AFD3-AE30CE396019}" type="sibTrans" cxnId="{CA410AC6-6BCF-4B07-85D7-56DD86E90D86}">
      <dgm:prSet custT="1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>
        <a:solidFill>
          <a:schemeClr val="bg2">
            <a:lumMod val="75000"/>
          </a:schemeClr>
        </a:solidFill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pPr algn="ctr"/>
          <a:endParaRPr lang="en-CA" sz="1200" b="1" dirty="0"/>
        </a:p>
      </dgm:t>
    </dgm:pt>
    <dgm:pt modelId="{A2175407-A768-4617-AC6C-EB70DA72A68B}">
      <dgm:prSet phldrT="[Text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pPr algn="ctr"/>
          <a:r>
            <a:rPr lang="en-US" sz="1400" b="1" dirty="0"/>
            <a:t>Lemmatizer</a:t>
          </a:r>
          <a:endParaRPr lang="en-CA" sz="1400" b="1" dirty="0"/>
        </a:p>
      </dgm:t>
    </dgm:pt>
    <dgm:pt modelId="{0AF1C965-0421-49F7-A9B6-1EF01C871545}" type="parTrans" cxnId="{C58EE1D7-5108-4EC1-92AF-6654EE15BBD6}">
      <dgm:prSet/>
      <dgm:spPr/>
      <dgm:t>
        <a:bodyPr/>
        <a:lstStyle/>
        <a:p>
          <a:pPr algn="ctr"/>
          <a:endParaRPr lang="en-CA" sz="2000" b="1"/>
        </a:p>
      </dgm:t>
    </dgm:pt>
    <dgm:pt modelId="{6BBCE306-FA73-4554-9CC6-94567C04766D}" type="sibTrans" cxnId="{C58EE1D7-5108-4EC1-92AF-6654EE15BBD6}">
      <dgm:prSet custT="1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>
        <a:solidFill>
          <a:schemeClr val="bg2">
            <a:lumMod val="75000"/>
          </a:schemeClr>
        </a:solidFill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pPr algn="ctr"/>
          <a:endParaRPr lang="en-CA" sz="1200" b="1" dirty="0"/>
        </a:p>
      </dgm:t>
    </dgm:pt>
    <dgm:pt modelId="{C1CBB58E-7EA3-4F7A-BDDC-B463692270AC}">
      <dgm:prSet phldrT="[Text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pPr algn="ctr"/>
          <a:r>
            <a:rPr lang="en-US" sz="1400" b="1" dirty="0"/>
            <a:t>Stop Word removal (English, French, Spanish) </a:t>
          </a:r>
          <a:endParaRPr lang="en-CA" sz="1400" b="1" dirty="0"/>
        </a:p>
      </dgm:t>
    </dgm:pt>
    <dgm:pt modelId="{993F100A-97FD-4C57-894F-D1272F8312F2}" type="parTrans" cxnId="{B0030432-2A82-4553-8DA5-0783865A8019}">
      <dgm:prSet/>
      <dgm:spPr/>
      <dgm:t>
        <a:bodyPr/>
        <a:lstStyle/>
        <a:p>
          <a:pPr algn="ctr"/>
          <a:endParaRPr lang="en-CA" sz="2000" b="1"/>
        </a:p>
      </dgm:t>
    </dgm:pt>
    <dgm:pt modelId="{D81D372D-77CE-4935-A2A3-F87386D337EB}" type="sibTrans" cxnId="{B0030432-2A82-4553-8DA5-0783865A8019}">
      <dgm:prSet/>
      <dgm:spPr/>
      <dgm:t>
        <a:bodyPr/>
        <a:lstStyle/>
        <a:p>
          <a:pPr algn="ctr"/>
          <a:endParaRPr lang="en-CA" sz="2000" b="1"/>
        </a:p>
      </dgm:t>
    </dgm:pt>
    <dgm:pt modelId="{12BE2149-A5D3-42C5-8175-988567274E9E}">
      <dgm:prSet phldrT="[Text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pPr algn="ctr"/>
          <a:r>
            <a:rPr lang="en-US" sz="1400" b="1" dirty="0"/>
            <a:t>Part of Speech Tagging &amp; Chunking</a:t>
          </a:r>
          <a:endParaRPr lang="en-CA" sz="1400" b="1" dirty="0"/>
        </a:p>
      </dgm:t>
    </dgm:pt>
    <dgm:pt modelId="{A1CFE16B-1AF9-4FBC-8E00-B62B81C5A061}" type="parTrans" cxnId="{B7CB0BF4-9A75-4329-BF77-E910E304E27F}">
      <dgm:prSet/>
      <dgm:spPr/>
      <dgm:t>
        <a:bodyPr/>
        <a:lstStyle/>
        <a:p>
          <a:endParaRPr lang="en-CA" sz="2000" b="1"/>
        </a:p>
      </dgm:t>
    </dgm:pt>
    <dgm:pt modelId="{4F8F8BC6-1375-4BE9-A260-CB3ADD1A9017}" type="sibTrans" cxnId="{B7CB0BF4-9A75-4329-BF77-E910E304E27F}">
      <dgm:prSet custT="1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>
        <a:solidFill>
          <a:schemeClr val="bg2">
            <a:lumMod val="75000"/>
          </a:schemeClr>
        </a:solidFill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n-CA" sz="1200" b="1" dirty="0"/>
        </a:p>
      </dgm:t>
    </dgm:pt>
    <dgm:pt modelId="{1FA7AEFF-BB74-418E-A694-08BE32C0F162}" type="pres">
      <dgm:prSet presAssocID="{EEB9C9B6-13D5-4ABD-A744-8D6B9086F178}" presName="diagram" presStyleCnt="0">
        <dgm:presLayoutVars>
          <dgm:dir/>
          <dgm:resizeHandles val="exact"/>
        </dgm:presLayoutVars>
      </dgm:prSet>
      <dgm:spPr/>
    </dgm:pt>
    <dgm:pt modelId="{E5E7BBA6-981C-408D-B166-F47302396D44}" type="pres">
      <dgm:prSet presAssocID="{29E3FBB3-9ABF-45D6-AF68-C9E865BEB080}" presName="node" presStyleLbl="node1" presStyleIdx="0" presStyleCnt="8">
        <dgm:presLayoutVars>
          <dgm:bulletEnabled val="1"/>
        </dgm:presLayoutVars>
      </dgm:prSet>
      <dgm:spPr/>
    </dgm:pt>
    <dgm:pt modelId="{93F5FA66-A912-42D3-807F-3BDA4966F25F}" type="pres">
      <dgm:prSet presAssocID="{9EF66762-D321-46B3-BCD9-9CE66F4DCE85}" presName="sibTrans" presStyleLbl="sibTrans2D1" presStyleIdx="0" presStyleCnt="7"/>
      <dgm:spPr/>
    </dgm:pt>
    <dgm:pt modelId="{A8EC28C3-CDBF-4E1C-A372-0E6656E88DF5}" type="pres">
      <dgm:prSet presAssocID="{9EF66762-D321-46B3-BCD9-9CE66F4DCE85}" presName="connectorText" presStyleLbl="sibTrans2D1" presStyleIdx="0" presStyleCnt="7"/>
      <dgm:spPr/>
    </dgm:pt>
    <dgm:pt modelId="{D73B2FD7-B82B-4C27-A27A-6BC43639EAEB}" type="pres">
      <dgm:prSet presAssocID="{AE15A575-DB54-4FFA-810A-715561903729}" presName="node" presStyleLbl="node1" presStyleIdx="1" presStyleCnt="8">
        <dgm:presLayoutVars>
          <dgm:bulletEnabled val="1"/>
        </dgm:presLayoutVars>
      </dgm:prSet>
      <dgm:spPr/>
    </dgm:pt>
    <dgm:pt modelId="{DC60A24C-C3AA-4EA3-9E6A-6F8569BDF837}" type="pres">
      <dgm:prSet presAssocID="{9F8154C0-0D0C-4619-9ACB-6C1610440D6B}" presName="sibTrans" presStyleLbl="sibTrans2D1" presStyleIdx="1" presStyleCnt="7"/>
      <dgm:spPr/>
    </dgm:pt>
    <dgm:pt modelId="{56602BEF-ABD7-40F9-B3F3-1473D55DF3B9}" type="pres">
      <dgm:prSet presAssocID="{9F8154C0-0D0C-4619-9ACB-6C1610440D6B}" presName="connectorText" presStyleLbl="sibTrans2D1" presStyleIdx="1" presStyleCnt="7"/>
      <dgm:spPr/>
    </dgm:pt>
    <dgm:pt modelId="{9659A698-262C-4059-962B-5C10ADAFFCA4}" type="pres">
      <dgm:prSet presAssocID="{D00D769B-29B9-4707-B2C6-CB36E5210246}" presName="node" presStyleLbl="node1" presStyleIdx="2" presStyleCnt="8">
        <dgm:presLayoutVars>
          <dgm:bulletEnabled val="1"/>
        </dgm:presLayoutVars>
      </dgm:prSet>
      <dgm:spPr/>
    </dgm:pt>
    <dgm:pt modelId="{6E732422-8200-4BE0-9E67-102681462A7C}" type="pres">
      <dgm:prSet presAssocID="{3D67F219-BDD3-4B48-B6E9-22E9643B2426}" presName="sibTrans" presStyleLbl="sibTrans2D1" presStyleIdx="2" presStyleCnt="7"/>
      <dgm:spPr/>
    </dgm:pt>
    <dgm:pt modelId="{4BA8AF49-2846-4DB5-A825-EF44FF83BB65}" type="pres">
      <dgm:prSet presAssocID="{3D67F219-BDD3-4B48-B6E9-22E9643B2426}" presName="connectorText" presStyleLbl="sibTrans2D1" presStyleIdx="2" presStyleCnt="7"/>
      <dgm:spPr/>
    </dgm:pt>
    <dgm:pt modelId="{1C8B61BB-0450-4F0C-BAAF-893B13F749C1}" type="pres">
      <dgm:prSet presAssocID="{852BDF78-B66D-44B0-ADC4-C9F6ED93F27D}" presName="node" presStyleLbl="node1" presStyleIdx="3" presStyleCnt="8">
        <dgm:presLayoutVars>
          <dgm:bulletEnabled val="1"/>
        </dgm:presLayoutVars>
      </dgm:prSet>
      <dgm:spPr/>
    </dgm:pt>
    <dgm:pt modelId="{27130080-C7CF-4D9C-ADB9-3D86A0F71969}" type="pres">
      <dgm:prSet presAssocID="{57BC78F9-1A3A-44AF-8728-E1FBC9F716B1}" presName="sibTrans" presStyleLbl="sibTrans2D1" presStyleIdx="3" presStyleCnt="7"/>
      <dgm:spPr/>
    </dgm:pt>
    <dgm:pt modelId="{97A3DC3D-284A-44AB-BEB0-C62ACA13560D}" type="pres">
      <dgm:prSet presAssocID="{57BC78F9-1A3A-44AF-8728-E1FBC9F716B1}" presName="connectorText" presStyleLbl="sibTrans2D1" presStyleIdx="3" presStyleCnt="7"/>
      <dgm:spPr/>
    </dgm:pt>
    <dgm:pt modelId="{2C90B425-CFF7-4992-BEF1-B8115B3B1B14}" type="pres">
      <dgm:prSet presAssocID="{3207AF79-905D-48F6-93DA-D050AEE4D93A}" presName="node" presStyleLbl="node1" presStyleIdx="4" presStyleCnt="8">
        <dgm:presLayoutVars>
          <dgm:bulletEnabled val="1"/>
        </dgm:presLayoutVars>
      </dgm:prSet>
      <dgm:spPr/>
    </dgm:pt>
    <dgm:pt modelId="{65869636-7B5E-414F-988B-8650268C4AAF}" type="pres">
      <dgm:prSet presAssocID="{C369CF18-2EA9-4C81-AFD3-AE30CE396019}" presName="sibTrans" presStyleLbl="sibTrans2D1" presStyleIdx="4" presStyleCnt="7"/>
      <dgm:spPr/>
    </dgm:pt>
    <dgm:pt modelId="{EB3E4E41-A123-4085-AAFD-397BD9C5D488}" type="pres">
      <dgm:prSet presAssocID="{C369CF18-2EA9-4C81-AFD3-AE30CE396019}" presName="connectorText" presStyleLbl="sibTrans2D1" presStyleIdx="4" presStyleCnt="7"/>
      <dgm:spPr/>
    </dgm:pt>
    <dgm:pt modelId="{EA72A54F-B142-4361-B1D9-33E557CFD0A8}" type="pres">
      <dgm:prSet presAssocID="{A2175407-A768-4617-AC6C-EB70DA72A68B}" presName="node" presStyleLbl="node1" presStyleIdx="5" presStyleCnt="8">
        <dgm:presLayoutVars>
          <dgm:bulletEnabled val="1"/>
        </dgm:presLayoutVars>
      </dgm:prSet>
      <dgm:spPr/>
    </dgm:pt>
    <dgm:pt modelId="{D9CAEF67-CC0B-44BA-9CF8-68B535709FFB}" type="pres">
      <dgm:prSet presAssocID="{6BBCE306-FA73-4554-9CC6-94567C04766D}" presName="sibTrans" presStyleLbl="sibTrans2D1" presStyleIdx="5" presStyleCnt="7" custAng="610324"/>
      <dgm:spPr/>
    </dgm:pt>
    <dgm:pt modelId="{38D5CF75-3708-4DB7-A48F-B5A6826126A3}" type="pres">
      <dgm:prSet presAssocID="{6BBCE306-FA73-4554-9CC6-94567C04766D}" presName="connectorText" presStyleLbl="sibTrans2D1" presStyleIdx="5" presStyleCnt="7"/>
      <dgm:spPr/>
    </dgm:pt>
    <dgm:pt modelId="{675AE93D-979D-4647-9CEA-45FB9DC15B8E}" type="pres">
      <dgm:prSet presAssocID="{12BE2149-A5D3-42C5-8175-988567274E9E}" presName="node" presStyleLbl="node1" presStyleIdx="6" presStyleCnt="8" custScaleX="135885">
        <dgm:presLayoutVars>
          <dgm:bulletEnabled val="1"/>
        </dgm:presLayoutVars>
      </dgm:prSet>
      <dgm:spPr/>
    </dgm:pt>
    <dgm:pt modelId="{609A4A11-4F53-4F19-8983-8A9CB8F43867}" type="pres">
      <dgm:prSet presAssocID="{4F8F8BC6-1375-4BE9-A260-CB3ADD1A9017}" presName="sibTrans" presStyleLbl="sibTrans2D1" presStyleIdx="6" presStyleCnt="7"/>
      <dgm:spPr/>
    </dgm:pt>
    <dgm:pt modelId="{3A8AAC39-C38F-4CFE-AE46-0F55A16C99A0}" type="pres">
      <dgm:prSet presAssocID="{4F8F8BC6-1375-4BE9-A260-CB3ADD1A9017}" presName="connectorText" presStyleLbl="sibTrans2D1" presStyleIdx="6" presStyleCnt="7"/>
      <dgm:spPr/>
    </dgm:pt>
    <dgm:pt modelId="{52D5CFB9-DAB8-465F-892F-665D8FD4B304}" type="pres">
      <dgm:prSet presAssocID="{C1CBB58E-7EA3-4F7A-BDDC-B463692270AC}" presName="node" presStyleLbl="node1" presStyleIdx="7" presStyleCnt="8" custScaleX="162279">
        <dgm:presLayoutVars>
          <dgm:bulletEnabled val="1"/>
        </dgm:presLayoutVars>
      </dgm:prSet>
      <dgm:spPr/>
    </dgm:pt>
  </dgm:ptLst>
  <dgm:cxnLst>
    <dgm:cxn modelId="{7AD33B03-0176-46D1-AA52-B83373E8107F}" type="presOf" srcId="{EEB9C9B6-13D5-4ABD-A744-8D6B9086F178}" destId="{1FA7AEFF-BB74-418E-A694-08BE32C0F162}" srcOrd="0" destOrd="0" presId="urn:microsoft.com/office/officeart/2005/8/layout/process5"/>
    <dgm:cxn modelId="{58E69105-F8FC-4C7F-9A37-D85475E9866C}" type="presOf" srcId="{4F8F8BC6-1375-4BE9-A260-CB3ADD1A9017}" destId="{609A4A11-4F53-4F19-8983-8A9CB8F43867}" srcOrd="0" destOrd="0" presId="urn:microsoft.com/office/officeart/2005/8/layout/process5"/>
    <dgm:cxn modelId="{291F580A-74AC-44CC-96C9-D886C02E0231}" type="presOf" srcId="{6BBCE306-FA73-4554-9CC6-94567C04766D}" destId="{38D5CF75-3708-4DB7-A48F-B5A6826126A3}" srcOrd="1" destOrd="0" presId="urn:microsoft.com/office/officeart/2005/8/layout/process5"/>
    <dgm:cxn modelId="{FBCC3E1F-47E8-4062-A03A-7B66E7534B87}" type="presOf" srcId="{A2175407-A768-4617-AC6C-EB70DA72A68B}" destId="{EA72A54F-B142-4361-B1D9-33E557CFD0A8}" srcOrd="0" destOrd="0" presId="urn:microsoft.com/office/officeart/2005/8/layout/process5"/>
    <dgm:cxn modelId="{B0030432-2A82-4553-8DA5-0783865A8019}" srcId="{EEB9C9B6-13D5-4ABD-A744-8D6B9086F178}" destId="{C1CBB58E-7EA3-4F7A-BDDC-B463692270AC}" srcOrd="7" destOrd="0" parTransId="{993F100A-97FD-4C57-894F-D1272F8312F2}" sibTransId="{D81D372D-77CE-4935-A2A3-F87386D337EB}"/>
    <dgm:cxn modelId="{EF248E32-CFC8-472D-B99E-2370BAE99E91}" type="presOf" srcId="{6BBCE306-FA73-4554-9CC6-94567C04766D}" destId="{D9CAEF67-CC0B-44BA-9CF8-68B535709FFB}" srcOrd="0" destOrd="0" presId="urn:microsoft.com/office/officeart/2005/8/layout/process5"/>
    <dgm:cxn modelId="{60051034-B69D-473F-9337-0665EB61B6FA}" type="presOf" srcId="{3D67F219-BDD3-4B48-B6E9-22E9643B2426}" destId="{6E732422-8200-4BE0-9E67-102681462A7C}" srcOrd="0" destOrd="0" presId="urn:microsoft.com/office/officeart/2005/8/layout/process5"/>
    <dgm:cxn modelId="{089A3840-350F-487B-9009-249B587844DA}" type="presOf" srcId="{9F8154C0-0D0C-4619-9ACB-6C1610440D6B}" destId="{DC60A24C-C3AA-4EA3-9E6A-6F8569BDF837}" srcOrd="0" destOrd="0" presId="urn:microsoft.com/office/officeart/2005/8/layout/process5"/>
    <dgm:cxn modelId="{1529AE63-7141-4391-A983-76B88A3B5B04}" type="presOf" srcId="{AE15A575-DB54-4FFA-810A-715561903729}" destId="{D73B2FD7-B82B-4C27-A27A-6BC43639EAEB}" srcOrd="0" destOrd="0" presId="urn:microsoft.com/office/officeart/2005/8/layout/process5"/>
    <dgm:cxn modelId="{0E8DCF64-871F-4098-981C-C15CFBCC8DF0}" type="presOf" srcId="{9F8154C0-0D0C-4619-9ACB-6C1610440D6B}" destId="{56602BEF-ABD7-40F9-B3F3-1473D55DF3B9}" srcOrd="1" destOrd="0" presId="urn:microsoft.com/office/officeart/2005/8/layout/process5"/>
    <dgm:cxn modelId="{49F8E54F-4DB4-4D3C-A241-06F904649832}" type="presOf" srcId="{D00D769B-29B9-4707-B2C6-CB36E5210246}" destId="{9659A698-262C-4059-962B-5C10ADAFFCA4}" srcOrd="0" destOrd="0" presId="urn:microsoft.com/office/officeart/2005/8/layout/process5"/>
    <dgm:cxn modelId="{E3937871-AD80-4068-9356-841593CF4EDA}" type="presOf" srcId="{57BC78F9-1A3A-44AF-8728-E1FBC9F716B1}" destId="{27130080-C7CF-4D9C-ADB9-3D86A0F71969}" srcOrd="0" destOrd="0" presId="urn:microsoft.com/office/officeart/2005/8/layout/process5"/>
    <dgm:cxn modelId="{33CE0472-17DC-435E-BDAD-217656CB3089}" type="presOf" srcId="{4F8F8BC6-1375-4BE9-A260-CB3ADD1A9017}" destId="{3A8AAC39-C38F-4CFE-AE46-0F55A16C99A0}" srcOrd="1" destOrd="0" presId="urn:microsoft.com/office/officeart/2005/8/layout/process5"/>
    <dgm:cxn modelId="{2F942A7E-D692-46EA-8D0F-CA99A236316C}" type="presOf" srcId="{12BE2149-A5D3-42C5-8175-988567274E9E}" destId="{675AE93D-979D-4647-9CEA-45FB9DC15B8E}" srcOrd="0" destOrd="0" presId="urn:microsoft.com/office/officeart/2005/8/layout/process5"/>
    <dgm:cxn modelId="{0234757E-2AC4-41AE-939C-2CAF4093CEAB}" srcId="{EEB9C9B6-13D5-4ABD-A744-8D6B9086F178}" destId="{29E3FBB3-9ABF-45D6-AF68-C9E865BEB080}" srcOrd="0" destOrd="0" parTransId="{E6026264-2E8F-4712-B161-5DAE8A163A31}" sibTransId="{9EF66762-D321-46B3-BCD9-9CE66F4DCE85}"/>
    <dgm:cxn modelId="{ED977883-614A-4496-B934-135C347A739D}" srcId="{EEB9C9B6-13D5-4ABD-A744-8D6B9086F178}" destId="{D00D769B-29B9-4707-B2C6-CB36E5210246}" srcOrd="2" destOrd="0" parTransId="{7DECF872-E53B-46AD-A1DE-E259C945A753}" sibTransId="{3D67F219-BDD3-4B48-B6E9-22E9643B2426}"/>
    <dgm:cxn modelId="{383A7987-B8B4-4F06-A52C-5B6A93179089}" type="presOf" srcId="{C1CBB58E-7EA3-4F7A-BDDC-B463692270AC}" destId="{52D5CFB9-DAB8-465F-892F-665D8FD4B304}" srcOrd="0" destOrd="0" presId="urn:microsoft.com/office/officeart/2005/8/layout/process5"/>
    <dgm:cxn modelId="{877DD298-B5AC-4702-B829-B3FBB842C89D}" type="presOf" srcId="{9EF66762-D321-46B3-BCD9-9CE66F4DCE85}" destId="{A8EC28C3-CDBF-4E1C-A372-0E6656E88DF5}" srcOrd="1" destOrd="0" presId="urn:microsoft.com/office/officeart/2005/8/layout/process5"/>
    <dgm:cxn modelId="{553422A1-7033-43CA-9287-480BB65A7460}" type="presOf" srcId="{3207AF79-905D-48F6-93DA-D050AEE4D93A}" destId="{2C90B425-CFF7-4992-BEF1-B8115B3B1B14}" srcOrd="0" destOrd="0" presId="urn:microsoft.com/office/officeart/2005/8/layout/process5"/>
    <dgm:cxn modelId="{4F6D9EA1-2385-4C6E-BEC0-976A490CC5A1}" type="presOf" srcId="{9EF66762-D321-46B3-BCD9-9CE66F4DCE85}" destId="{93F5FA66-A912-42D3-807F-3BDA4966F25F}" srcOrd="0" destOrd="0" presId="urn:microsoft.com/office/officeart/2005/8/layout/process5"/>
    <dgm:cxn modelId="{611B1AA3-1084-42C1-9879-789CE1095425}" type="presOf" srcId="{57BC78F9-1A3A-44AF-8728-E1FBC9F716B1}" destId="{97A3DC3D-284A-44AB-BEB0-C62ACA13560D}" srcOrd="1" destOrd="0" presId="urn:microsoft.com/office/officeart/2005/8/layout/process5"/>
    <dgm:cxn modelId="{BA1408A4-59CD-4787-AEEA-E5C8DCDBA69F}" type="presOf" srcId="{29E3FBB3-9ABF-45D6-AF68-C9E865BEB080}" destId="{E5E7BBA6-981C-408D-B166-F47302396D44}" srcOrd="0" destOrd="0" presId="urn:microsoft.com/office/officeart/2005/8/layout/process5"/>
    <dgm:cxn modelId="{69DCB3A5-0431-4BAC-AA57-0E392A1CA042}" type="presOf" srcId="{3D67F219-BDD3-4B48-B6E9-22E9643B2426}" destId="{4BA8AF49-2846-4DB5-A825-EF44FF83BB65}" srcOrd="1" destOrd="0" presId="urn:microsoft.com/office/officeart/2005/8/layout/process5"/>
    <dgm:cxn modelId="{BBA96FB1-CBA6-4436-A080-6F55837B2596}" type="presOf" srcId="{C369CF18-2EA9-4C81-AFD3-AE30CE396019}" destId="{65869636-7B5E-414F-988B-8650268C4AAF}" srcOrd="0" destOrd="0" presId="urn:microsoft.com/office/officeart/2005/8/layout/process5"/>
    <dgm:cxn modelId="{5137B0BB-FE8E-4830-8D6D-0F8A63CF3FD9}" type="presOf" srcId="{852BDF78-B66D-44B0-ADC4-C9F6ED93F27D}" destId="{1C8B61BB-0450-4F0C-BAAF-893B13F749C1}" srcOrd="0" destOrd="0" presId="urn:microsoft.com/office/officeart/2005/8/layout/process5"/>
    <dgm:cxn modelId="{CA410AC6-6BCF-4B07-85D7-56DD86E90D86}" srcId="{EEB9C9B6-13D5-4ABD-A744-8D6B9086F178}" destId="{3207AF79-905D-48F6-93DA-D050AEE4D93A}" srcOrd="4" destOrd="0" parTransId="{CB2D5F84-FB21-46A2-AF82-97973B2972DC}" sibTransId="{C369CF18-2EA9-4C81-AFD3-AE30CE396019}"/>
    <dgm:cxn modelId="{22B9EDD5-4259-476C-8E9F-AC83C66E4622}" srcId="{EEB9C9B6-13D5-4ABD-A744-8D6B9086F178}" destId="{AE15A575-DB54-4FFA-810A-715561903729}" srcOrd="1" destOrd="0" parTransId="{64978CD2-0A78-43A9-AE88-55798695A9EF}" sibTransId="{9F8154C0-0D0C-4619-9ACB-6C1610440D6B}"/>
    <dgm:cxn modelId="{C58EE1D7-5108-4EC1-92AF-6654EE15BBD6}" srcId="{EEB9C9B6-13D5-4ABD-A744-8D6B9086F178}" destId="{A2175407-A768-4617-AC6C-EB70DA72A68B}" srcOrd="5" destOrd="0" parTransId="{0AF1C965-0421-49F7-A9B6-1EF01C871545}" sibTransId="{6BBCE306-FA73-4554-9CC6-94567C04766D}"/>
    <dgm:cxn modelId="{C8D12ADB-B45D-4432-A524-800D12869B38}" type="presOf" srcId="{C369CF18-2EA9-4C81-AFD3-AE30CE396019}" destId="{EB3E4E41-A123-4085-AAFD-397BD9C5D488}" srcOrd="1" destOrd="0" presId="urn:microsoft.com/office/officeart/2005/8/layout/process5"/>
    <dgm:cxn modelId="{B7CB0BF4-9A75-4329-BF77-E910E304E27F}" srcId="{EEB9C9B6-13D5-4ABD-A744-8D6B9086F178}" destId="{12BE2149-A5D3-42C5-8175-988567274E9E}" srcOrd="6" destOrd="0" parTransId="{A1CFE16B-1AF9-4FBC-8E00-B62B81C5A061}" sibTransId="{4F8F8BC6-1375-4BE9-A260-CB3ADD1A9017}"/>
    <dgm:cxn modelId="{3925E4FF-902A-4DC6-96EE-CF775A20B638}" srcId="{EEB9C9B6-13D5-4ABD-A744-8D6B9086F178}" destId="{852BDF78-B66D-44B0-ADC4-C9F6ED93F27D}" srcOrd="3" destOrd="0" parTransId="{703CAFC7-E933-43A4-BC3B-B7D6F7E2333B}" sibTransId="{57BC78F9-1A3A-44AF-8728-E1FBC9F716B1}"/>
    <dgm:cxn modelId="{B6ED5C20-63A1-4D00-A5C6-03CD5DB9A48A}" type="presParOf" srcId="{1FA7AEFF-BB74-418E-A694-08BE32C0F162}" destId="{E5E7BBA6-981C-408D-B166-F47302396D44}" srcOrd="0" destOrd="0" presId="urn:microsoft.com/office/officeart/2005/8/layout/process5"/>
    <dgm:cxn modelId="{B9BF557F-651A-4EA5-85B4-247F022E127C}" type="presParOf" srcId="{1FA7AEFF-BB74-418E-A694-08BE32C0F162}" destId="{93F5FA66-A912-42D3-807F-3BDA4966F25F}" srcOrd="1" destOrd="0" presId="urn:microsoft.com/office/officeart/2005/8/layout/process5"/>
    <dgm:cxn modelId="{E3375695-3902-484D-AA6B-1784E183C948}" type="presParOf" srcId="{93F5FA66-A912-42D3-807F-3BDA4966F25F}" destId="{A8EC28C3-CDBF-4E1C-A372-0E6656E88DF5}" srcOrd="0" destOrd="0" presId="urn:microsoft.com/office/officeart/2005/8/layout/process5"/>
    <dgm:cxn modelId="{8810B8FB-C170-483D-8EA7-E91D16130700}" type="presParOf" srcId="{1FA7AEFF-BB74-418E-A694-08BE32C0F162}" destId="{D73B2FD7-B82B-4C27-A27A-6BC43639EAEB}" srcOrd="2" destOrd="0" presId="urn:microsoft.com/office/officeart/2005/8/layout/process5"/>
    <dgm:cxn modelId="{9CC2B547-E860-4C27-9F75-3BF97527CD12}" type="presParOf" srcId="{1FA7AEFF-BB74-418E-A694-08BE32C0F162}" destId="{DC60A24C-C3AA-4EA3-9E6A-6F8569BDF837}" srcOrd="3" destOrd="0" presId="urn:microsoft.com/office/officeart/2005/8/layout/process5"/>
    <dgm:cxn modelId="{CD236D18-C5B4-4BFE-A73A-0968DD380C66}" type="presParOf" srcId="{DC60A24C-C3AA-4EA3-9E6A-6F8569BDF837}" destId="{56602BEF-ABD7-40F9-B3F3-1473D55DF3B9}" srcOrd="0" destOrd="0" presId="urn:microsoft.com/office/officeart/2005/8/layout/process5"/>
    <dgm:cxn modelId="{59A30D3B-3DE0-4571-8AA4-E232E94EF6AE}" type="presParOf" srcId="{1FA7AEFF-BB74-418E-A694-08BE32C0F162}" destId="{9659A698-262C-4059-962B-5C10ADAFFCA4}" srcOrd="4" destOrd="0" presId="urn:microsoft.com/office/officeart/2005/8/layout/process5"/>
    <dgm:cxn modelId="{4ED420B6-0665-4FBB-9927-06976E29C838}" type="presParOf" srcId="{1FA7AEFF-BB74-418E-A694-08BE32C0F162}" destId="{6E732422-8200-4BE0-9E67-102681462A7C}" srcOrd="5" destOrd="0" presId="urn:microsoft.com/office/officeart/2005/8/layout/process5"/>
    <dgm:cxn modelId="{EF276538-558C-4CD0-82C7-2A3A781588A0}" type="presParOf" srcId="{6E732422-8200-4BE0-9E67-102681462A7C}" destId="{4BA8AF49-2846-4DB5-A825-EF44FF83BB65}" srcOrd="0" destOrd="0" presId="urn:microsoft.com/office/officeart/2005/8/layout/process5"/>
    <dgm:cxn modelId="{329D5A1A-3C47-4F70-9DBE-E848CB3CBA27}" type="presParOf" srcId="{1FA7AEFF-BB74-418E-A694-08BE32C0F162}" destId="{1C8B61BB-0450-4F0C-BAAF-893B13F749C1}" srcOrd="6" destOrd="0" presId="urn:microsoft.com/office/officeart/2005/8/layout/process5"/>
    <dgm:cxn modelId="{878AAE17-0E9E-49B7-A739-336E6C47CC30}" type="presParOf" srcId="{1FA7AEFF-BB74-418E-A694-08BE32C0F162}" destId="{27130080-C7CF-4D9C-ADB9-3D86A0F71969}" srcOrd="7" destOrd="0" presId="urn:microsoft.com/office/officeart/2005/8/layout/process5"/>
    <dgm:cxn modelId="{63059BC5-F46E-401D-8D24-CDD85D4D40CA}" type="presParOf" srcId="{27130080-C7CF-4D9C-ADB9-3D86A0F71969}" destId="{97A3DC3D-284A-44AB-BEB0-C62ACA13560D}" srcOrd="0" destOrd="0" presId="urn:microsoft.com/office/officeart/2005/8/layout/process5"/>
    <dgm:cxn modelId="{35CAA379-DE07-4299-970A-83F02449E68A}" type="presParOf" srcId="{1FA7AEFF-BB74-418E-A694-08BE32C0F162}" destId="{2C90B425-CFF7-4992-BEF1-B8115B3B1B14}" srcOrd="8" destOrd="0" presId="urn:microsoft.com/office/officeart/2005/8/layout/process5"/>
    <dgm:cxn modelId="{2FA71A69-50E5-410E-BA72-1DA5A7EA6621}" type="presParOf" srcId="{1FA7AEFF-BB74-418E-A694-08BE32C0F162}" destId="{65869636-7B5E-414F-988B-8650268C4AAF}" srcOrd="9" destOrd="0" presId="urn:microsoft.com/office/officeart/2005/8/layout/process5"/>
    <dgm:cxn modelId="{AA5D6FEA-E9E1-47DC-8D39-662D30886EB6}" type="presParOf" srcId="{65869636-7B5E-414F-988B-8650268C4AAF}" destId="{EB3E4E41-A123-4085-AAFD-397BD9C5D488}" srcOrd="0" destOrd="0" presId="urn:microsoft.com/office/officeart/2005/8/layout/process5"/>
    <dgm:cxn modelId="{994EC78A-3218-4CB2-AA73-F79CF9FC092F}" type="presParOf" srcId="{1FA7AEFF-BB74-418E-A694-08BE32C0F162}" destId="{EA72A54F-B142-4361-B1D9-33E557CFD0A8}" srcOrd="10" destOrd="0" presId="urn:microsoft.com/office/officeart/2005/8/layout/process5"/>
    <dgm:cxn modelId="{333C51B0-EFD6-4AF8-9B35-8A9DD43FAD98}" type="presParOf" srcId="{1FA7AEFF-BB74-418E-A694-08BE32C0F162}" destId="{D9CAEF67-CC0B-44BA-9CF8-68B535709FFB}" srcOrd="11" destOrd="0" presId="urn:microsoft.com/office/officeart/2005/8/layout/process5"/>
    <dgm:cxn modelId="{C0A1C4A7-7016-45E4-A13D-2CEC92F50748}" type="presParOf" srcId="{D9CAEF67-CC0B-44BA-9CF8-68B535709FFB}" destId="{38D5CF75-3708-4DB7-A48F-B5A6826126A3}" srcOrd="0" destOrd="0" presId="urn:microsoft.com/office/officeart/2005/8/layout/process5"/>
    <dgm:cxn modelId="{98E699C8-FBC9-41F2-8F60-44374E2C55EA}" type="presParOf" srcId="{1FA7AEFF-BB74-418E-A694-08BE32C0F162}" destId="{675AE93D-979D-4647-9CEA-45FB9DC15B8E}" srcOrd="12" destOrd="0" presId="urn:microsoft.com/office/officeart/2005/8/layout/process5"/>
    <dgm:cxn modelId="{5E39FA08-4CCD-4BCA-A0D9-86BD47EF00A1}" type="presParOf" srcId="{1FA7AEFF-BB74-418E-A694-08BE32C0F162}" destId="{609A4A11-4F53-4F19-8983-8A9CB8F43867}" srcOrd="13" destOrd="0" presId="urn:microsoft.com/office/officeart/2005/8/layout/process5"/>
    <dgm:cxn modelId="{4B328D2C-44D3-459A-9B3A-2F9CACA3C90C}" type="presParOf" srcId="{609A4A11-4F53-4F19-8983-8A9CB8F43867}" destId="{3A8AAC39-C38F-4CFE-AE46-0F55A16C99A0}" srcOrd="0" destOrd="0" presId="urn:microsoft.com/office/officeart/2005/8/layout/process5"/>
    <dgm:cxn modelId="{79BED5A2-517F-400F-AC80-FF6B08E29599}" type="presParOf" srcId="{1FA7AEFF-BB74-418E-A694-08BE32C0F162}" destId="{52D5CFB9-DAB8-465F-892F-665D8FD4B304}" srcOrd="14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030538C-8649-4437-8F20-66E951198C96}" type="doc">
      <dgm:prSet loTypeId="urn:microsoft.com/office/officeart/2005/8/layout/funnel1" loCatId="process" qsTypeId="urn:microsoft.com/office/officeart/2005/8/quickstyle/simple1" qsCatId="simple" csTypeId="urn:microsoft.com/office/officeart/2005/8/colors/accent4_1" csCatId="accent4" phldr="1"/>
      <dgm:spPr/>
      <dgm:t>
        <a:bodyPr/>
        <a:lstStyle/>
        <a:p>
          <a:endParaRPr lang="en-CA"/>
        </a:p>
      </dgm:t>
    </dgm:pt>
    <dgm:pt modelId="{074C62FB-49F6-4B98-979C-1885E4B1A008}">
      <dgm:prSet phldrT="[Text]" custT="1"/>
      <dgm:spPr>
        <a:solidFill>
          <a:srgbClr val="FFD85B"/>
        </a:solidFill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r>
            <a:rPr lang="en-US" sz="1050" dirty="0"/>
            <a:t>Drop reviewerName</a:t>
          </a:r>
          <a:endParaRPr lang="en-CA" sz="1050" dirty="0"/>
        </a:p>
      </dgm:t>
    </dgm:pt>
    <dgm:pt modelId="{C9070500-A671-422F-8120-01D6A003F892}" type="parTrans" cxnId="{2B6856CC-CEE2-4522-AAC9-A992966D4419}">
      <dgm:prSet/>
      <dgm:spPr/>
      <dgm:t>
        <a:bodyPr/>
        <a:lstStyle/>
        <a:p>
          <a:endParaRPr lang="en-CA"/>
        </a:p>
      </dgm:t>
    </dgm:pt>
    <dgm:pt modelId="{9D5EE9CB-13ED-4B91-AFF0-066ADD81FAA7}" type="sibTrans" cxnId="{2B6856CC-CEE2-4522-AAC9-A992966D4419}">
      <dgm:prSet/>
      <dgm:spPr/>
      <dgm:t>
        <a:bodyPr/>
        <a:lstStyle/>
        <a:p>
          <a:endParaRPr lang="en-CA"/>
        </a:p>
      </dgm:t>
    </dgm:pt>
    <dgm:pt modelId="{E93C5080-3F5F-4130-86BF-7B0C7EE6988E}">
      <dgm:prSet phldrT="[Text]" custT="1"/>
      <dgm:spPr>
        <a:solidFill>
          <a:srgbClr val="FFD85B"/>
        </a:solidFill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r>
            <a:rPr lang="en-US" sz="1100" dirty="0"/>
            <a:t>Drop Vote</a:t>
          </a:r>
          <a:endParaRPr lang="en-CA" sz="1100" dirty="0"/>
        </a:p>
      </dgm:t>
    </dgm:pt>
    <dgm:pt modelId="{BF79DDFD-B7BE-48B6-A5F4-E8BEFAA3832B}" type="parTrans" cxnId="{EEDC3202-2A14-42C0-A834-1BE5BA5591DB}">
      <dgm:prSet/>
      <dgm:spPr/>
      <dgm:t>
        <a:bodyPr/>
        <a:lstStyle/>
        <a:p>
          <a:endParaRPr lang="en-CA"/>
        </a:p>
      </dgm:t>
    </dgm:pt>
    <dgm:pt modelId="{AEEB95C5-5D0C-471E-827B-E5CDE33DF6D9}" type="sibTrans" cxnId="{EEDC3202-2A14-42C0-A834-1BE5BA5591DB}">
      <dgm:prSet/>
      <dgm:spPr/>
      <dgm:t>
        <a:bodyPr/>
        <a:lstStyle/>
        <a:p>
          <a:endParaRPr lang="en-CA"/>
        </a:p>
      </dgm:t>
    </dgm:pt>
    <dgm:pt modelId="{F58B062B-688C-482F-8628-9D3549E3697A}">
      <dgm:prSet phldrT="[Text]" custT="1"/>
      <dgm:spPr>
        <a:solidFill>
          <a:srgbClr val="FFD85B"/>
        </a:solidFill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r>
            <a:rPr lang="en-US" sz="1050" dirty="0"/>
            <a:t>Keep duplicate reviews</a:t>
          </a:r>
          <a:endParaRPr lang="en-CA" sz="1050" dirty="0"/>
        </a:p>
      </dgm:t>
    </dgm:pt>
    <dgm:pt modelId="{5D3BD28D-DD0E-46C2-9397-566D4D187FFA}" type="parTrans" cxnId="{6ED212F7-6F92-4EF4-A998-BB7D8B9CE6E5}">
      <dgm:prSet/>
      <dgm:spPr/>
      <dgm:t>
        <a:bodyPr/>
        <a:lstStyle/>
        <a:p>
          <a:endParaRPr lang="en-CA"/>
        </a:p>
      </dgm:t>
    </dgm:pt>
    <dgm:pt modelId="{73B8544D-A290-4576-A96A-7EF05D6F840B}" type="sibTrans" cxnId="{6ED212F7-6F92-4EF4-A998-BB7D8B9CE6E5}">
      <dgm:prSet/>
      <dgm:spPr/>
      <dgm:t>
        <a:bodyPr/>
        <a:lstStyle/>
        <a:p>
          <a:endParaRPr lang="en-CA"/>
        </a:p>
      </dgm:t>
    </dgm:pt>
    <dgm:pt modelId="{1BE054BB-A2DB-45EC-8BCB-92DEDE4DDC71}">
      <dgm:prSet phldrT="[Text]" custT="1"/>
      <dgm:spPr/>
      <dgm:t>
        <a:bodyPr/>
        <a:lstStyle/>
        <a:p>
          <a:endParaRPr lang="en-US" sz="1400" b="1" dirty="0"/>
        </a:p>
        <a:p>
          <a:r>
            <a:rPr lang="en-US" sz="1400" b="1" dirty="0"/>
            <a:t>EDA, Topic Modelling &amp; Classification Model </a:t>
          </a:r>
          <a:endParaRPr lang="en-CA" sz="1400" b="1" dirty="0"/>
        </a:p>
      </dgm:t>
    </dgm:pt>
    <dgm:pt modelId="{EC2E327B-8808-45D8-B101-DE6EB324EDC8}" type="sibTrans" cxnId="{5B6911A9-FDAC-4389-8660-23839772FCF5}">
      <dgm:prSet/>
      <dgm:spPr/>
      <dgm:t>
        <a:bodyPr/>
        <a:lstStyle/>
        <a:p>
          <a:endParaRPr lang="en-CA"/>
        </a:p>
      </dgm:t>
    </dgm:pt>
    <dgm:pt modelId="{028F72C5-3E95-4476-9749-C7A1B2B9C177}" type="parTrans" cxnId="{5B6911A9-FDAC-4389-8660-23839772FCF5}">
      <dgm:prSet/>
      <dgm:spPr/>
      <dgm:t>
        <a:bodyPr/>
        <a:lstStyle/>
        <a:p>
          <a:endParaRPr lang="en-CA"/>
        </a:p>
      </dgm:t>
    </dgm:pt>
    <dgm:pt modelId="{BF16830E-4F3B-4A10-A89C-096C2C8CFF47}" type="pres">
      <dgm:prSet presAssocID="{3030538C-8649-4437-8F20-66E951198C96}" presName="Name0" presStyleCnt="0">
        <dgm:presLayoutVars>
          <dgm:chMax val="4"/>
          <dgm:resizeHandles val="exact"/>
        </dgm:presLayoutVars>
      </dgm:prSet>
      <dgm:spPr/>
    </dgm:pt>
    <dgm:pt modelId="{CFE76C84-83FF-4B5D-838B-7CD7370D9AF4}" type="pres">
      <dgm:prSet presAssocID="{3030538C-8649-4437-8F20-66E951198C96}" presName="ellipse" presStyleLbl="trBgShp" presStyleIdx="0" presStyleCnt="1" custScaleX="138725" custScaleY="112652" custLinFactNeighborY="-16685"/>
      <dgm:spPr>
        <a:solidFill>
          <a:schemeClr val="bg2">
            <a:lumMod val="90000"/>
            <a:alpha val="40000"/>
          </a:schemeClr>
        </a:solidFill>
      </dgm:spPr>
    </dgm:pt>
    <dgm:pt modelId="{A8E8925C-F1A9-4DA2-96ED-F570248AB014}" type="pres">
      <dgm:prSet presAssocID="{3030538C-8649-4437-8F20-66E951198C96}" presName="arrow1" presStyleLbl="fgShp" presStyleIdx="0" presStyleCnt="1" custLinFactNeighborX="1093" custLinFactNeighborY="23144"/>
      <dgm:spPr>
        <a:solidFill>
          <a:schemeClr val="tx1">
            <a:lumMod val="75000"/>
            <a:lumOff val="25000"/>
          </a:schemeClr>
        </a:solidFill>
        <a:ln>
          <a:solidFill>
            <a:schemeClr val="bg2">
              <a:lumMod val="50000"/>
            </a:schemeClr>
          </a:solidFill>
        </a:ln>
      </dgm:spPr>
    </dgm:pt>
    <dgm:pt modelId="{81843980-C4A3-4A8D-9438-CAE99882DA9E}" type="pres">
      <dgm:prSet presAssocID="{3030538C-8649-4437-8F20-66E951198C96}" presName="rectangle" presStyleLbl="revTx" presStyleIdx="0" presStyleCnt="1" custScaleX="143958" custScaleY="137289" custLinFactNeighborX="4885" custLinFactNeighborY="15848">
        <dgm:presLayoutVars>
          <dgm:bulletEnabled val="1"/>
        </dgm:presLayoutVars>
      </dgm:prSet>
      <dgm:spPr/>
    </dgm:pt>
    <dgm:pt modelId="{819FEBFC-AB04-4445-B369-D6F512955A9C}" type="pres">
      <dgm:prSet presAssocID="{E93C5080-3F5F-4130-86BF-7B0C7EE6988E}" presName="item1" presStyleLbl="node1" presStyleIdx="0" presStyleCnt="3" custScaleX="122569">
        <dgm:presLayoutVars>
          <dgm:bulletEnabled val="1"/>
        </dgm:presLayoutVars>
      </dgm:prSet>
      <dgm:spPr/>
    </dgm:pt>
    <dgm:pt modelId="{40A3E851-93D4-4378-9566-7207D9C876B4}" type="pres">
      <dgm:prSet presAssocID="{F58B062B-688C-482F-8628-9D3549E3697A}" presName="item2" presStyleLbl="node1" presStyleIdx="1" presStyleCnt="3" custScaleX="125657" custLinFactNeighborX="-29532" custLinFactNeighborY="-38723">
        <dgm:presLayoutVars>
          <dgm:bulletEnabled val="1"/>
        </dgm:presLayoutVars>
      </dgm:prSet>
      <dgm:spPr/>
    </dgm:pt>
    <dgm:pt modelId="{4BAEE986-91E6-4E7F-ACAA-56145E2D7662}" type="pres">
      <dgm:prSet presAssocID="{1BE054BB-A2DB-45EC-8BCB-92DEDE4DDC71}" presName="item3" presStyleLbl="node1" presStyleIdx="2" presStyleCnt="3" custScaleX="186320" custScaleY="97048" custLinFactNeighborX="35752" custLinFactNeighborY="-17259">
        <dgm:presLayoutVars>
          <dgm:bulletEnabled val="1"/>
        </dgm:presLayoutVars>
      </dgm:prSet>
      <dgm:spPr/>
    </dgm:pt>
    <dgm:pt modelId="{47556B42-36E3-4EAE-AEFB-20DDED5D2CBC}" type="pres">
      <dgm:prSet presAssocID="{3030538C-8649-4437-8F20-66E951198C96}" presName="funnel" presStyleLbl="trAlignAcc1" presStyleIdx="0" presStyleCnt="1" custScaleX="137202" custScaleY="113814" custLinFactNeighborX="-410" custLinFactNeighborY="-4256"/>
      <dgm:spPr>
        <a:solidFill>
          <a:schemeClr val="bg2">
            <a:lumMod val="50000"/>
            <a:alpha val="40000"/>
          </a:schemeClr>
        </a:solidFill>
        <a:ln>
          <a:solidFill>
            <a:schemeClr val="bg2">
              <a:lumMod val="50000"/>
            </a:schemeClr>
          </a:solidFill>
        </a:ln>
      </dgm:spPr>
    </dgm:pt>
  </dgm:ptLst>
  <dgm:cxnLst>
    <dgm:cxn modelId="{EEDC3202-2A14-42C0-A834-1BE5BA5591DB}" srcId="{3030538C-8649-4437-8F20-66E951198C96}" destId="{E93C5080-3F5F-4130-86BF-7B0C7EE6988E}" srcOrd="1" destOrd="0" parTransId="{BF79DDFD-B7BE-48B6-A5F4-E8BEFAA3832B}" sibTransId="{AEEB95C5-5D0C-471E-827B-E5CDE33DF6D9}"/>
    <dgm:cxn modelId="{A353D62D-1A6C-442C-86E0-8BF8EA313942}" type="presOf" srcId="{1BE054BB-A2DB-45EC-8BCB-92DEDE4DDC71}" destId="{81843980-C4A3-4A8D-9438-CAE99882DA9E}" srcOrd="0" destOrd="0" presId="urn:microsoft.com/office/officeart/2005/8/layout/funnel1"/>
    <dgm:cxn modelId="{252E0572-EBDA-4A56-94BB-F58F6C7C714C}" type="presOf" srcId="{F58B062B-688C-482F-8628-9D3549E3697A}" destId="{819FEBFC-AB04-4445-B369-D6F512955A9C}" srcOrd="0" destOrd="0" presId="urn:microsoft.com/office/officeart/2005/8/layout/funnel1"/>
    <dgm:cxn modelId="{799A5BA4-6B2F-44BE-AFAC-A5253C2BD870}" type="presOf" srcId="{3030538C-8649-4437-8F20-66E951198C96}" destId="{BF16830E-4F3B-4A10-A89C-096C2C8CFF47}" srcOrd="0" destOrd="0" presId="urn:microsoft.com/office/officeart/2005/8/layout/funnel1"/>
    <dgm:cxn modelId="{5B6911A9-FDAC-4389-8660-23839772FCF5}" srcId="{3030538C-8649-4437-8F20-66E951198C96}" destId="{1BE054BB-A2DB-45EC-8BCB-92DEDE4DDC71}" srcOrd="3" destOrd="0" parTransId="{028F72C5-3E95-4476-9749-C7A1B2B9C177}" sibTransId="{EC2E327B-8808-45D8-B101-DE6EB324EDC8}"/>
    <dgm:cxn modelId="{1369EDC4-B0AE-474F-89B8-2BC2259323FE}" type="presOf" srcId="{074C62FB-49F6-4B98-979C-1885E4B1A008}" destId="{4BAEE986-91E6-4E7F-ACAA-56145E2D7662}" srcOrd="0" destOrd="0" presId="urn:microsoft.com/office/officeart/2005/8/layout/funnel1"/>
    <dgm:cxn modelId="{2B6856CC-CEE2-4522-AAC9-A992966D4419}" srcId="{3030538C-8649-4437-8F20-66E951198C96}" destId="{074C62FB-49F6-4B98-979C-1885E4B1A008}" srcOrd="0" destOrd="0" parTransId="{C9070500-A671-422F-8120-01D6A003F892}" sibTransId="{9D5EE9CB-13ED-4B91-AFF0-066ADD81FAA7}"/>
    <dgm:cxn modelId="{09C8DCD3-FAA7-455A-BAA6-9A8D750DDA19}" type="presOf" srcId="{E93C5080-3F5F-4130-86BF-7B0C7EE6988E}" destId="{40A3E851-93D4-4378-9566-7207D9C876B4}" srcOrd="0" destOrd="0" presId="urn:microsoft.com/office/officeart/2005/8/layout/funnel1"/>
    <dgm:cxn modelId="{6ED212F7-6F92-4EF4-A998-BB7D8B9CE6E5}" srcId="{3030538C-8649-4437-8F20-66E951198C96}" destId="{F58B062B-688C-482F-8628-9D3549E3697A}" srcOrd="2" destOrd="0" parTransId="{5D3BD28D-DD0E-46C2-9397-566D4D187FFA}" sibTransId="{73B8544D-A290-4576-A96A-7EF05D6F840B}"/>
    <dgm:cxn modelId="{289EB65E-E8C1-4938-9C12-82B4B80E24B0}" type="presParOf" srcId="{BF16830E-4F3B-4A10-A89C-096C2C8CFF47}" destId="{CFE76C84-83FF-4B5D-838B-7CD7370D9AF4}" srcOrd="0" destOrd="0" presId="urn:microsoft.com/office/officeart/2005/8/layout/funnel1"/>
    <dgm:cxn modelId="{1B92C9F9-7746-4BC3-9B1A-58E825A444D5}" type="presParOf" srcId="{BF16830E-4F3B-4A10-A89C-096C2C8CFF47}" destId="{A8E8925C-F1A9-4DA2-96ED-F570248AB014}" srcOrd="1" destOrd="0" presId="urn:microsoft.com/office/officeart/2005/8/layout/funnel1"/>
    <dgm:cxn modelId="{2A447425-56C1-4038-A99D-DBC497F86EC0}" type="presParOf" srcId="{BF16830E-4F3B-4A10-A89C-096C2C8CFF47}" destId="{81843980-C4A3-4A8D-9438-CAE99882DA9E}" srcOrd="2" destOrd="0" presId="urn:microsoft.com/office/officeart/2005/8/layout/funnel1"/>
    <dgm:cxn modelId="{9D140AAE-2C74-4C8C-A27C-F5E620700DD3}" type="presParOf" srcId="{BF16830E-4F3B-4A10-A89C-096C2C8CFF47}" destId="{819FEBFC-AB04-4445-B369-D6F512955A9C}" srcOrd="3" destOrd="0" presId="urn:microsoft.com/office/officeart/2005/8/layout/funnel1"/>
    <dgm:cxn modelId="{D6828524-CBED-4F99-955B-035CAD399C90}" type="presParOf" srcId="{BF16830E-4F3B-4A10-A89C-096C2C8CFF47}" destId="{40A3E851-93D4-4378-9566-7207D9C876B4}" srcOrd="4" destOrd="0" presId="urn:microsoft.com/office/officeart/2005/8/layout/funnel1"/>
    <dgm:cxn modelId="{CA2D27B4-E30D-4999-816C-123828E01651}" type="presParOf" srcId="{BF16830E-4F3B-4A10-A89C-096C2C8CFF47}" destId="{4BAEE986-91E6-4E7F-ACAA-56145E2D7662}" srcOrd="5" destOrd="0" presId="urn:microsoft.com/office/officeart/2005/8/layout/funnel1"/>
    <dgm:cxn modelId="{38176295-B4E4-4EAA-93E7-C169140908F4}" type="presParOf" srcId="{BF16830E-4F3B-4A10-A89C-096C2C8CFF47}" destId="{47556B42-36E3-4EAE-AEFB-20DDED5D2CBC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EB9C9B6-13D5-4ABD-A744-8D6B9086F178}" type="doc">
      <dgm:prSet loTypeId="urn:microsoft.com/office/officeart/2008/layout/LinedList" loCatId="list" qsTypeId="urn:microsoft.com/office/officeart/2005/8/quickstyle/simple4" qsCatId="simple" csTypeId="urn:microsoft.com/office/officeart/2005/8/colors/accent3_1" csCatId="accent3" phldr="1"/>
      <dgm:spPr/>
    </dgm:pt>
    <dgm:pt modelId="{29E3FBB3-9ABF-45D6-AF68-C9E865BEB080}">
      <dgm:prSet phldrT="[Text]" custT="1"/>
      <dgm:spPr>
        <a:solidFill>
          <a:srgbClr val="FFE48F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CA" sz="1400" dirty="0"/>
            <a:t>String to Date Type</a:t>
          </a:r>
        </a:p>
      </dgm:t>
    </dgm:pt>
    <dgm:pt modelId="{E6026264-2E8F-4712-B161-5DAE8A163A31}" type="parTrans" cxnId="{0234757E-2AC4-41AE-939C-2CAF4093CEAB}">
      <dgm:prSet/>
      <dgm:spPr/>
      <dgm:t>
        <a:bodyPr/>
        <a:lstStyle/>
        <a:p>
          <a:pPr algn="l"/>
          <a:endParaRPr lang="en-CA" sz="1400"/>
        </a:p>
      </dgm:t>
    </dgm:pt>
    <dgm:pt modelId="{9EF66762-D321-46B3-BCD9-9CE66F4DCE85}" type="sibTrans" cxnId="{0234757E-2AC4-41AE-939C-2CAF4093CEAB}">
      <dgm:prSet/>
      <dgm:spPr/>
      <dgm:t>
        <a:bodyPr/>
        <a:lstStyle/>
        <a:p>
          <a:pPr algn="l"/>
          <a:endParaRPr lang="en-CA" sz="1400"/>
        </a:p>
      </dgm:t>
    </dgm:pt>
    <dgm:pt modelId="{AE15A575-DB54-4FFA-810A-715561903729}">
      <dgm:prSet phldrT="[Text]" custT="1"/>
      <dgm:spPr>
        <a:noFill/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CA" sz="1400" dirty="0"/>
            <a:t>Year </a:t>
          </a:r>
        </a:p>
      </dgm:t>
    </dgm:pt>
    <dgm:pt modelId="{64978CD2-0A78-43A9-AE88-55798695A9EF}" type="parTrans" cxnId="{22B9EDD5-4259-476C-8E9F-AC83C66E4622}">
      <dgm:prSet/>
      <dgm:spPr/>
      <dgm:t>
        <a:bodyPr/>
        <a:lstStyle/>
        <a:p>
          <a:pPr algn="l"/>
          <a:endParaRPr lang="en-CA" sz="1400"/>
        </a:p>
      </dgm:t>
    </dgm:pt>
    <dgm:pt modelId="{9F8154C0-0D0C-4619-9ACB-6C1610440D6B}" type="sibTrans" cxnId="{22B9EDD5-4259-476C-8E9F-AC83C66E4622}">
      <dgm:prSet/>
      <dgm:spPr/>
      <dgm:t>
        <a:bodyPr/>
        <a:lstStyle/>
        <a:p>
          <a:pPr algn="l"/>
          <a:endParaRPr lang="en-CA" sz="1400"/>
        </a:p>
      </dgm:t>
    </dgm:pt>
    <dgm:pt modelId="{852BDF78-B66D-44B0-ADC4-C9F6ED93F27D}">
      <dgm:prSet phldrT="[Text]" custT="1"/>
      <dgm:spPr>
        <a:noFill/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US" sz="1400" dirty="0"/>
            <a:t>Day of Month</a:t>
          </a:r>
          <a:endParaRPr lang="en-CA" sz="1400" dirty="0"/>
        </a:p>
      </dgm:t>
    </dgm:pt>
    <dgm:pt modelId="{703CAFC7-E933-43A4-BC3B-B7D6F7E2333B}" type="parTrans" cxnId="{3925E4FF-902A-4DC6-96EE-CF775A20B638}">
      <dgm:prSet/>
      <dgm:spPr/>
      <dgm:t>
        <a:bodyPr/>
        <a:lstStyle/>
        <a:p>
          <a:pPr algn="l"/>
          <a:endParaRPr lang="en-CA" sz="1400"/>
        </a:p>
      </dgm:t>
    </dgm:pt>
    <dgm:pt modelId="{57BC78F9-1A3A-44AF-8728-E1FBC9F716B1}" type="sibTrans" cxnId="{3925E4FF-902A-4DC6-96EE-CF775A20B638}">
      <dgm:prSet/>
      <dgm:spPr/>
      <dgm:t>
        <a:bodyPr/>
        <a:lstStyle/>
        <a:p>
          <a:pPr algn="l"/>
          <a:endParaRPr lang="en-CA" sz="1400"/>
        </a:p>
      </dgm:t>
    </dgm:pt>
    <dgm:pt modelId="{3207AF79-905D-48F6-93DA-D050AEE4D93A}">
      <dgm:prSet phldrT="[Text]" custT="1"/>
      <dgm:spPr>
        <a:solidFill>
          <a:srgbClr val="FFE48F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US" sz="1400" dirty="0"/>
            <a:t>Day of Week</a:t>
          </a:r>
          <a:endParaRPr lang="en-CA" sz="1400" dirty="0"/>
        </a:p>
      </dgm:t>
    </dgm:pt>
    <dgm:pt modelId="{CB2D5F84-FB21-46A2-AF82-97973B2972DC}" type="parTrans" cxnId="{CA410AC6-6BCF-4B07-85D7-56DD86E90D86}">
      <dgm:prSet/>
      <dgm:spPr/>
      <dgm:t>
        <a:bodyPr/>
        <a:lstStyle/>
        <a:p>
          <a:pPr algn="l"/>
          <a:endParaRPr lang="en-CA" sz="1400"/>
        </a:p>
      </dgm:t>
    </dgm:pt>
    <dgm:pt modelId="{C369CF18-2EA9-4C81-AFD3-AE30CE396019}" type="sibTrans" cxnId="{CA410AC6-6BCF-4B07-85D7-56DD86E90D86}">
      <dgm:prSet/>
      <dgm:spPr/>
      <dgm:t>
        <a:bodyPr/>
        <a:lstStyle/>
        <a:p>
          <a:pPr algn="l"/>
          <a:endParaRPr lang="en-CA" sz="1400"/>
        </a:p>
      </dgm:t>
    </dgm:pt>
    <dgm:pt modelId="{A2175407-A768-4617-AC6C-EB70DA72A68B}">
      <dgm:prSet phldrT="[Text]" custT="1"/>
      <dgm:spPr>
        <a:noFill/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US" sz="1400" dirty="0"/>
            <a:t>Day of Year</a:t>
          </a:r>
          <a:endParaRPr lang="en-CA" sz="1400" dirty="0"/>
        </a:p>
      </dgm:t>
    </dgm:pt>
    <dgm:pt modelId="{0AF1C965-0421-49F7-A9B6-1EF01C871545}" type="parTrans" cxnId="{C58EE1D7-5108-4EC1-92AF-6654EE15BBD6}">
      <dgm:prSet/>
      <dgm:spPr/>
      <dgm:t>
        <a:bodyPr/>
        <a:lstStyle/>
        <a:p>
          <a:pPr algn="l"/>
          <a:endParaRPr lang="en-CA" sz="1400"/>
        </a:p>
      </dgm:t>
    </dgm:pt>
    <dgm:pt modelId="{6BBCE306-FA73-4554-9CC6-94567C04766D}" type="sibTrans" cxnId="{C58EE1D7-5108-4EC1-92AF-6654EE15BBD6}">
      <dgm:prSet/>
      <dgm:spPr/>
      <dgm:t>
        <a:bodyPr/>
        <a:lstStyle/>
        <a:p>
          <a:pPr algn="l"/>
          <a:endParaRPr lang="en-CA" sz="1400"/>
        </a:p>
      </dgm:t>
    </dgm:pt>
    <dgm:pt modelId="{C1CBB58E-7EA3-4F7A-BDDC-B463692270AC}">
      <dgm:prSet phldrT="[Text]" custT="1"/>
      <dgm:spPr>
        <a:solidFill>
          <a:srgbClr val="FFE48F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US" sz="1400" dirty="0"/>
            <a:t>Week of Year</a:t>
          </a:r>
          <a:endParaRPr lang="en-CA" sz="1400" dirty="0"/>
        </a:p>
      </dgm:t>
    </dgm:pt>
    <dgm:pt modelId="{993F100A-97FD-4C57-894F-D1272F8312F2}" type="parTrans" cxnId="{B0030432-2A82-4553-8DA5-0783865A8019}">
      <dgm:prSet/>
      <dgm:spPr/>
      <dgm:t>
        <a:bodyPr/>
        <a:lstStyle/>
        <a:p>
          <a:pPr algn="l"/>
          <a:endParaRPr lang="en-CA" sz="1400"/>
        </a:p>
      </dgm:t>
    </dgm:pt>
    <dgm:pt modelId="{D81D372D-77CE-4935-A2A3-F87386D337EB}" type="sibTrans" cxnId="{B0030432-2A82-4553-8DA5-0783865A8019}">
      <dgm:prSet/>
      <dgm:spPr/>
      <dgm:t>
        <a:bodyPr/>
        <a:lstStyle/>
        <a:p>
          <a:pPr algn="l"/>
          <a:endParaRPr lang="en-CA" sz="1400"/>
        </a:p>
      </dgm:t>
    </dgm:pt>
    <dgm:pt modelId="{7F91080C-FB24-49C1-89FE-EB473EBF2567}">
      <dgm:prSet phldrT="[Text]" custT="1"/>
      <dgm:spPr>
        <a:noFill/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US" sz="1400" dirty="0"/>
            <a:t>Weekend (YES or NO)</a:t>
          </a:r>
          <a:endParaRPr lang="en-CA" sz="1400" dirty="0"/>
        </a:p>
      </dgm:t>
    </dgm:pt>
    <dgm:pt modelId="{1EEEFEFE-6216-40B6-838D-07E001C6CCDE}" type="parTrans" cxnId="{D115C122-5185-4A55-BBF5-B2E7C140C6FF}">
      <dgm:prSet/>
      <dgm:spPr/>
      <dgm:t>
        <a:bodyPr/>
        <a:lstStyle/>
        <a:p>
          <a:pPr algn="l"/>
          <a:endParaRPr lang="en-CA" sz="1400"/>
        </a:p>
      </dgm:t>
    </dgm:pt>
    <dgm:pt modelId="{CB2C62AD-015B-4FB3-BB2E-4983997B789E}" type="sibTrans" cxnId="{D115C122-5185-4A55-BBF5-B2E7C140C6FF}">
      <dgm:prSet/>
      <dgm:spPr/>
      <dgm:t>
        <a:bodyPr/>
        <a:lstStyle/>
        <a:p>
          <a:pPr algn="l"/>
          <a:endParaRPr lang="en-CA" sz="1400"/>
        </a:p>
      </dgm:t>
    </dgm:pt>
    <dgm:pt modelId="{0C06A036-2DB8-45FB-8A1B-0C1954F569B3}">
      <dgm:prSet phldrT="[Text]" custT="1"/>
      <dgm:spPr>
        <a:solidFill>
          <a:srgbClr val="FFE48F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CA" sz="1400" dirty="0"/>
            <a:t>Review Age (overall/ per </a:t>
          </a:r>
          <a:r>
            <a:rPr lang="en-CA" sz="1400" dirty="0" err="1"/>
            <a:t>asin</a:t>
          </a:r>
          <a:r>
            <a:rPr lang="en-CA" sz="1400" dirty="0"/>
            <a:t>/ </a:t>
          </a:r>
          <a:r>
            <a:rPr lang="en-CA" sz="1400" dirty="0" err="1"/>
            <a:t>reviewerID</a:t>
          </a:r>
          <a:r>
            <a:rPr lang="en-CA" sz="1400" dirty="0"/>
            <a:t>)</a:t>
          </a:r>
        </a:p>
      </dgm:t>
    </dgm:pt>
    <dgm:pt modelId="{FB1A196D-C7D5-4BBC-9466-14144EB017F2}" type="parTrans" cxnId="{638D3636-1331-47FE-B72B-AA25CAC33BC9}">
      <dgm:prSet/>
      <dgm:spPr/>
      <dgm:t>
        <a:bodyPr/>
        <a:lstStyle/>
        <a:p>
          <a:endParaRPr lang="en-US" sz="1400"/>
        </a:p>
      </dgm:t>
    </dgm:pt>
    <dgm:pt modelId="{7525BDD8-E518-4111-AB2C-4FEA9D0C533D}" type="sibTrans" cxnId="{638D3636-1331-47FE-B72B-AA25CAC33BC9}">
      <dgm:prSet/>
      <dgm:spPr/>
      <dgm:t>
        <a:bodyPr/>
        <a:lstStyle/>
        <a:p>
          <a:endParaRPr lang="en-US" sz="1400"/>
        </a:p>
      </dgm:t>
    </dgm:pt>
    <dgm:pt modelId="{D00D769B-29B9-4707-B2C6-CB36E5210246}">
      <dgm:prSet phldrT="[Text]" custT="1"/>
      <dgm:spPr>
        <a:solidFill>
          <a:srgbClr val="FFE48F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CA" sz="1400" dirty="0"/>
            <a:t>Month</a:t>
          </a:r>
        </a:p>
      </dgm:t>
    </dgm:pt>
    <dgm:pt modelId="{3D67F219-BDD3-4B48-B6E9-22E9643B2426}" type="sibTrans" cxnId="{ED977883-614A-4496-B934-135C347A739D}">
      <dgm:prSet/>
      <dgm:spPr/>
      <dgm:t>
        <a:bodyPr/>
        <a:lstStyle/>
        <a:p>
          <a:pPr algn="l"/>
          <a:endParaRPr lang="en-CA" sz="1400"/>
        </a:p>
      </dgm:t>
    </dgm:pt>
    <dgm:pt modelId="{7DECF872-E53B-46AD-A1DE-E259C945A753}" type="parTrans" cxnId="{ED977883-614A-4496-B934-135C347A739D}">
      <dgm:prSet/>
      <dgm:spPr/>
      <dgm:t>
        <a:bodyPr/>
        <a:lstStyle/>
        <a:p>
          <a:pPr algn="l"/>
          <a:endParaRPr lang="en-CA" sz="1400"/>
        </a:p>
      </dgm:t>
    </dgm:pt>
    <dgm:pt modelId="{1DEF5F94-A175-4656-A77A-929D0C14B0C9}" type="pres">
      <dgm:prSet presAssocID="{EEB9C9B6-13D5-4ABD-A744-8D6B9086F178}" presName="vert0" presStyleCnt="0">
        <dgm:presLayoutVars>
          <dgm:dir/>
          <dgm:animOne val="branch"/>
          <dgm:animLvl val="lvl"/>
        </dgm:presLayoutVars>
      </dgm:prSet>
      <dgm:spPr/>
    </dgm:pt>
    <dgm:pt modelId="{66ED704B-FA69-45FD-B286-E076F8537BAE}" type="pres">
      <dgm:prSet presAssocID="{29E3FBB3-9ABF-45D6-AF68-C9E865BEB080}" presName="thickLine" presStyleLbl="alignNode1" presStyleIdx="0" presStyleCnt="9"/>
      <dgm:spPr/>
    </dgm:pt>
    <dgm:pt modelId="{418725EC-BBB4-4E75-86B4-B4F6E5E5C1AF}" type="pres">
      <dgm:prSet presAssocID="{29E3FBB3-9ABF-45D6-AF68-C9E865BEB080}" presName="horz1" presStyleCnt="0"/>
      <dgm:spPr/>
    </dgm:pt>
    <dgm:pt modelId="{4257BB12-F94B-4EC5-A896-E35A435FFFC4}" type="pres">
      <dgm:prSet presAssocID="{29E3FBB3-9ABF-45D6-AF68-C9E865BEB080}" presName="tx1" presStyleLbl="revTx" presStyleIdx="0" presStyleCnt="9"/>
      <dgm:spPr/>
    </dgm:pt>
    <dgm:pt modelId="{4CCAD4CB-6271-42AC-B0D1-17BBA77B9381}" type="pres">
      <dgm:prSet presAssocID="{29E3FBB3-9ABF-45D6-AF68-C9E865BEB080}" presName="vert1" presStyleCnt="0"/>
      <dgm:spPr/>
    </dgm:pt>
    <dgm:pt modelId="{7BB7D526-D2A0-4B4E-9C25-75C7B0A74CA0}" type="pres">
      <dgm:prSet presAssocID="{AE15A575-DB54-4FFA-810A-715561903729}" presName="thickLine" presStyleLbl="alignNode1" presStyleIdx="1" presStyleCnt="9"/>
      <dgm:spPr/>
    </dgm:pt>
    <dgm:pt modelId="{03303100-4E73-4068-85AB-EDB8CA452EA1}" type="pres">
      <dgm:prSet presAssocID="{AE15A575-DB54-4FFA-810A-715561903729}" presName="horz1" presStyleCnt="0"/>
      <dgm:spPr/>
    </dgm:pt>
    <dgm:pt modelId="{30256B2D-BE38-4D11-8E60-9BD600B6C345}" type="pres">
      <dgm:prSet presAssocID="{AE15A575-DB54-4FFA-810A-715561903729}" presName="tx1" presStyleLbl="revTx" presStyleIdx="1" presStyleCnt="9" custScaleY="71232"/>
      <dgm:spPr/>
    </dgm:pt>
    <dgm:pt modelId="{63279343-9AD5-47A9-AAFE-0BC58494C85D}" type="pres">
      <dgm:prSet presAssocID="{AE15A575-DB54-4FFA-810A-715561903729}" presName="vert1" presStyleCnt="0"/>
      <dgm:spPr/>
    </dgm:pt>
    <dgm:pt modelId="{26203BBB-9F93-4CDC-8426-B80B8CCC76D3}" type="pres">
      <dgm:prSet presAssocID="{D00D769B-29B9-4707-B2C6-CB36E5210246}" presName="thickLine" presStyleLbl="alignNode1" presStyleIdx="2" presStyleCnt="9"/>
      <dgm:spPr/>
    </dgm:pt>
    <dgm:pt modelId="{9CDCBD6B-363A-4DB0-BC29-A0B92C6EF6F4}" type="pres">
      <dgm:prSet presAssocID="{D00D769B-29B9-4707-B2C6-CB36E5210246}" presName="horz1" presStyleCnt="0"/>
      <dgm:spPr/>
    </dgm:pt>
    <dgm:pt modelId="{06C6E06C-F536-4607-8E19-D16F2D0FBEEA}" type="pres">
      <dgm:prSet presAssocID="{D00D769B-29B9-4707-B2C6-CB36E5210246}" presName="tx1" presStyleLbl="revTx" presStyleIdx="2" presStyleCnt="9" custScaleY="94838" custLinFactNeighborX="-1217" custLinFactNeighborY="10915"/>
      <dgm:spPr/>
    </dgm:pt>
    <dgm:pt modelId="{D7CB38E4-4B8E-48E6-A9EC-890103DC7594}" type="pres">
      <dgm:prSet presAssocID="{D00D769B-29B9-4707-B2C6-CB36E5210246}" presName="vert1" presStyleCnt="0"/>
      <dgm:spPr/>
    </dgm:pt>
    <dgm:pt modelId="{E73FEF49-C83C-4379-8A87-720D0E92122D}" type="pres">
      <dgm:prSet presAssocID="{852BDF78-B66D-44B0-ADC4-C9F6ED93F27D}" presName="thickLine" presStyleLbl="alignNode1" presStyleIdx="3" presStyleCnt="9"/>
      <dgm:spPr/>
    </dgm:pt>
    <dgm:pt modelId="{D12F005F-8570-422C-82CB-30BAFE1B0027}" type="pres">
      <dgm:prSet presAssocID="{852BDF78-B66D-44B0-ADC4-C9F6ED93F27D}" presName="horz1" presStyleCnt="0"/>
      <dgm:spPr/>
    </dgm:pt>
    <dgm:pt modelId="{4626DE0F-5800-4C40-B864-1DC19F828A70}" type="pres">
      <dgm:prSet presAssocID="{852BDF78-B66D-44B0-ADC4-C9F6ED93F27D}" presName="tx1" presStyleLbl="revTx" presStyleIdx="3" presStyleCnt="9" custScaleY="92893"/>
      <dgm:spPr/>
    </dgm:pt>
    <dgm:pt modelId="{0E2C0C2A-C601-4D71-B53B-B8BF8AE1BD0A}" type="pres">
      <dgm:prSet presAssocID="{852BDF78-B66D-44B0-ADC4-C9F6ED93F27D}" presName="vert1" presStyleCnt="0"/>
      <dgm:spPr/>
    </dgm:pt>
    <dgm:pt modelId="{86822A4C-531A-4455-8AD3-BBE6653AA222}" type="pres">
      <dgm:prSet presAssocID="{3207AF79-905D-48F6-93DA-D050AEE4D93A}" presName="thickLine" presStyleLbl="alignNode1" presStyleIdx="4" presStyleCnt="9"/>
      <dgm:spPr/>
    </dgm:pt>
    <dgm:pt modelId="{07349290-9113-4698-A586-63FB71E63731}" type="pres">
      <dgm:prSet presAssocID="{3207AF79-905D-48F6-93DA-D050AEE4D93A}" presName="horz1" presStyleCnt="0"/>
      <dgm:spPr/>
    </dgm:pt>
    <dgm:pt modelId="{777C5FE4-F47B-44EC-9F6F-28900833E9E2}" type="pres">
      <dgm:prSet presAssocID="{3207AF79-905D-48F6-93DA-D050AEE4D93A}" presName="tx1" presStyleLbl="revTx" presStyleIdx="4" presStyleCnt="9" custScaleY="72276"/>
      <dgm:spPr/>
    </dgm:pt>
    <dgm:pt modelId="{622D5D62-0387-4A72-81D2-3D5FD8DD91F8}" type="pres">
      <dgm:prSet presAssocID="{3207AF79-905D-48F6-93DA-D050AEE4D93A}" presName="vert1" presStyleCnt="0"/>
      <dgm:spPr/>
    </dgm:pt>
    <dgm:pt modelId="{85002ACD-6A5C-46B8-87C3-479D3DA72E7A}" type="pres">
      <dgm:prSet presAssocID="{A2175407-A768-4617-AC6C-EB70DA72A68B}" presName="thickLine" presStyleLbl="alignNode1" presStyleIdx="5" presStyleCnt="9"/>
      <dgm:spPr/>
    </dgm:pt>
    <dgm:pt modelId="{17D87D44-CD1B-4FBC-A385-E05E77D2E223}" type="pres">
      <dgm:prSet presAssocID="{A2175407-A768-4617-AC6C-EB70DA72A68B}" presName="horz1" presStyleCnt="0"/>
      <dgm:spPr/>
    </dgm:pt>
    <dgm:pt modelId="{F7927FA5-B616-4141-A58D-96C9FF775203}" type="pres">
      <dgm:prSet presAssocID="{A2175407-A768-4617-AC6C-EB70DA72A68B}" presName="tx1" presStyleLbl="revTx" presStyleIdx="5" presStyleCnt="9" custScaleY="97407"/>
      <dgm:spPr/>
    </dgm:pt>
    <dgm:pt modelId="{77FD8AFC-D8BB-4326-A7C4-3EECB2A9C03C}" type="pres">
      <dgm:prSet presAssocID="{A2175407-A768-4617-AC6C-EB70DA72A68B}" presName="vert1" presStyleCnt="0"/>
      <dgm:spPr/>
    </dgm:pt>
    <dgm:pt modelId="{03C90594-5DF4-414B-8101-0A8583615497}" type="pres">
      <dgm:prSet presAssocID="{C1CBB58E-7EA3-4F7A-BDDC-B463692270AC}" presName="thickLine" presStyleLbl="alignNode1" presStyleIdx="6" presStyleCnt="9"/>
      <dgm:spPr/>
    </dgm:pt>
    <dgm:pt modelId="{3A500368-D398-4766-937D-273E3A1383EE}" type="pres">
      <dgm:prSet presAssocID="{C1CBB58E-7EA3-4F7A-BDDC-B463692270AC}" presName="horz1" presStyleCnt="0"/>
      <dgm:spPr/>
    </dgm:pt>
    <dgm:pt modelId="{8ADA81F6-F0AC-4CA7-A553-166D34640710}" type="pres">
      <dgm:prSet presAssocID="{C1CBB58E-7EA3-4F7A-BDDC-B463692270AC}" presName="tx1" presStyleLbl="revTx" presStyleIdx="6" presStyleCnt="9" custScaleY="73856"/>
      <dgm:spPr/>
    </dgm:pt>
    <dgm:pt modelId="{B140ED91-37F2-4CB4-82E1-20B2EA175904}" type="pres">
      <dgm:prSet presAssocID="{C1CBB58E-7EA3-4F7A-BDDC-B463692270AC}" presName="vert1" presStyleCnt="0"/>
      <dgm:spPr/>
    </dgm:pt>
    <dgm:pt modelId="{62969204-AE33-4684-9597-1E795E7D08E4}" type="pres">
      <dgm:prSet presAssocID="{7F91080C-FB24-49C1-89FE-EB473EBF2567}" presName="thickLine" presStyleLbl="alignNode1" presStyleIdx="7" presStyleCnt="9"/>
      <dgm:spPr/>
    </dgm:pt>
    <dgm:pt modelId="{DC74FA45-D09E-46D4-8111-39DA80581C9D}" type="pres">
      <dgm:prSet presAssocID="{7F91080C-FB24-49C1-89FE-EB473EBF2567}" presName="horz1" presStyleCnt="0"/>
      <dgm:spPr/>
    </dgm:pt>
    <dgm:pt modelId="{64D9FD59-D866-4255-8159-FCFA486DFDF4}" type="pres">
      <dgm:prSet presAssocID="{7F91080C-FB24-49C1-89FE-EB473EBF2567}" presName="tx1" presStyleLbl="revTx" presStyleIdx="7" presStyleCnt="9" custScaleY="73986"/>
      <dgm:spPr/>
    </dgm:pt>
    <dgm:pt modelId="{6EB188CD-7611-4973-85AB-DB5999337428}" type="pres">
      <dgm:prSet presAssocID="{7F91080C-FB24-49C1-89FE-EB473EBF2567}" presName="vert1" presStyleCnt="0"/>
      <dgm:spPr/>
    </dgm:pt>
    <dgm:pt modelId="{2466E9A5-E345-4F12-9DE5-66F349D76DF0}" type="pres">
      <dgm:prSet presAssocID="{0C06A036-2DB8-45FB-8A1B-0C1954F569B3}" presName="thickLine" presStyleLbl="alignNode1" presStyleIdx="8" presStyleCnt="9"/>
      <dgm:spPr/>
    </dgm:pt>
    <dgm:pt modelId="{FAF3332F-F00D-48C5-A286-44B5C7311DA7}" type="pres">
      <dgm:prSet presAssocID="{0C06A036-2DB8-45FB-8A1B-0C1954F569B3}" presName="horz1" presStyleCnt="0"/>
      <dgm:spPr/>
    </dgm:pt>
    <dgm:pt modelId="{6C64DF2B-456D-4ED7-8C42-C567AD0ACBA1}" type="pres">
      <dgm:prSet presAssocID="{0C06A036-2DB8-45FB-8A1B-0C1954F569B3}" presName="tx1" presStyleLbl="revTx" presStyleIdx="8" presStyleCnt="9"/>
      <dgm:spPr/>
    </dgm:pt>
    <dgm:pt modelId="{C4AFB32C-C6FA-43F1-814C-8A8DB69873CC}" type="pres">
      <dgm:prSet presAssocID="{0C06A036-2DB8-45FB-8A1B-0C1954F569B3}" presName="vert1" presStyleCnt="0"/>
      <dgm:spPr/>
    </dgm:pt>
  </dgm:ptLst>
  <dgm:cxnLst>
    <dgm:cxn modelId="{143B7B00-72FA-44BA-92CE-49B5368D88F4}" type="presOf" srcId="{EEB9C9B6-13D5-4ABD-A744-8D6B9086F178}" destId="{1DEF5F94-A175-4656-A77A-929D0C14B0C9}" srcOrd="0" destOrd="0" presId="urn:microsoft.com/office/officeart/2008/layout/LinedList"/>
    <dgm:cxn modelId="{33091C01-4DD5-4003-B9E4-6DE9F01E966D}" type="presOf" srcId="{29E3FBB3-9ABF-45D6-AF68-C9E865BEB080}" destId="{4257BB12-F94B-4EC5-A896-E35A435FFFC4}" srcOrd="0" destOrd="0" presId="urn:microsoft.com/office/officeart/2008/layout/LinedList"/>
    <dgm:cxn modelId="{D115C122-5185-4A55-BBF5-B2E7C140C6FF}" srcId="{EEB9C9B6-13D5-4ABD-A744-8D6B9086F178}" destId="{7F91080C-FB24-49C1-89FE-EB473EBF2567}" srcOrd="7" destOrd="0" parTransId="{1EEEFEFE-6216-40B6-838D-07E001C6CCDE}" sibTransId="{CB2C62AD-015B-4FB3-BB2E-4983997B789E}"/>
    <dgm:cxn modelId="{B0030432-2A82-4553-8DA5-0783865A8019}" srcId="{EEB9C9B6-13D5-4ABD-A744-8D6B9086F178}" destId="{C1CBB58E-7EA3-4F7A-BDDC-B463692270AC}" srcOrd="6" destOrd="0" parTransId="{993F100A-97FD-4C57-894F-D1272F8312F2}" sibTransId="{D81D372D-77CE-4935-A2A3-F87386D337EB}"/>
    <dgm:cxn modelId="{78091E33-2ABA-4F70-A753-D8CD7A92FADA}" type="presOf" srcId="{D00D769B-29B9-4707-B2C6-CB36E5210246}" destId="{06C6E06C-F536-4607-8E19-D16F2D0FBEEA}" srcOrd="0" destOrd="0" presId="urn:microsoft.com/office/officeart/2008/layout/LinedList"/>
    <dgm:cxn modelId="{638D3636-1331-47FE-B72B-AA25CAC33BC9}" srcId="{EEB9C9B6-13D5-4ABD-A744-8D6B9086F178}" destId="{0C06A036-2DB8-45FB-8A1B-0C1954F569B3}" srcOrd="8" destOrd="0" parTransId="{FB1A196D-C7D5-4BBC-9466-14144EB017F2}" sibTransId="{7525BDD8-E518-4111-AB2C-4FEA9D0C533D}"/>
    <dgm:cxn modelId="{3DA16851-32FD-46EC-AE04-4F5EC690CD6E}" type="presOf" srcId="{AE15A575-DB54-4FFA-810A-715561903729}" destId="{30256B2D-BE38-4D11-8E60-9BD600B6C345}" srcOrd="0" destOrd="0" presId="urn:microsoft.com/office/officeart/2008/layout/LinedList"/>
    <dgm:cxn modelId="{0234757E-2AC4-41AE-939C-2CAF4093CEAB}" srcId="{EEB9C9B6-13D5-4ABD-A744-8D6B9086F178}" destId="{29E3FBB3-9ABF-45D6-AF68-C9E865BEB080}" srcOrd="0" destOrd="0" parTransId="{E6026264-2E8F-4712-B161-5DAE8A163A31}" sibTransId="{9EF66762-D321-46B3-BCD9-9CE66F4DCE85}"/>
    <dgm:cxn modelId="{ED977883-614A-4496-B934-135C347A739D}" srcId="{EEB9C9B6-13D5-4ABD-A744-8D6B9086F178}" destId="{D00D769B-29B9-4707-B2C6-CB36E5210246}" srcOrd="2" destOrd="0" parTransId="{7DECF872-E53B-46AD-A1DE-E259C945A753}" sibTransId="{3D67F219-BDD3-4B48-B6E9-22E9643B2426}"/>
    <dgm:cxn modelId="{AF5AA88E-0C7A-4F4A-B0E0-F395442EFEFF}" type="presOf" srcId="{3207AF79-905D-48F6-93DA-D050AEE4D93A}" destId="{777C5FE4-F47B-44EC-9F6F-28900833E9E2}" srcOrd="0" destOrd="0" presId="urn:microsoft.com/office/officeart/2008/layout/LinedList"/>
    <dgm:cxn modelId="{38E92995-1BB5-4117-9E4E-7C8E5131210C}" type="presOf" srcId="{C1CBB58E-7EA3-4F7A-BDDC-B463692270AC}" destId="{8ADA81F6-F0AC-4CA7-A553-166D34640710}" srcOrd="0" destOrd="0" presId="urn:microsoft.com/office/officeart/2008/layout/LinedList"/>
    <dgm:cxn modelId="{B4DBBDB9-59CB-4F42-AF50-08787A31AA97}" type="presOf" srcId="{852BDF78-B66D-44B0-ADC4-C9F6ED93F27D}" destId="{4626DE0F-5800-4C40-B864-1DC19F828A70}" srcOrd="0" destOrd="0" presId="urn:microsoft.com/office/officeart/2008/layout/LinedList"/>
    <dgm:cxn modelId="{CA410AC6-6BCF-4B07-85D7-56DD86E90D86}" srcId="{EEB9C9B6-13D5-4ABD-A744-8D6B9086F178}" destId="{3207AF79-905D-48F6-93DA-D050AEE4D93A}" srcOrd="4" destOrd="0" parTransId="{CB2D5F84-FB21-46A2-AF82-97973B2972DC}" sibTransId="{C369CF18-2EA9-4C81-AFD3-AE30CE396019}"/>
    <dgm:cxn modelId="{22B9EDD5-4259-476C-8E9F-AC83C66E4622}" srcId="{EEB9C9B6-13D5-4ABD-A744-8D6B9086F178}" destId="{AE15A575-DB54-4FFA-810A-715561903729}" srcOrd="1" destOrd="0" parTransId="{64978CD2-0A78-43A9-AE88-55798695A9EF}" sibTransId="{9F8154C0-0D0C-4619-9ACB-6C1610440D6B}"/>
    <dgm:cxn modelId="{C58EE1D7-5108-4EC1-92AF-6654EE15BBD6}" srcId="{EEB9C9B6-13D5-4ABD-A744-8D6B9086F178}" destId="{A2175407-A768-4617-AC6C-EB70DA72A68B}" srcOrd="5" destOrd="0" parTransId="{0AF1C965-0421-49F7-A9B6-1EF01C871545}" sibTransId="{6BBCE306-FA73-4554-9CC6-94567C04766D}"/>
    <dgm:cxn modelId="{23294CE6-E49D-4212-8D73-688EB035CDD7}" type="presOf" srcId="{A2175407-A768-4617-AC6C-EB70DA72A68B}" destId="{F7927FA5-B616-4141-A58D-96C9FF775203}" srcOrd="0" destOrd="0" presId="urn:microsoft.com/office/officeart/2008/layout/LinedList"/>
    <dgm:cxn modelId="{C73B94EB-F486-43AA-8582-CA2F4398C25D}" type="presOf" srcId="{0C06A036-2DB8-45FB-8A1B-0C1954F569B3}" destId="{6C64DF2B-456D-4ED7-8C42-C567AD0ACBA1}" srcOrd="0" destOrd="0" presId="urn:microsoft.com/office/officeart/2008/layout/LinedList"/>
    <dgm:cxn modelId="{C68C8DF3-951A-459B-855B-D06D0B4B1955}" type="presOf" srcId="{7F91080C-FB24-49C1-89FE-EB473EBF2567}" destId="{64D9FD59-D866-4255-8159-FCFA486DFDF4}" srcOrd="0" destOrd="0" presId="urn:microsoft.com/office/officeart/2008/layout/LinedList"/>
    <dgm:cxn modelId="{3925E4FF-902A-4DC6-96EE-CF775A20B638}" srcId="{EEB9C9B6-13D5-4ABD-A744-8D6B9086F178}" destId="{852BDF78-B66D-44B0-ADC4-C9F6ED93F27D}" srcOrd="3" destOrd="0" parTransId="{703CAFC7-E933-43A4-BC3B-B7D6F7E2333B}" sibTransId="{57BC78F9-1A3A-44AF-8728-E1FBC9F716B1}"/>
    <dgm:cxn modelId="{791B6A43-B46B-4369-BCE0-00CF872A1646}" type="presParOf" srcId="{1DEF5F94-A175-4656-A77A-929D0C14B0C9}" destId="{66ED704B-FA69-45FD-B286-E076F8537BAE}" srcOrd="0" destOrd="0" presId="urn:microsoft.com/office/officeart/2008/layout/LinedList"/>
    <dgm:cxn modelId="{E58BA4B1-650D-449C-8FE1-10316ECE6B38}" type="presParOf" srcId="{1DEF5F94-A175-4656-A77A-929D0C14B0C9}" destId="{418725EC-BBB4-4E75-86B4-B4F6E5E5C1AF}" srcOrd="1" destOrd="0" presId="urn:microsoft.com/office/officeart/2008/layout/LinedList"/>
    <dgm:cxn modelId="{F5952DF7-0FF6-4C41-A6F1-4A1F337343B0}" type="presParOf" srcId="{418725EC-BBB4-4E75-86B4-B4F6E5E5C1AF}" destId="{4257BB12-F94B-4EC5-A896-E35A435FFFC4}" srcOrd="0" destOrd="0" presId="urn:microsoft.com/office/officeart/2008/layout/LinedList"/>
    <dgm:cxn modelId="{12FA276D-24AC-4F7A-AC7C-58FE5BE64D92}" type="presParOf" srcId="{418725EC-BBB4-4E75-86B4-B4F6E5E5C1AF}" destId="{4CCAD4CB-6271-42AC-B0D1-17BBA77B9381}" srcOrd="1" destOrd="0" presId="urn:microsoft.com/office/officeart/2008/layout/LinedList"/>
    <dgm:cxn modelId="{AB42489C-99B6-438F-9B56-E109A1DD5C3A}" type="presParOf" srcId="{1DEF5F94-A175-4656-A77A-929D0C14B0C9}" destId="{7BB7D526-D2A0-4B4E-9C25-75C7B0A74CA0}" srcOrd="2" destOrd="0" presId="urn:microsoft.com/office/officeart/2008/layout/LinedList"/>
    <dgm:cxn modelId="{EECAB405-7AD2-456A-8B6F-D4BF2C30FF4E}" type="presParOf" srcId="{1DEF5F94-A175-4656-A77A-929D0C14B0C9}" destId="{03303100-4E73-4068-85AB-EDB8CA452EA1}" srcOrd="3" destOrd="0" presId="urn:microsoft.com/office/officeart/2008/layout/LinedList"/>
    <dgm:cxn modelId="{52D0E6C4-32C7-44CA-9DBD-6306230F2298}" type="presParOf" srcId="{03303100-4E73-4068-85AB-EDB8CA452EA1}" destId="{30256B2D-BE38-4D11-8E60-9BD600B6C345}" srcOrd="0" destOrd="0" presId="urn:microsoft.com/office/officeart/2008/layout/LinedList"/>
    <dgm:cxn modelId="{4E6E0415-F33F-4ADC-80E2-4FA3ECD1CABB}" type="presParOf" srcId="{03303100-4E73-4068-85AB-EDB8CA452EA1}" destId="{63279343-9AD5-47A9-AAFE-0BC58494C85D}" srcOrd="1" destOrd="0" presId="urn:microsoft.com/office/officeart/2008/layout/LinedList"/>
    <dgm:cxn modelId="{F8AE2179-AAE4-406B-B970-E663FD9BC218}" type="presParOf" srcId="{1DEF5F94-A175-4656-A77A-929D0C14B0C9}" destId="{26203BBB-9F93-4CDC-8426-B80B8CCC76D3}" srcOrd="4" destOrd="0" presId="urn:microsoft.com/office/officeart/2008/layout/LinedList"/>
    <dgm:cxn modelId="{598AD3F1-488F-4455-A3B5-BFF86500F242}" type="presParOf" srcId="{1DEF5F94-A175-4656-A77A-929D0C14B0C9}" destId="{9CDCBD6B-363A-4DB0-BC29-A0B92C6EF6F4}" srcOrd="5" destOrd="0" presId="urn:microsoft.com/office/officeart/2008/layout/LinedList"/>
    <dgm:cxn modelId="{67E11E95-D6F9-4424-8B6F-4D657DBF2784}" type="presParOf" srcId="{9CDCBD6B-363A-4DB0-BC29-A0B92C6EF6F4}" destId="{06C6E06C-F536-4607-8E19-D16F2D0FBEEA}" srcOrd="0" destOrd="0" presId="urn:microsoft.com/office/officeart/2008/layout/LinedList"/>
    <dgm:cxn modelId="{CED478A5-C928-4259-8097-950B0384AC3E}" type="presParOf" srcId="{9CDCBD6B-363A-4DB0-BC29-A0B92C6EF6F4}" destId="{D7CB38E4-4B8E-48E6-A9EC-890103DC7594}" srcOrd="1" destOrd="0" presId="urn:microsoft.com/office/officeart/2008/layout/LinedList"/>
    <dgm:cxn modelId="{0512B8CF-2CA0-49DA-9FD9-F61B8FA31A21}" type="presParOf" srcId="{1DEF5F94-A175-4656-A77A-929D0C14B0C9}" destId="{E73FEF49-C83C-4379-8A87-720D0E92122D}" srcOrd="6" destOrd="0" presId="urn:microsoft.com/office/officeart/2008/layout/LinedList"/>
    <dgm:cxn modelId="{C7F54200-BA4B-4296-8226-5B4E014FE135}" type="presParOf" srcId="{1DEF5F94-A175-4656-A77A-929D0C14B0C9}" destId="{D12F005F-8570-422C-82CB-30BAFE1B0027}" srcOrd="7" destOrd="0" presId="urn:microsoft.com/office/officeart/2008/layout/LinedList"/>
    <dgm:cxn modelId="{68476C42-B949-42DE-BCF1-FEF13CEF7AB6}" type="presParOf" srcId="{D12F005F-8570-422C-82CB-30BAFE1B0027}" destId="{4626DE0F-5800-4C40-B864-1DC19F828A70}" srcOrd="0" destOrd="0" presId="urn:microsoft.com/office/officeart/2008/layout/LinedList"/>
    <dgm:cxn modelId="{BCD4FD81-9ED4-440B-89E8-60B86FC8099D}" type="presParOf" srcId="{D12F005F-8570-422C-82CB-30BAFE1B0027}" destId="{0E2C0C2A-C601-4D71-B53B-B8BF8AE1BD0A}" srcOrd="1" destOrd="0" presId="urn:microsoft.com/office/officeart/2008/layout/LinedList"/>
    <dgm:cxn modelId="{EAA10BD1-147C-4CB4-A0F2-84815F098B8D}" type="presParOf" srcId="{1DEF5F94-A175-4656-A77A-929D0C14B0C9}" destId="{86822A4C-531A-4455-8AD3-BBE6653AA222}" srcOrd="8" destOrd="0" presId="urn:microsoft.com/office/officeart/2008/layout/LinedList"/>
    <dgm:cxn modelId="{4DC47C97-1503-4599-BBB3-B9969F4BF8F0}" type="presParOf" srcId="{1DEF5F94-A175-4656-A77A-929D0C14B0C9}" destId="{07349290-9113-4698-A586-63FB71E63731}" srcOrd="9" destOrd="0" presId="urn:microsoft.com/office/officeart/2008/layout/LinedList"/>
    <dgm:cxn modelId="{76EB2495-9D7C-4756-BC32-2951B90BB004}" type="presParOf" srcId="{07349290-9113-4698-A586-63FB71E63731}" destId="{777C5FE4-F47B-44EC-9F6F-28900833E9E2}" srcOrd="0" destOrd="0" presId="urn:microsoft.com/office/officeart/2008/layout/LinedList"/>
    <dgm:cxn modelId="{15916BE5-C850-4017-816B-6F83BAC09D74}" type="presParOf" srcId="{07349290-9113-4698-A586-63FB71E63731}" destId="{622D5D62-0387-4A72-81D2-3D5FD8DD91F8}" srcOrd="1" destOrd="0" presId="urn:microsoft.com/office/officeart/2008/layout/LinedList"/>
    <dgm:cxn modelId="{19697EDF-33CE-45E7-B4B9-C76D5CD1C4C2}" type="presParOf" srcId="{1DEF5F94-A175-4656-A77A-929D0C14B0C9}" destId="{85002ACD-6A5C-46B8-87C3-479D3DA72E7A}" srcOrd="10" destOrd="0" presId="urn:microsoft.com/office/officeart/2008/layout/LinedList"/>
    <dgm:cxn modelId="{5F0C1F66-C0C1-4D95-8E4A-6F1A0BD5E69C}" type="presParOf" srcId="{1DEF5F94-A175-4656-A77A-929D0C14B0C9}" destId="{17D87D44-CD1B-4FBC-A385-E05E77D2E223}" srcOrd="11" destOrd="0" presId="urn:microsoft.com/office/officeart/2008/layout/LinedList"/>
    <dgm:cxn modelId="{8CF149BA-6823-4ADC-8A51-47A6CFD1BA94}" type="presParOf" srcId="{17D87D44-CD1B-4FBC-A385-E05E77D2E223}" destId="{F7927FA5-B616-4141-A58D-96C9FF775203}" srcOrd="0" destOrd="0" presId="urn:microsoft.com/office/officeart/2008/layout/LinedList"/>
    <dgm:cxn modelId="{CDFE2C7F-8C16-4DBF-8B88-E458FE6C5BA2}" type="presParOf" srcId="{17D87D44-CD1B-4FBC-A385-E05E77D2E223}" destId="{77FD8AFC-D8BB-4326-A7C4-3EECB2A9C03C}" srcOrd="1" destOrd="0" presId="urn:microsoft.com/office/officeart/2008/layout/LinedList"/>
    <dgm:cxn modelId="{CE9B89BC-348C-4BEF-A1E6-B5484E7E4D36}" type="presParOf" srcId="{1DEF5F94-A175-4656-A77A-929D0C14B0C9}" destId="{03C90594-5DF4-414B-8101-0A8583615497}" srcOrd="12" destOrd="0" presId="urn:microsoft.com/office/officeart/2008/layout/LinedList"/>
    <dgm:cxn modelId="{FEBBC1D6-4087-4AA1-B4FE-D7E2E2C3C18A}" type="presParOf" srcId="{1DEF5F94-A175-4656-A77A-929D0C14B0C9}" destId="{3A500368-D398-4766-937D-273E3A1383EE}" srcOrd="13" destOrd="0" presId="urn:microsoft.com/office/officeart/2008/layout/LinedList"/>
    <dgm:cxn modelId="{15E5AD94-2093-47C3-B494-0892137F2F8D}" type="presParOf" srcId="{3A500368-D398-4766-937D-273E3A1383EE}" destId="{8ADA81F6-F0AC-4CA7-A553-166D34640710}" srcOrd="0" destOrd="0" presId="urn:microsoft.com/office/officeart/2008/layout/LinedList"/>
    <dgm:cxn modelId="{0FEC5732-E9DE-4C8A-92AD-42E18998BA0F}" type="presParOf" srcId="{3A500368-D398-4766-937D-273E3A1383EE}" destId="{B140ED91-37F2-4CB4-82E1-20B2EA175904}" srcOrd="1" destOrd="0" presId="urn:microsoft.com/office/officeart/2008/layout/LinedList"/>
    <dgm:cxn modelId="{EB044478-5AD7-46BE-ACD7-31A0031F6FCF}" type="presParOf" srcId="{1DEF5F94-A175-4656-A77A-929D0C14B0C9}" destId="{62969204-AE33-4684-9597-1E795E7D08E4}" srcOrd="14" destOrd="0" presId="urn:microsoft.com/office/officeart/2008/layout/LinedList"/>
    <dgm:cxn modelId="{3152EAB3-0CCA-4E3F-B523-03F218A86573}" type="presParOf" srcId="{1DEF5F94-A175-4656-A77A-929D0C14B0C9}" destId="{DC74FA45-D09E-46D4-8111-39DA80581C9D}" srcOrd="15" destOrd="0" presId="urn:microsoft.com/office/officeart/2008/layout/LinedList"/>
    <dgm:cxn modelId="{9E675F54-5442-4428-AA96-196A65113712}" type="presParOf" srcId="{DC74FA45-D09E-46D4-8111-39DA80581C9D}" destId="{64D9FD59-D866-4255-8159-FCFA486DFDF4}" srcOrd="0" destOrd="0" presId="urn:microsoft.com/office/officeart/2008/layout/LinedList"/>
    <dgm:cxn modelId="{324CAF0B-6872-4E01-941B-1CC039C64767}" type="presParOf" srcId="{DC74FA45-D09E-46D4-8111-39DA80581C9D}" destId="{6EB188CD-7611-4973-85AB-DB5999337428}" srcOrd="1" destOrd="0" presId="urn:microsoft.com/office/officeart/2008/layout/LinedList"/>
    <dgm:cxn modelId="{F82133CF-63FC-4526-9DF8-3B8F4286EDC6}" type="presParOf" srcId="{1DEF5F94-A175-4656-A77A-929D0C14B0C9}" destId="{2466E9A5-E345-4F12-9DE5-66F349D76DF0}" srcOrd="16" destOrd="0" presId="urn:microsoft.com/office/officeart/2008/layout/LinedList"/>
    <dgm:cxn modelId="{FF3F033F-1951-480D-BD82-40961F654B5C}" type="presParOf" srcId="{1DEF5F94-A175-4656-A77A-929D0C14B0C9}" destId="{FAF3332F-F00D-48C5-A286-44B5C7311DA7}" srcOrd="17" destOrd="0" presId="urn:microsoft.com/office/officeart/2008/layout/LinedList"/>
    <dgm:cxn modelId="{3F001DD8-8474-4C2E-B227-11BBC20D99C4}" type="presParOf" srcId="{FAF3332F-F00D-48C5-A286-44B5C7311DA7}" destId="{6C64DF2B-456D-4ED7-8C42-C567AD0ACBA1}" srcOrd="0" destOrd="0" presId="urn:microsoft.com/office/officeart/2008/layout/LinedList"/>
    <dgm:cxn modelId="{E6712DEA-C9E0-4C17-8693-E5861469A77F}" type="presParOf" srcId="{FAF3332F-F00D-48C5-A286-44B5C7311DA7}" destId="{C4AFB32C-C6FA-43F1-814C-8A8DB69873CC}" srcOrd="1" destOrd="0" presId="urn:microsoft.com/office/officeart/2008/layout/LinedList"/>
  </dgm:cxnLst>
  <dgm:bg/>
  <dgm:whole>
    <a:ln w="19050">
      <a:solidFill>
        <a:schemeClr val="bg1">
          <a:lumMod val="50000"/>
        </a:schemeClr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EB9C9B6-13D5-4ABD-A744-8D6B9086F178}" type="doc">
      <dgm:prSet loTypeId="urn:microsoft.com/office/officeart/2008/layout/LinedList" loCatId="list" qsTypeId="urn:microsoft.com/office/officeart/2005/8/quickstyle/simple1" qsCatId="simple" csTypeId="urn:microsoft.com/office/officeart/2005/8/colors/accent0_1" csCatId="mainScheme" phldr="1"/>
      <dgm:spPr/>
    </dgm:pt>
    <dgm:pt modelId="{29E3FBB3-9ABF-45D6-AF68-C9E865BEB080}">
      <dgm:prSet phldrT="[Text]" custT="1"/>
      <dgm:spPr>
        <a:solidFill>
          <a:srgbClr val="FFE48F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CA" sz="1600" dirty="0"/>
            <a:t>Sentiment</a:t>
          </a:r>
        </a:p>
      </dgm:t>
    </dgm:pt>
    <dgm:pt modelId="{E6026264-2E8F-4712-B161-5DAE8A163A31}" type="parTrans" cxnId="{0234757E-2AC4-41AE-939C-2CAF4093CEAB}">
      <dgm:prSet/>
      <dgm:spPr/>
      <dgm:t>
        <a:bodyPr/>
        <a:lstStyle/>
        <a:p>
          <a:pPr algn="l"/>
          <a:endParaRPr lang="en-CA" sz="1600"/>
        </a:p>
      </dgm:t>
    </dgm:pt>
    <dgm:pt modelId="{9EF66762-D321-46B3-BCD9-9CE66F4DCE85}" type="sibTrans" cxnId="{0234757E-2AC4-41AE-939C-2CAF4093CEAB}">
      <dgm:prSet/>
      <dgm:spPr/>
      <dgm:t>
        <a:bodyPr/>
        <a:lstStyle/>
        <a:p>
          <a:pPr algn="l"/>
          <a:endParaRPr lang="en-CA" sz="1600"/>
        </a:p>
      </dgm:t>
    </dgm:pt>
    <dgm:pt modelId="{AE15A575-DB54-4FFA-810A-715561903729}">
      <dgm:prSet phldrT="[Text]" custT="1"/>
      <dgm:spPr>
        <a:noFill/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CA" sz="1600" dirty="0"/>
            <a:t>Syllable Count (before &amp; after) </a:t>
          </a:r>
        </a:p>
      </dgm:t>
    </dgm:pt>
    <dgm:pt modelId="{64978CD2-0A78-43A9-AE88-55798695A9EF}" type="parTrans" cxnId="{22B9EDD5-4259-476C-8E9F-AC83C66E4622}">
      <dgm:prSet/>
      <dgm:spPr/>
      <dgm:t>
        <a:bodyPr/>
        <a:lstStyle/>
        <a:p>
          <a:pPr algn="l"/>
          <a:endParaRPr lang="en-CA" sz="1600"/>
        </a:p>
      </dgm:t>
    </dgm:pt>
    <dgm:pt modelId="{9F8154C0-0D0C-4619-9ACB-6C1610440D6B}" type="sibTrans" cxnId="{22B9EDD5-4259-476C-8E9F-AC83C66E4622}">
      <dgm:prSet/>
      <dgm:spPr/>
      <dgm:t>
        <a:bodyPr/>
        <a:lstStyle/>
        <a:p>
          <a:pPr algn="l"/>
          <a:endParaRPr lang="en-CA" sz="1600"/>
        </a:p>
      </dgm:t>
    </dgm:pt>
    <dgm:pt modelId="{D00D769B-29B9-4707-B2C6-CB36E5210246}">
      <dgm:prSet phldrT="[Text]" custT="1"/>
      <dgm:spPr>
        <a:solidFill>
          <a:srgbClr val="FFE48F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CA" sz="1600" dirty="0"/>
            <a:t>Word Count (before &amp; after)</a:t>
          </a:r>
        </a:p>
      </dgm:t>
    </dgm:pt>
    <dgm:pt modelId="{7DECF872-E53B-46AD-A1DE-E259C945A753}" type="parTrans" cxnId="{ED977883-614A-4496-B934-135C347A739D}">
      <dgm:prSet/>
      <dgm:spPr/>
      <dgm:t>
        <a:bodyPr/>
        <a:lstStyle/>
        <a:p>
          <a:pPr algn="l"/>
          <a:endParaRPr lang="en-CA" sz="1600"/>
        </a:p>
      </dgm:t>
    </dgm:pt>
    <dgm:pt modelId="{3D67F219-BDD3-4B48-B6E9-22E9643B2426}" type="sibTrans" cxnId="{ED977883-614A-4496-B934-135C347A739D}">
      <dgm:prSet/>
      <dgm:spPr/>
      <dgm:t>
        <a:bodyPr/>
        <a:lstStyle/>
        <a:p>
          <a:pPr algn="l"/>
          <a:endParaRPr lang="en-CA" sz="1600"/>
        </a:p>
      </dgm:t>
    </dgm:pt>
    <dgm:pt modelId="{9AD3EA48-614B-4D56-9B06-9ACF4A90C426}">
      <dgm:prSet phldrT="[Text]" custT="1"/>
      <dgm:spPr>
        <a:noFill/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US" sz="1600" dirty="0"/>
            <a:t>Character Count</a:t>
          </a:r>
          <a:endParaRPr lang="en-CA" sz="1600" dirty="0"/>
        </a:p>
      </dgm:t>
    </dgm:pt>
    <dgm:pt modelId="{D89B1736-91D8-4D9C-A164-57CAB453677F}" type="parTrans" cxnId="{FF5A06C4-701B-4F22-9E49-7288B9491326}">
      <dgm:prSet/>
      <dgm:spPr/>
      <dgm:t>
        <a:bodyPr/>
        <a:lstStyle/>
        <a:p>
          <a:pPr algn="l"/>
          <a:endParaRPr lang="en-CA" sz="1600"/>
        </a:p>
      </dgm:t>
    </dgm:pt>
    <dgm:pt modelId="{2DC7E1E7-BD91-4A31-9A88-1E106334A121}" type="sibTrans" cxnId="{FF5A06C4-701B-4F22-9E49-7288B9491326}">
      <dgm:prSet/>
      <dgm:spPr/>
      <dgm:t>
        <a:bodyPr/>
        <a:lstStyle/>
        <a:p>
          <a:pPr algn="l"/>
          <a:endParaRPr lang="en-CA" sz="1600"/>
        </a:p>
      </dgm:t>
    </dgm:pt>
    <dgm:pt modelId="{8F98D053-7DD3-4E7C-B510-2C5947074B9C}">
      <dgm:prSet phldrT="[Text]" custT="1"/>
      <dgm:spPr>
        <a:solidFill>
          <a:srgbClr val="FFE48F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US" sz="1600" dirty="0"/>
            <a:t>Sentence Count</a:t>
          </a:r>
          <a:endParaRPr lang="en-CA" sz="1600" dirty="0"/>
        </a:p>
      </dgm:t>
    </dgm:pt>
    <dgm:pt modelId="{98F95CCB-29BF-422C-A610-32453AFDA5A8}" type="parTrans" cxnId="{CF65D96B-2965-407D-A12E-2888439C7B4F}">
      <dgm:prSet/>
      <dgm:spPr/>
      <dgm:t>
        <a:bodyPr/>
        <a:lstStyle/>
        <a:p>
          <a:pPr algn="l"/>
          <a:endParaRPr lang="en-CA" sz="1600"/>
        </a:p>
      </dgm:t>
    </dgm:pt>
    <dgm:pt modelId="{1A4E0E52-00AB-4650-9ED5-8E8E164DE083}" type="sibTrans" cxnId="{CF65D96B-2965-407D-A12E-2888439C7B4F}">
      <dgm:prSet/>
      <dgm:spPr/>
      <dgm:t>
        <a:bodyPr/>
        <a:lstStyle/>
        <a:p>
          <a:pPr algn="l"/>
          <a:endParaRPr lang="en-CA" sz="1600"/>
        </a:p>
      </dgm:t>
    </dgm:pt>
    <dgm:pt modelId="{BCB51EA0-8E75-46A0-AD09-0A888438C63B}">
      <dgm:prSet phldrT="[Text]" custT="1"/>
      <dgm:spPr>
        <a:noFill/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US" sz="1600" dirty="0"/>
            <a:t>Number of Question Marks</a:t>
          </a:r>
          <a:endParaRPr lang="en-CA" sz="1600" dirty="0"/>
        </a:p>
      </dgm:t>
    </dgm:pt>
    <dgm:pt modelId="{2DB22BDA-AA0A-4944-86B0-AA7B94E89ADB}" type="parTrans" cxnId="{5F355AFA-FEE6-480B-B5DD-430F28096D16}">
      <dgm:prSet/>
      <dgm:spPr/>
      <dgm:t>
        <a:bodyPr/>
        <a:lstStyle/>
        <a:p>
          <a:pPr algn="l"/>
          <a:endParaRPr lang="en-CA" sz="1600"/>
        </a:p>
      </dgm:t>
    </dgm:pt>
    <dgm:pt modelId="{C07CC1B0-2288-49A3-82BB-C2F5A3375763}" type="sibTrans" cxnId="{5F355AFA-FEE6-480B-B5DD-430F28096D16}">
      <dgm:prSet/>
      <dgm:spPr/>
      <dgm:t>
        <a:bodyPr/>
        <a:lstStyle/>
        <a:p>
          <a:pPr algn="l"/>
          <a:endParaRPr lang="en-CA" sz="1600"/>
        </a:p>
      </dgm:t>
    </dgm:pt>
    <dgm:pt modelId="{6944F5DC-FC8F-43A1-89B7-FD3565E5EC9B}" type="pres">
      <dgm:prSet presAssocID="{EEB9C9B6-13D5-4ABD-A744-8D6B9086F178}" presName="vert0" presStyleCnt="0">
        <dgm:presLayoutVars>
          <dgm:dir/>
          <dgm:animOne val="branch"/>
          <dgm:animLvl val="lvl"/>
        </dgm:presLayoutVars>
      </dgm:prSet>
      <dgm:spPr/>
    </dgm:pt>
    <dgm:pt modelId="{80AD8697-5D24-493D-93A7-15388520FAB7}" type="pres">
      <dgm:prSet presAssocID="{29E3FBB3-9ABF-45D6-AF68-C9E865BEB080}" presName="thickLine" presStyleLbl="alignNode1" presStyleIdx="0" presStyleCnt="6"/>
      <dgm:spPr/>
    </dgm:pt>
    <dgm:pt modelId="{FEC47248-7C13-4154-9BEC-2623A7A3899C}" type="pres">
      <dgm:prSet presAssocID="{29E3FBB3-9ABF-45D6-AF68-C9E865BEB080}" presName="horz1" presStyleCnt="0"/>
      <dgm:spPr/>
    </dgm:pt>
    <dgm:pt modelId="{3BFA3D3F-3725-4090-A099-16D3C206538C}" type="pres">
      <dgm:prSet presAssocID="{29E3FBB3-9ABF-45D6-AF68-C9E865BEB080}" presName="tx1" presStyleLbl="revTx" presStyleIdx="0" presStyleCnt="6" custScaleY="67176"/>
      <dgm:spPr/>
    </dgm:pt>
    <dgm:pt modelId="{13A61B77-8DD3-437B-AB67-D6B1E977D66D}" type="pres">
      <dgm:prSet presAssocID="{29E3FBB3-9ABF-45D6-AF68-C9E865BEB080}" presName="vert1" presStyleCnt="0"/>
      <dgm:spPr/>
    </dgm:pt>
    <dgm:pt modelId="{4F38A850-AF57-4404-8540-1C53FA865E12}" type="pres">
      <dgm:prSet presAssocID="{AE15A575-DB54-4FFA-810A-715561903729}" presName="thickLine" presStyleLbl="alignNode1" presStyleIdx="1" presStyleCnt="6"/>
      <dgm:spPr/>
    </dgm:pt>
    <dgm:pt modelId="{E82ED918-EA97-479B-AB97-295B591FBAFC}" type="pres">
      <dgm:prSet presAssocID="{AE15A575-DB54-4FFA-810A-715561903729}" presName="horz1" presStyleCnt="0"/>
      <dgm:spPr/>
    </dgm:pt>
    <dgm:pt modelId="{07704C79-3EB9-424E-9161-FB9AED877423}" type="pres">
      <dgm:prSet presAssocID="{AE15A575-DB54-4FFA-810A-715561903729}" presName="tx1" presStyleLbl="revTx" presStyleIdx="1" presStyleCnt="6"/>
      <dgm:spPr/>
    </dgm:pt>
    <dgm:pt modelId="{7318D6FB-FD33-4C97-A507-1714CD64DF72}" type="pres">
      <dgm:prSet presAssocID="{AE15A575-DB54-4FFA-810A-715561903729}" presName="vert1" presStyleCnt="0"/>
      <dgm:spPr/>
    </dgm:pt>
    <dgm:pt modelId="{785E6E65-BF40-4B64-9088-85A68695AF98}" type="pres">
      <dgm:prSet presAssocID="{D00D769B-29B9-4707-B2C6-CB36E5210246}" presName="thickLine" presStyleLbl="alignNode1" presStyleIdx="2" presStyleCnt="6"/>
      <dgm:spPr/>
    </dgm:pt>
    <dgm:pt modelId="{6346FEA8-7C2C-4399-8C7A-60C0D58F5EEF}" type="pres">
      <dgm:prSet presAssocID="{D00D769B-29B9-4707-B2C6-CB36E5210246}" presName="horz1" presStyleCnt="0"/>
      <dgm:spPr/>
    </dgm:pt>
    <dgm:pt modelId="{2196B67C-6DB6-41C8-93F6-465A17A42887}" type="pres">
      <dgm:prSet presAssocID="{D00D769B-29B9-4707-B2C6-CB36E5210246}" presName="tx1" presStyleLbl="revTx" presStyleIdx="2" presStyleCnt="6" custScaleY="94621"/>
      <dgm:spPr/>
    </dgm:pt>
    <dgm:pt modelId="{740905C0-36D8-4738-8673-C53B7FB9F268}" type="pres">
      <dgm:prSet presAssocID="{D00D769B-29B9-4707-B2C6-CB36E5210246}" presName="vert1" presStyleCnt="0"/>
      <dgm:spPr/>
    </dgm:pt>
    <dgm:pt modelId="{0F1C2B75-A066-4567-99D0-72264AC3B8F2}" type="pres">
      <dgm:prSet presAssocID="{9AD3EA48-614B-4D56-9B06-9ACF4A90C426}" presName="thickLine" presStyleLbl="alignNode1" presStyleIdx="3" presStyleCnt="6"/>
      <dgm:spPr/>
    </dgm:pt>
    <dgm:pt modelId="{7B288CAF-79A3-42D1-9ECE-8E744E02E3F7}" type="pres">
      <dgm:prSet presAssocID="{9AD3EA48-614B-4D56-9B06-9ACF4A90C426}" presName="horz1" presStyleCnt="0"/>
      <dgm:spPr/>
    </dgm:pt>
    <dgm:pt modelId="{64FD5E68-12B0-4260-9F11-3251D6ECDFBB}" type="pres">
      <dgm:prSet presAssocID="{9AD3EA48-614B-4D56-9B06-9ACF4A90C426}" presName="tx1" presStyleLbl="revTx" presStyleIdx="3" presStyleCnt="6" custScaleY="87648"/>
      <dgm:spPr/>
    </dgm:pt>
    <dgm:pt modelId="{EE4B1A91-2FE8-404A-9218-83CF3BE5D1BC}" type="pres">
      <dgm:prSet presAssocID="{9AD3EA48-614B-4D56-9B06-9ACF4A90C426}" presName="vert1" presStyleCnt="0"/>
      <dgm:spPr/>
    </dgm:pt>
    <dgm:pt modelId="{B605C1CF-2FCC-4EC5-A34B-8666970B9ECD}" type="pres">
      <dgm:prSet presAssocID="{8F98D053-7DD3-4E7C-B510-2C5947074B9C}" presName="thickLine" presStyleLbl="alignNode1" presStyleIdx="4" presStyleCnt="6"/>
      <dgm:spPr/>
    </dgm:pt>
    <dgm:pt modelId="{BE618162-E561-4D5A-90D1-CF5C153326B2}" type="pres">
      <dgm:prSet presAssocID="{8F98D053-7DD3-4E7C-B510-2C5947074B9C}" presName="horz1" presStyleCnt="0"/>
      <dgm:spPr/>
    </dgm:pt>
    <dgm:pt modelId="{A8D219CB-28E4-4F12-8568-0341C75B0580}" type="pres">
      <dgm:prSet presAssocID="{8F98D053-7DD3-4E7C-B510-2C5947074B9C}" presName="tx1" presStyleLbl="revTx" presStyleIdx="4" presStyleCnt="6" custScaleY="86215"/>
      <dgm:spPr/>
    </dgm:pt>
    <dgm:pt modelId="{35AEEFEC-41CA-4FFA-A4E9-B055F4C96B20}" type="pres">
      <dgm:prSet presAssocID="{8F98D053-7DD3-4E7C-B510-2C5947074B9C}" presName="vert1" presStyleCnt="0"/>
      <dgm:spPr/>
    </dgm:pt>
    <dgm:pt modelId="{DE9DBD5F-D534-4FA9-83BF-6A9FB086D368}" type="pres">
      <dgm:prSet presAssocID="{BCB51EA0-8E75-46A0-AD09-0A888438C63B}" presName="thickLine" presStyleLbl="alignNode1" presStyleIdx="5" presStyleCnt="6"/>
      <dgm:spPr/>
    </dgm:pt>
    <dgm:pt modelId="{FEAD7C6F-ED2D-4459-8264-B89CA4C0CF7C}" type="pres">
      <dgm:prSet presAssocID="{BCB51EA0-8E75-46A0-AD09-0A888438C63B}" presName="horz1" presStyleCnt="0"/>
      <dgm:spPr/>
    </dgm:pt>
    <dgm:pt modelId="{BB96D61B-E4CE-4F3E-B0DE-76B261398D37}" type="pres">
      <dgm:prSet presAssocID="{BCB51EA0-8E75-46A0-AD09-0A888438C63B}" presName="tx1" presStyleLbl="revTx" presStyleIdx="5" presStyleCnt="6"/>
      <dgm:spPr/>
    </dgm:pt>
    <dgm:pt modelId="{9BBEA956-4F27-4936-AAAC-1EAADA89CEFE}" type="pres">
      <dgm:prSet presAssocID="{BCB51EA0-8E75-46A0-AD09-0A888438C63B}" presName="vert1" presStyleCnt="0"/>
      <dgm:spPr/>
    </dgm:pt>
  </dgm:ptLst>
  <dgm:cxnLst>
    <dgm:cxn modelId="{A60B2813-DD3F-46F2-9648-10513C916DF0}" type="presOf" srcId="{8F98D053-7DD3-4E7C-B510-2C5947074B9C}" destId="{A8D219CB-28E4-4F12-8568-0341C75B0580}" srcOrd="0" destOrd="0" presId="urn:microsoft.com/office/officeart/2008/layout/LinedList"/>
    <dgm:cxn modelId="{FC6C0E64-F4DB-4FC9-AE84-4CFD5D1A8964}" type="presOf" srcId="{AE15A575-DB54-4FFA-810A-715561903729}" destId="{07704C79-3EB9-424E-9161-FB9AED877423}" srcOrd="0" destOrd="0" presId="urn:microsoft.com/office/officeart/2008/layout/LinedList"/>
    <dgm:cxn modelId="{93F4A76A-0493-4066-9B68-C00DDBF57DB7}" type="presOf" srcId="{D00D769B-29B9-4707-B2C6-CB36E5210246}" destId="{2196B67C-6DB6-41C8-93F6-465A17A42887}" srcOrd="0" destOrd="0" presId="urn:microsoft.com/office/officeart/2008/layout/LinedList"/>
    <dgm:cxn modelId="{CF65D96B-2965-407D-A12E-2888439C7B4F}" srcId="{EEB9C9B6-13D5-4ABD-A744-8D6B9086F178}" destId="{8F98D053-7DD3-4E7C-B510-2C5947074B9C}" srcOrd="4" destOrd="0" parTransId="{98F95CCB-29BF-422C-A610-32453AFDA5A8}" sibTransId="{1A4E0E52-00AB-4650-9ED5-8E8E164DE083}"/>
    <dgm:cxn modelId="{9746EF76-81FD-4F1B-B2F3-5DEE3086C691}" type="presOf" srcId="{BCB51EA0-8E75-46A0-AD09-0A888438C63B}" destId="{BB96D61B-E4CE-4F3E-B0DE-76B261398D37}" srcOrd="0" destOrd="0" presId="urn:microsoft.com/office/officeart/2008/layout/LinedList"/>
    <dgm:cxn modelId="{0234757E-2AC4-41AE-939C-2CAF4093CEAB}" srcId="{EEB9C9B6-13D5-4ABD-A744-8D6B9086F178}" destId="{29E3FBB3-9ABF-45D6-AF68-C9E865BEB080}" srcOrd="0" destOrd="0" parTransId="{E6026264-2E8F-4712-B161-5DAE8A163A31}" sibTransId="{9EF66762-D321-46B3-BCD9-9CE66F4DCE85}"/>
    <dgm:cxn modelId="{ED977883-614A-4496-B934-135C347A739D}" srcId="{EEB9C9B6-13D5-4ABD-A744-8D6B9086F178}" destId="{D00D769B-29B9-4707-B2C6-CB36E5210246}" srcOrd="2" destOrd="0" parTransId="{7DECF872-E53B-46AD-A1DE-E259C945A753}" sibTransId="{3D67F219-BDD3-4B48-B6E9-22E9643B2426}"/>
    <dgm:cxn modelId="{6B5D6B85-7CDA-48DF-A1BF-2A8587F93F1E}" type="presOf" srcId="{EEB9C9B6-13D5-4ABD-A744-8D6B9086F178}" destId="{6944F5DC-FC8F-43A1-89B7-FD3565E5EC9B}" srcOrd="0" destOrd="0" presId="urn:microsoft.com/office/officeart/2008/layout/LinedList"/>
    <dgm:cxn modelId="{8CF6DFB9-1447-4762-A189-375C0A002E88}" type="presOf" srcId="{29E3FBB3-9ABF-45D6-AF68-C9E865BEB080}" destId="{3BFA3D3F-3725-4090-A099-16D3C206538C}" srcOrd="0" destOrd="0" presId="urn:microsoft.com/office/officeart/2008/layout/LinedList"/>
    <dgm:cxn modelId="{FF5A06C4-701B-4F22-9E49-7288B9491326}" srcId="{EEB9C9B6-13D5-4ABD-A744-8D6B9086F178}" destId="{9AD3EA48-614B-4D56-9B06-9ACF4A90C426}" srcOrd="3" destOrd="0" parTransId="{D89B1736-91D8-4D9C-A164-57CAB453677F}" sibTransId="{2DC7E1E7-BD91-4A31-9A88-1E106334A121}"/>
    <dgm:cxn modelId="{22B9EDD5-4259-476C-8E9F-AC83C66E4622}" srcId="{EEB9C9B6-13D5-4ABD-A744-8D6B9086F178}" destId="{AE15A575-DB54-4FFA-810A-715561903729}" srcOrd="1" destOrd="0" parTransId="{64978CD2-0A78-43A9-AE88-55798695A9EF}" sibTransId="{9F8154C0-0D0C-4619-9ACB-6C1610440D6B}"/>
    <dgm:cxn modelId="{42C9D0DB-A4C9-4AA6-A405-5654FB318573}" type="presOf" srcId="{9AD3EA48-614B-4D56-9B06-9ACF4A90C426}" destId="{64FD5E68-12B0-4260-9F11-3251D6ECDFBB}" srcOrd="0" destOrd="0" presId="urn:microsoft.com/office/officeart/2008/layout/LinedList"/>
    <dgm:cxn modelId="{5F355AFA-FEE6-480B-B5DD-430F28096D16}" srcId="{EEB9C9B6-13D5-4ABD-A744-8D6B9086F178}" destId="{BCB51EA0-8E75-46A0-AD09-0A888438C63B}" srcOrd="5" destOrd="0" parTransId="{2DB22BDA-AA0A-4944-86B0-AA7B94E89ADB}" sibTransId="{C07CC1B0-2288-49A3-82BB-C2F5A3375763}"/>
    <dgm:cxn modelId="{2D086BB8-178B-4231-BB05-74A30EE0E121}" type="presParOf" srcId="{6944F5DC-FC8F-43A1-89B7-FD3565E5EC9B}" destId="{80AD8697-5D24-493D-93A7-15388520FAB7}" srcOrd="0" destOrd="0" presId="urn:microsoft.com/office/officeart/2008/layout/LinedList"/>
    <dgm:cxn modelId="{3B0E5AF0-DCF5-408E-8BB4-C4BB74752F43}" type="presParOf" srcId="{6944F5DC-FC8F-43A1-89B7-FD3565E5EC9B}" destId="{FEC47248-7C13-4154-9BEC-2623A7A3899C}" srcOrd="1" destOrd="0" presId="urn:microsoft.com/office/officeart/2008/layout/LinedList"/>
    <dgm:cxn modelId="{1DB59ECD-FF83-4D51-85B5-1D994B4D1B96}" type="presParOf" srcId="{FEC47248-7C13-4154-9BEC-2623A7A3899C}" destId="{3BFA3D3F-3725-4090-A099-16D3C206538C}" srcOrd="0" destOrd="0" presId="urn:microsoft.com/office/officeart/2008/layout/LinedList"/>
    <dgm:cxn modelId="{9698507A-CCB6-4301-B616-4AB58853D642}" type="presParOf" srcId="{FEC47248-7C13-4154-9BEC-2623A7A3899C}" destId="{13A61B77-8DD3-437B-AB67-D6B1E977D66D}" srcOrd="1" destOrd="0" presId="urn:microsoft.com/office/officeart/2008/layout/LinedList"/>
    <dgm:cxn modelId="{D7DF6C67-CCE0-4DC7-BDBD-62A0335BE566}" type="presParOf" srcId="{6944F5DC-FC8F-43A1-89B7-FD3565E5EC9B}" destId="{4F38A850-AF57-4404-8540-1C53FA865E12}" srcOrd="2" destOrd="0" presId="urn:microsoft.com/office/officeart/2008/layout/LinedList"/>
    <dgm:cxn modelId="{1DD4E595-A386-4F17-9018-9E8A8F2BF613}" type="presParOf" srcId="{6944F5DC-FC8F-43A1-89B7-FD3565E5EC9B}" destId="{E82ED918-EA97-479B-AB97-295B591FBAFC}" srcOrd="3" destOrd="0" presId="urn:microsoft.com/office/officeart/2008/layout/LinedList"/>
    <dgm:cxn modelId="{99538EAE-5BEA-4D55-8425-B87E73B2E171}" type="presParOf" srcId="{E82ED918-EA97-479B-AB97-295B591FBAFC}" destId="{07704C79-3EB9-424E-9161-FB9AED877423}" srcOrd="0" destOrd="0" presId="urn:microsoft.com/office/officeart/2008/layout/LinedList"/>
    <dgm:cxn modelId="{B01A9F3E-5F1F-48CD-8612-814D85FB7EDB}" type="presParOf" srcId="{E82ED918-EA97-479B-AB97-295B591FBAFC}" destId="{7318D6FB-FD33-4C97-A507-1714CD64DF72}" srcOrd="1" destOrd="0" presId="urn:microsoft.com/office/officeart/2008/layout/LinedList"/>
    <dgm:cxn modelId="{19C09DE8-437A-4919-B696-707F9D05FE84}" type="presParOf" srcId="{6944F5DC-FC8F-43A1-89B7-FD3565E5EC9B}" destId="{785E6E65-BF40-4B64-9088-85A68695AF98}" srcOrd="4" destOrd="0" presId="urn:microsoft.com/office/officeart/2008/layout/LinedList"/>
    <dgm:cxn modelId="{730CC4B4-7B66-43FF-9012-8F6720BE42F7}" type="presParOf" srcId="{6944F5DC-FC8F-43A1-89B7-FD3565E5EC9B}" destId="{6346FEA8-7C2C-4399-8C7A-60C0D58F5EEF}" srcOrd="5" destOrd="0" presId="urn:microsoft.com/office/officeart/2008/layout/LinedList"/>
    <dgm:cxn modelId="{6D29C5B4-2BBC-48AF-B274-2F8FD03D806C}" type="presParOf" srcId="{6346FEA8-7C2C-4399-8C7A-60C0D58F5EEF}" destId="{2196B67C-6DB6-41C8-93F6-465A17A42887}" srcOrd="0" destOrd="0" presId="urn:microsoft.com/office/officeart/2008/layout/LinedList"/>
    <dgm:cxn modelId="{7F591498-F8B4-4D0E-8D27-64E670DE8458}" type="presParOf" srcId="{6346FEA8-7C2C-4399-8C7A-60C0D58F5EEF}" destId="{740905C0-36D8-4738-8673-C53B7FB9F268}" srcOrd="1" destOrd="0" presId="urn:microsoft.com/office/officeart/2008/layout/LinedList"/>
    <dgm:cxn modelId="{749EEE93-5785-4301-A97C-0C98608D5232}" type="presParOf" srcId="{6944F5DC-FC8F-43A1-89B7-FD3565E5EC9B}" destId="{0F1C2B75-A066-4567-99D0-72264AC3B8F2}" srcOrd="6" destOrd="0" presId="urn:microsoft.com/office/officeart/2008/layout/LinedList"/>
    <dgm:cxn modelId="{94E7A346-D1FC-4509-890D-CF05D87D11BC}" type="presParOf" srcId="{6944F5DC-FC8F-43A1-89B7-FD3565E5EC9B}" destId="{7B288CAF-79A3-42D1-9ECE-8E744E02E3F7}" srcOrd="7" destOrd="0" presId="urn:microsoft.com/office/officeart/2008/layout/LinedList"/>
    <dgm:cxn modelId="{9F3D55CB-1415-4167-A0FF-EC9DC6D4848E}" type="presParOf" srcId="{7B288CAF-79A3-42D1-9ECE-8E744E02E3F7}" destId="{64FD5E68-12B0-4260-9F11-3251D6ECDFBB}" srcOrd="0" destOrd="0" presId="urn:microsoft.com/office/officeart/2008/layout/LinedList"/>
    <dgm:cxn modelId="{F5C4D308-C2AB-41E0-B00A-706D975EA11A}" type="presParOf" srcId="{7B288CAF-79A3-42D1-9ECE-8E744E02E3F7}" destId="{EE4B1A91-2FE8-404A-9218-83CF3BE5D1BC}" srcOrd="1" destOrd="0" presId="urn:microsoft.com/office/officeart/2008/layout/LinedList"/>
    <dgm:cxn modelId="{68911277-E4AC-456F-B743-64C280D419CB}" type="presParOf" srcId="{6944F5DC-FC8F-43A1-89B7-FD3565E5EC9B}" destId="{B605C1CF-2FCC-4EC5-A34B-8666970B9ECD}" srcOrd="8" destOrd="0" presId="urn:microsoft.com/office/officeart/2008/layout/LinedList"/>
    <dgm:cxn modelId="{1686BEB7-7BC2-49B6-8441-1AC56E3B40AD}" type="presParOf" srcId="{6944F5DC-FC8F-43A1-89B7-FD3565E5EC9B}" destId="{BE618162-E561-4D5A-90D1-CF5C153326B2}" srcOrd="9" destOrd="0" presId="urn:microsoft.com/office/officeart/2008/layout/LinedList"/>
    <dgm:cxn modelId="{97D91809-9E6B-4B26-90EB-D4CB0C2206F4}" type="presParOf" srcId="{BE618162-E561-4D5A-90D1-CF5C153326B2}" destId="{A8D219CB-28E4-4F12-8568-0341C75B0580}" srcOrd="0" destOrd="0" presId="urn:microsoft.com/office/officeart/2008/layout/LinedList"/>
    <dgm:cxn modelId="{18EBA250-2220-4BCB-84DA-91E8EAE7459D}" type="presParOf" srcId="{BE618162-E561-4D5A-90D1-CF5C153326B2}" destId="{35AEEFEC-41CA-4FFA-A4E9-B055F4C96B20}" srcOrd="1" destOrd="0" presId="urn:microsoft.com/office/officeart/2008/layout/LinedList"/>
    <dgm:cxn modelId="{7BDE2973-BFE0-4862-99AB-2C147FDA10FC}" type="presParOf" srcId="{6944F5DC-FC8F-43A1-89B7-FD3565E5EC9B}" destId="{DE9DBD5F-D534-4FA9-83BF-6A9FB086D368}" srcOrd="10" destOrd="0" presId="urn:microsoft.com/office/officeart/2008/layout/LinedList"/>
    <dgm:cxn modelId="{31363F84-8D85-4FA9-8CA2-48FE9C49D414}" type="presParOf" srcId="{6944F5DC-FC8F-43A1-89B7-FD3565E5EC9B}" destId="{FEAD7C6F-ED2D-4459-8264-B89CA4C0CF7C}" srcOrd="11" destOrd="0" presId="urn:microsoft.com/office/officeart/2008/layout/LinedList"/>
    <dgm:cxn modelId="{AC7C11A9-BDFA-4498-9013-054602A303C8}" type="presParOf" srcId="{FEAD7C6F-ED2D-4459-8264-B89CA4C0CF7C}" destId="{BB96D61B-E4CE-4F3E-B0DE-76B261398D37}" srcOrd="0" destOrd="0" presId="urn:microsoft.com/office/officeart/2008/layout/LinedList"/>
    <dgm:cxn modelId="{AAC2F84D-BCA6-4F23-A728-C139DB3F00B0}" type="presParOf" srcId="{FEAD7C6F-ED2D-4459-8264-B89CA4C0CF7C}" destId="{9BBEA956-4F27-4936-AAAC-1EAADA89CEFE}" srcOrd="1" destOrd="0" presId="urn:microsoft.com/office/officeart/2008/layout/LinedList"/>
  </dgm:cxnLst>
  <dgm:bg/>
  <dgm:whole>
    <a:ln w="19050">
      <a:solidFill>
        <a:schemeClr val="tx1">
          <a:lumMod val="50000"/>
          <a:lumOff val="50000"/>
        </a:schemeClr>
      </a:solidFill>
    </a:ln>
  </dgm:whole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EB9C9B6-13D5-4ABD-A744-8D6B9086F178}" type="doc">
      <dgm:prSet loTypeId="urn:microsoft.com/office/officeart/2008/layout/LinedList" loCatId="list" qsTypeId="urn:microsoft.com/office/officeart/2005/8/quickstyle/simple4" qsCatId="simple" csTypeId="urn:microsoft.com/office/officeart/2005/8/colors/accent3_4" csCatId="accent3" phldr="1"/>
      <dgm:spPr/>
    </dgm:pt>
    <dgm:pt modelId="{29E3FBB3-9ABF-45D6-AF68-C9E865BEB080}">
      <dgm:prSet phldrT="[Text]" custT="1"/>
      <dgm:spPr>
        <a:solidFill>
          <a:srgbClr val="FFE48F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CA" sz="1600" dirty="0"/>
            <a:t>Grade Level</a:t>
          </a:r>
        </a:p>
      </dgm:t>
    </dgm:pt>
    <dgm:pt modelId="{E6026264-2E8F-4712-B161-5DAE8A163A31}" type="parTrans" cxnId="{0234757E-2AC4-41AE-939C-2CAF4093CEAB}">
      <dgm:prSet/>
      <dgm:spPr/>
      <dgm:t>
        <a:bodyPr/>
        <a:lstStyle/>
        <a:p>
          <a:pPr algn="l"/>
          <a:endParaRPr lang="en-CA" sz="1600"/>
        </a:p>
      </dgm:t>
    </dgm:pt>
    <dgm:pt modelId="{9EF66762-D321-46B3-BCD9-9CE66F4DCE85}" type="sibTrans" cxnId="{0234757E-2AC4-41AE-939C-2CAF4093CEAB}">
      <dgm:prSet/>
      <dgm:spPr/>
      <dgm:t>
        <a:bodyPr/>
        <a:lstStyle/>
        <a:p>
          <a:pPr algn="l"/>
          <a:endParaRPr lang="en-CA" sz="1600"/>
        </a:p>
      </dgm:t>
    </dgm:pt>
    <dgm:pt modelId="{AE15A575-DB54-4FFA-810A-715561903729}">
      <dgm:prSet phldrT="[Text]" custT="1"/>
      <dgm:spPr>
        <a:noFill/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CA" sz="1600" dirty="0"/>
            <a:t>Flesch Reading Ease Score</a:t>
          </a:r>
        </a:p>
      </dgm:t>
    </dgm:pt>
    <dgm:pt modelId="{64978CD2-0A78-43A9-AE88-55798695A9EF}" type="parTrans" cxnId="{22B9EDD5-4259-476C-8E9F-AC83C66E4622}">
      <dgm:prSet/>
      <dgm:spPr/>
      <dgm:t>
        <a:bodyPr/>
        <a:lstStyle/>
        <a:p>
          <a:pPr algn="l"/>
          <a:endParaRPr lang="en-CA" sz="1600"/>
        </a:p>
      </dgm:t>
    </dgm:pt>
    <dgm:pt modelId="{9F8154C0-0D0C-4619-9ACB-6C1610440D6B}" type="sibTrans" cxnId="{22B9EDD5-4259-476C-8E9F-AC83C66E4622}">
      <dgm:prSet/>
      <dgm:spPr/>
      <dgm:t>
        <a:bodyPr/>
        <a:lstStyle/>
        <a:p>
          <a:pPr algn="l"/>
          <a:endParaRPr lang="en-CA" sz="1600"/>
        </a:p>
      </dgm:t>
    </dgm:pt>
    <dgm:pt modelId="{D00D769B-29B9-4707-B2C6-CB36E5210246}">
      <dgm:prSet phldrT="[Text]" custT="1"/>
      <dgm:spPr>
        <a:solidFill>
          <a:srgbClr val="FFE48F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US" sz="1600" dirty="0"/>
            <a:t>Overall Rating Sentiment (Neutral (3)</a:t>
          </a:r>
        </a:p>
        <a:p>
          <a:pPr algn="l"/>
          <a:r>
            <a:rPr lang="en-US" sz="1600" dirty="0"/>
            <a:t>Negative(1,2)</a:t>
          </a:r>
        </a:p>
        <a:p>
          <a:pPr algn="l"/>
          <a:r>
            <a:rPr lang="en-US" sz="1600" dirty="0"/>
            <a:t>Positive(4,5)</a:t>
          </a:r>
          <a:endParaRPr lang="en-CA" sz="1600" dirty="0"/>
        </a:p>
      </dgm:t>
    </dgm:pt>
    <dgm:pt modelId="{7DECF872-E53B-46AD-A1DE-E259C945A753}" type="parTrans" cxnId="{ED977883-614A-4496-B934-135C347A739D}">
      <dgm:prSet/>
      <dgm:spPr/>
      <dgm:t>
        <a:bodyPr/>
        <a:lstStyle/>
        <a:p>
          <a:pPr algn="l"/>
          <a:endParaRPr lang="en-CA" sz="1600"/>
        </a:p>
      </dgm:t>
    </dgm:pt>
    <dgm:pt modelId="{3D67F219-BDD3-4B48-B6E9-22E9643B2426}" type="sibTrans" cxnId="{ED977883-614A-4496-B934-135C347A739D}">
      <dgm:prSet/>
      <dgm:spPr/>
      <dgm:t>
        <a:bodyPr/>
        <a:lstStyle/>
        <a:p>
          <a:pPr algn="l"/>
          <a:endParaRPr lang="en-CA" sz="1600"/>
        </a:p>
      </dgm:t>
    </dgm:pt>
    <dgm:pt modelId="{84DF9363-E3E2-43F6-BA2B-52AB674EA8A4}">
      <dgm:prSet phldrT="[Text]" custT="1"/>
      <dgm:spPr>
        <a:solidFill>
          <a:srgbClr val="FFE48F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US" sz="1600" dirty="0"/>
            <a:t>Average Characters per Word</a:t>
          </a:r>
          <a:endParaRPr lang="en-CA" sz="1600" dirty="0"/>
        </a:p>
      </dgm:t>
    </dgm:pt>
    <dgm:pt modelId="{6E652875-EFAF-490F-8329-6AB1AB725A64}" type="parTrans" cxnId="{5682BDEB-DB3F-41DA-9028-0E2C65B5AE09}">
      <dgm:prSet/>
      <dgm:spPr/>
      <dgm:t>
        <a:bodyPr/>
        <a:lstStyle/>
        <a:p>
          <a:pPr algn="l"/>
          <a:endParaRPr lang="en-CA" sz="1600"/>
        </a:p>
      </dgm:t>
    </dgm:pt>
    <dgm:pt modelId="{44908B1D-E6F2-4C84-83E0-F4ED05A7B7FA}" type="sibTrans" cxnId="{5682BDEB-DB3F-41DA-9028-0E2C65B5AE09}">
      <dgm:prSet/>
      <dgm:spPr/>
      <dgm:t>
        <a:bodyPr/>
        <a:lstStyle/>
        <a:p>
          <a:pPr algn="l"/>
          <a:endParaRPr lang="en-CA" sz="1600"/>
        </a:p>
      </dgm:t>
    </dgm:pt>
    <dgm:pt modelId="{6D6F1213-24C2-45B3-BB7D-7AC8A238A463}">
      <dgm:prSet phldrT="[Text]" custT="1"/>
      <dgm:spPr>
        <a:noFill/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US" sz="1600" dirty="0"/>
            <a:t>Average Word per Sentence</a:t>
          </a:r>
          <a:endParaRPr lang="en-CA" sz="1600" dirty="0"/>
        </a:p>
      </dgm:t>
    </dgm:pt>
    <dgm:pt modelId="{5E779AEB-5F45-4F55-AFA8-AB3676644B65}" type="parTrans" cxnId="{1C2CEFE1-24A9-4F2D-87B1-C281474DD249}">
      <dgm:prSet/>
      <dgm:spPr/>
      <dgm:t>
        <a:bodyPr/>
        <a:lstStyle/>
        <a:p>
          <a:pPr algn="l"/>
          <a:endParaRPr lang="en-CA" sz="1600"/>
        </a:p>
      </dgm:t>
    </dgm:pt>
    <dgm:pt modelId="{B9486AF9-5528-4743-A676-214D118078FF}" type="sibTrans" cxnId="{1C2CEFE1-24A9-4F2D-87B1-C281474DD249}">
      <dgm:prSet/>
      <dgm:spPr/>
      <dgm:t>
        <a:bodyPr/>
        <a:lstStyle/>
        <a:p>
          <a:pPr algn="l"/>
          <a:endParaRPr lang="en-CA" sz="1600"/>
        </a:p>
      </dgm:t>
    </dgm:pt>
    <dgm:pt modelId="{86209ABB-D3D3-4675-BDE6-3FCF4494D404}">
      <dgm:prSet phldrT="[Text]" custT="1"/>
      <dgm:spPr>
        <a:noFill/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US" sz="1600" dirty="0"/>
            <a:t>Number of Exclamation Marks</a:t>
          </a:r>
          <a:endParaRPr lang="en-CA" sz="1600" dirty="0"/>
        </a:p>
      </dgm:t>
    </dgm:pt>
    <dgm:pt modelId="{FEE180A5-1914-4653-8B19-0EFFD5965509}" type="parTrans" cxnId="{0A3B6F63-65C3-4521-812E-B96E7B29BD38}">
      <dgm:prSet/>
      <dgm:spPr/>
      <dgm:t>
        <a:bodyPr/>
        <a:lstStyle/>
        <a:p>
          <a:pPr algn="l"/>
          <a:endParaRPr lang="en-CA" sz="1600"/>
        </a:p>
      </dgm:t>
    </dgm:pt>
    <dgm:pt modelId="{DCC247C1-8D84-42FC-A932-07B5424DCBF6}" type="sibTrans" cxnId="{0A3B6F63-65C3-4521-812E-B96E7B29BD38}">
      <dgm:prSet/>
      <dgm:spPr/>
      <dgm:t>
        <a:bodyPr/>
        <a:lstStyle/>
        <a:p>
          <a:pPr algn="l"/>
          <a:endParaRPr lang="en-CA" sz="1600"/>
        </a:p>
      </dgm:t>
    </dgm:pt>
    <dgm:pt modelId="{77124083-8DD5-4425-B033-FBA9C4927D5C}" type="pres">
      <dgm:prSet presAssocID="{EEB9C9B6-13D5-4ABD-A744-8D6B9086F178}" presName="vert0" presStyleCnt="0">
        <dgm:presLayoutVars>
          <dgm:dir/>
          <dgm:animOne val="branch"/>
          <dgm:animLvl val="lvl"/>
        </dgm:presLayoutVars>
      </dgm:prSet>
      <dgm:spPr/>
    </dgm:pt>
    <dgm:pt modelId="{74683D97-5F30-4A53-967C-65BAA69CA9CA}" type="pres">
      <dgm:prSet presAssocID="{84DF9363-E3E2-43F6-BA2B-52AB674EA8A4}" presName="thickLine" presStyleLbl="alignNode1" presStyleIdx="0" presStyleCnt="6"/>
      <dgm:spPr/>
    </dgm:pt>
    <dgm:pt modelId="{67BBC20B-7927-44EC-9B9B-A6BF506D687D}" type="pres">
      <dgm:prSet presAssocID="{84DF9363-E3E2-43F6-BA2B-52AB674EA8A4}" presName="horz1" presStyleCnt="0"/>
      <dgm:spPr/>
    </dgm:pt>
    <dgm:pt modelId="{CF47CB31-67FE-4B82-BB4B-14F8129B69AE}" type="pres">
      <dgm:prSet presAssocID="{84DF9363-E3E2-43F6-BA2B-52AB674EA8A4}" presName="tx1" presStyleLbl="revTx" presStyleIdx="0" presStyleCnt="6" custScaleY="91919"/>
      <dgm:spPr/>
    </dgm:pt>
    <dgm:pt modelId="{79755A48-3FB0-404C-844A-19A53C818667}" type="pres">
      <dgm:prSet presAssocID="{84DF9363-E3E2-43F6-BA2B-52AB674EA8A4}" presName="vert1" presStyleCnt="0"/>
      <dgm:spPr/>
    </dgm:pt>
    <dgm:pt modelId="{AFADD35A-DE51-43D9-BE2A-B43DDC47DC5D}" type="pres">
      <dgm:prSet presAssocID="{6D6F1213-24C2-45B3-BB7D-7AC8A238A463}" presName="thickLine" presStyleLbl="alignNode1" presStyleIdx="1" presStyleCnt="6"/>
      <dgm:spPr/>
    </dgm:pt>
    <dgm:pt modelId="{9E0EAC8C-5DF0-424D-96E3-085CED4392AA}" type="pres">
      <dgm:prSet presAssocID="{6D6F1213-24C2-45B3-BB7D-7AC8A238A463}" presName="horz1" presStyleCnt="0"/>
      <dgm:spPr/>
    </dgm:pt>
    <dgm:pt modelId="{60979D19-3AB2-4BA3-B72A-BEF903B6CC51}" type="pres">
      <dgm:prSet presAssocID="{6D6F1213-24C2-45B3-BB7D-7AC8A238A463}" presName="tx1" presStyleLbl="revTx" presStyleIdx="1" presStyleCnt="6" custScaleY="84869"/>
      <dgm:spPr/>
    </dgm:pt>
    <dgm:pt modelId="{AE989532-E43D-4B31-99ED-86EEC34443A8}" type="pres">
      <dgm:prSet presAssocID="{6D6F1213-24C2-45B3-BB7D-7AC8A238A463}" presName="vert1" presStyleCnt="0"/>
      <dgm:spPr/>
    </dgm:pt>
    <dgm:pt modelId="{F2B52282-59AF-4940-B60B-07BE9CCA6251}" type="pres">
      <dgm:prSet presAssocID="{29E3FBB3-9ABF-45D6-AF68-C9E865BEB080}" presName="thickLine" presStyleLbl="alignNode1" presStyleIdx="2" presStyleCnt="6"/>
      <dgm:spPr/>
    </dgm:pt>
    <dgm:pt modelId="{CAAC169C-F299-470E-B243-5CF08F1E8627}" type="pres">
      <dgm:prSet presAssocID="{29E3FBB3-9ABF-45D6-AF68-C9E865BEB080}" presName="horz1" presStyleCnt="0"/>
      <dgm:spPr/>
    </dgm:pt>
    <dgm:pt modelId="{C386162C-C5CA-42AF-92C3-79CDC8300732}" type="pres">
      <dgm:prSet presAssocID="{29E3FBB3-9ABF-45D6-AF68-C9E865BEB080}" presName="tx1" presStyleLbl="revTx" presStyleIdx="2" presStyleCnt="6" custScaleY="60209"/>
      <dgm:spPr/>
    </dgm:pt>
    <dgm:pt modelId="{27BB50AE-B2FD-4E36-8BDC-9EC38541C5E7}" type="pres">
      <dgm:prSet presAssocID="{29E3FBB3-9ABF-45D6-AF68-C9E865BEB080}" presName="vert1" presStyleCnt="0"/>
      <dgm:spPr/>
    </dgm:pt>
    <dgm:pt modelId="{DED7FD13-38A9-492D-A53E-1136CD1F39AE}" type="pres">
      <dgm:prSet presAssocID="{AE15A575-DB54-4FFA-810A-715561903729}" presName="thickLine" presStyleLbl="alignNode1" presStyleIdx="3" presStyleCnt="6"/>
      <dgm:spPr/>
    </dgm:pt>
    <dgm:pt modelId="{C9DF70B4-31EF-429B-8677-0402AC529C64}" type="pres">
      <dgm:prSet presAssocID="{AE15A575-DB54-4FFA-810A-715561903729}" presName="horz1" presStyleCnt="0"/>
      <dgm:spPr/>
    </dgm:pt>
    <dgm:pt modelId="{E03B63BF-2CC3-4B24-AB10-38A92B4B44E3}" type="pres">
      <dgm:prSet presAssocID="{AE15A575-DB54-4FFA-810A-715561903729}" presName="tx1" presStyleLbl="revTx" presStyleIdx="3" presStyleCnt="6" custScaleY="62027"/>
      <dgm:spPr/>
    </dgm:pt>
    <dgm:pt modelId="{0973F0AD-242D-452A-97A6-0C6E2322315E}" type="pres">
      <dgm:prSet presAssocID="{AE15A575-DB54-4FFA-810A-715561903729}" presName="vert1" presStyleCnt="0"/>
      <dgm:spPr/>
    </dgm:pt>
    <dgm:pt modelId="{8AE6C8A5-ED30-4712-B408-FEB05EFCA109}" type="pres">
      <dgm:prSet presAssocID="{D00D769B-29B9-4707-B2C6-CB36E5210246}" presName="thickLine" presStyleLbl="alignNode1" presStyleIdx="4" presStyleCnt="6"/>
      <dgm:spPr/>
    </dgm:pt>
    <dgm:pt modelId="{BADE0671-2B74-49D9-962A-443099E7C6A4}" type="pres">
      <dgm:prSet presAssocID="{D00D769B-29B9-4707-B2C6-CB36E5210246}" presName="horz1" presStyleCnt="0"/>
      <dgm:spPr/>
    </dgm:pt>
    <dgm:pt modelId="{622C96F4-6320-48CF-BB91-410AC52F3775}" type="pres">
      <dgm:prSet presAssocID="{D00D769B-29B9-4707-B2C6-CB36E5210246}" presName="tx1" presStyleLbl="revTx" presStyleIdx="4" presStyleCnt="6" custScaleY="179689"/>
      <dgm:spPr/>
    </dgm:pt>
    <dgm:pt modelId="{012B2175-E042-48BA-8351-5BB73D7F4C76}" type="pres">
      <dgm:prSet presAssocID="{D00D769B-29B9-4707-B2C6-CB36E5210246}" presName="vert1" presStyleCnt="0"/>
      <dgm:spPr/>
    </dgm:pt>
    <dgm:pt modelId="{C4738AF3-F983-4D80-9F42-F5B82AD496B4}" type="pres">
      <dgm:prSet presAssocID="{86209ABB-D3D3-4675-BDE6-3FCF4494D404}" presName="thickLine" presStyleLbl="alignNode1" presStyleIdx="5" presStyleCnt="6"/>
      <dgm:spPr/>
    </dgm:pt>
    <dgm:pt modelId="{01A6D773-0609-4B85-B92F-8FC06B7A9D4B}" type="pres">
      <dgm:prSet presAssocID="{86209ABB-D3D3-4675-BDE6-3FCF4494D404}" presName="horz1" presStyleCnt="0"/>
      <dgm:spPr/>
    </dgm:pt>
    <dgm:pt modelId="{DA21C973-9BDD-40B3-8D35-DD4FB019B5E0}" type="pres">
      <dgm:prSet presAssocID="{86209ABB-D3D3-4675-BDE6-3FCF4494D404}" presName="tx1" presStyleLbl="revTx" presStyleIdx="5" presStyleCnt="6" custScaleY="126554"/>
      <dgm:spPr/>
    </dgm:pt>
    <dgm:pt modelId="{927C498F-CC8A-4402-AE3E-AD6984A28D18}" type="pres">
      <dgm:prSet presAssocID="{86209ABB-D3D3-4675-BDE6-3FCF4494D404}" presName="vert1" presStyleCnt="0"/>
      <dgm:spPr/>
    </dgm:pt>
  </dgm:ptLst>
  <dgm:cxnLst>
    <dgm:cxn modelId="{C9A48820-8532-4E3C-B812-0EAE82380969}" type="presOf" srcId="{AE15A575-DB54-4FFA-810A-715561903729}" destId="{E03B63BF-2CC3-4B24-AB10-38A92B4B44E3}" srcOrd="0" destOrd="0" presId="urn:microsoft.com/office/officeart/2008/layout/LinedList"/>
    <dgm:cxn modelId="{F7095727-17E3-4F9B-8B7F-85A551A25904}" type="presOf" srcId="{84DF9363-E3E2-43F6-BA2B-52AB674EA8A4}" destId="{CF47CB31-67FE-4B82-BB4B-14F8129B69AE}" srcOrd="0" destOrd="0" presId="urn:microsoft.com/office/officeart/2008/layout/LinedList"/>
    <dgm:cxn modelId="{4C47E42A-6FEF-4F13-BC7C-B0F00661C6A8}" type="presOf" srcId="{86209ABB-D3D3-4675-BDE6-3FCF4494D404}" destId="{DA21C973-9BDD-40B3-8D35-DD4FB019B5E0}" srcOrd="0" destOrd="0" presId="urn:microsoft.com/office/officeart/2008/layout/LinedList"/>
    <dgm:cxn modelId="{0A3B6F63-65C3-4521-812E-B96E7B29BD38}" srcId="{EEB9C9B6-13D5-4ABD-A744-8D6B9086F178}" destId="{86209ABB-D3D3-4675-BDE6-3FCF4494D404}" srcOrd="5" destOrd="0" parTransId="{FEE180A5-1914-4653-8B19-0EFFD5965509}" sibTransId="{DCC247C1-8D84-42FC-A932-07B5424DCBF6}"/>
    <dgm:cxn modelId="{6EBC8C4B-1F17-41C5-A0DF-5F21A8570E1C}" type="presOf" srcId="{D00D769B-29B9-4707-B2C6-CB36E5210246}" destId="{622C96F4-6320-48CF-BB91-410AC52F3775}" srcOrd="0" destOrd="0" presId="urn:microsoft.com/office/officeart/2008/layout/LinedList"/>
    <dgm:cxn modelId="{0234757E-2AC4-41AE-939C-2CAF4093CEAB}" srcId="{EEB9C9B6-13D5-4ABD-A744-8D6B9086F178}" destId="{29E3FBB3-9ABF-45D6-AF68-C9E865BEB080}" srcOrd="2" destOrd="0" parTransId="{E6026264-2E8F-4712-B161-5DAE8A163A31}" sibTransId="{9EF66762-D321-46B3-BCD9-9CE66F4DCE85}"/>
    <dgm:cxn modelId="{ED977883-614A-4496-B934-135C347A739D}" srcId="{EEB9C9B6-13D5-4ABD-A744-8D6B9086F178}" destId="{D00D769B-29B9-4707-B2C6-CB36E5210246}" srcOrd="4" destOrd="0" parTransId="{7DECF872-E53B-46AD-A1DE-E259C945A753}" sibTransId="{3D67F219-BDD3-4B48-B6E9-22E9643B2426}"/>
    <dgm:cxn modelId="{7C98AFD2-DA59-44DA-B5D5-837B40438953}" type="presOf" srcId="{29E3FBB3-9ABF-45D6-AF68-C9E865BEB080}" destId="{C386162C-C5CA-42AF-92C3-79CDC8300732}" srcOrd="0" destOrd="0" presId="urn:microsoft.com/office/officeart/2008/layout/LinedList"/>
    <dgm:cxn modelId="{22B9EDD5-4259-476C-8E9F-AC83C66E4622}" srcId="{EEB9C9B6-13D5-4ABD-A744-8D6B9086F178}" destId="{AE15A575-DB54-4FFA-810A-715561903729}" srcOrd="3" destOrd="0" parTransId="{64978CD2-0A78-43A9-AE88-55798695A9EF}" sibTransId="{9F8154C0-0D0C-4619-9ACB-6C1610440D6B}"/>
    <dgm:cxn modelId="{1C2CEFE1-24A9-4F2D-87B1-C281474DD249}" srcId="{EEB9C9B6-13D5-4ABD-A744-8D6B9086F178}" destId="{6D6F1213-24C2-45B3-BB7D-7AC8A238A463}" srcOrd="1" destOrd="0" parTransId="{5E779AEB-5F45-4F55-AFA8-AB3676644B65}" sibTransId="{B9486AF9-5528-4743-A676-214D118078FF}"/>
    <dgm:cxn modelId="{448A07E5-2A8C-4107-9958-B439CFA88AE5}" type="presOf" srcId="{6D6F1213-24C2-45B3-BB7D-7AC8A238A463}" destId="{60979D19-3AB2-4BA3-B72A-BEF903B6CC51}" srcOrd="0" destOrd="0" presId="urn:microsoft.com/office/officeart/2008/layout/LinedList"/>
    <dgm:cxn modelId="{D86F6BE7-872E-4E64-B27F-50F759B058C9}" type="presOf" srcId="{EEB9C9B6-13D5-4ABD-A744-8D6B9086F178}" destId="{77124083-8DD5-4425-B033-FBA9C4927D5C}" srcOrd="0" destOrd="0" presId="urn:microsoft.com/office/officeart/2008/layout/LinedList"/>
    <dgm:cxn modelId="{5682BDEB-DB3F-41DA-9028-0E2C65B5AE09}" srcId="{EEB9C9B6-13D5-4ABD-A744-8D6B9086F178}" destId="{84DF9363-E3E2-43F6-BA2B-52AB674EA8A4}" srcOrd="0" destOrd="0" parTransId="{6E652875-EFAF-490F-8329-6AB1AB725A64}" sibTransId="{44908B1D-E6F2-4C84-83E0-F4ED05A7B7FA}"/>
    <dgm:cxn modelId="{54925C13-4E2A-4E4A-9C49-5CE5C2E641C4}" type="presParOf" srcId="{77124083-8DD5-4425-B033-FBA9C4927D5C}" destId="{74683D97-5F30-4A53-967C-65BAA69CA9CA}" srcOrd="0" destOrd="0" presId="urn:microsoft.com/office/officeart/2008/layout/LinedList"/>
    <dgm:cxn modelId="{B6E6EFDC-B5C0-4CDC-92AC-9F8E5D55B582}" type="presParOf" srcId="{77124083-8DD5-4425-B033-FBA9C4927D5C}" destId="{67BBC20B-7927-44EC-9B9B-A6BF506D687D}" srcOrd="1" destOrd="0" presId="urn:microsoft.com/office/officeart/2008/layout/LinedList"/>
    <dgm:cxn modelId="{56FC125E-4D61-4C86-9038-C5252A928DC9}" type="presParOf" srcId="{67BBC20B-7927-44EC-9B9B-A6BF506D687D}" destId="{CF47CB31-67FE-4B82-BB4B-14F8129B69AE}" srcOrd="0" destOrd="0" presId="urn:microsoft.com/office/officeart/2008/layout/LinedList"/>
    <dgm:cxn modelId="{BC235699-6EDA-4CD4-B3A4-254BD4C5ACC0}" type="presParOf" srcId="{67BBC20B-7927-44EC-9B9B-A6BF506D687D}" destId="{79755A48-3FB0-404C-844A-19A53C818667}" srcOrd="1" destOrd="0" presId="urn:microsoft.com/office/officeart/2008/layout/LinedList"/>
    <dgm:cxn modelId="{A7CFD713-B2DB-4F1C-AAB6-DD2926F15C02}" type="presParOf" srcId="{77124083-8DD5-4425-B033-FBA9C4927D5C}" destId="{AFADD35A-DE51-43D9-BE2A-B43DDC47DC5D}" srcOrd="2" destOrd="0" presId="urn:microsoft.com/office/officeart/2008/layout/LinedList"/>
    <dgm:cxn modelId="{16C801DE-C180-4343-9B23-9F63ABFED19B}" type="presParOf" srcId="{77124083-8DD5-4425-B033-FBA9C4927D5C}" destId="{9E0EAC8C-5DF0-424D-96E3-085CED4392AA}" srcOrd="3" destOrd="0" presId="urn:microsoft.com/office/officeart/2008/layout/LinedList"/>
    <dgm:cxn modelId="{B3AF50A4-46D5-44C8-A4EE-7108241480D0}" type="presParOf" srcId="{9E0EAC8C-5DF0-424D-96E3-085CED4392AA}" destId="{60979D19-3AB2-4BA3-B72A-BEF903B6CC51}" srcOrd="0" destOrd="0" presId="urn:microsoft.com/office/officeart/2008/layout/LinedList"/>
    <dgm:cxn modelId="{A08CB961-F5FE-4BEC-ACB3-74C32B408C39}" type="presParOf" srcId="{9E0EAC8C-5DF0-424D-96E3-085CED4392AA}" destId="{AE989532-E43D-4B31-99ED-86EEC34443A8}" srcOrd="1" destOrd="0" presId="urn:microsoft.com/office/officeart/2008/layout/LinedList"/>
    <dgm:cxn modelId="{2576408D-6B21-4385-8C1E-8478C3D44925}" type="presParOf" srcId="{77124083-8DD5-4425-B033-FBA9C4927D5C}" destId="{F2B52282-59AF-4940-B60B-07BE9CCA6251}" srcOrd="4" destOrd="0" presId="urn:microsoft.com/office/officeart/2008/layout/LinedList"/>
    <dgm:cxn modelId="{57FD75CF-834B-4B12-9107-A01927BEE12D}" type="presParOf" srcId="{77124083-8DD5-4425-B033-FBA9C4927D5C}" destId="{CAAC169C-F299-470E-B243-5CF08F1E8627}" srcOrd="5" destOrd="0" presId="urn:microsoft.com/office/officeart/2008/layout/LinedList"/>
    <dgm:cxn modelId="{7C12EA5A-A1E7-480C-9904-D11224568C10}" type="presParOf" srcId="{CAAC169C-F299-470E-B243-5CF08F1E8627}" destId="{C386162C-C5CA-42AF-92C3-79CDC8300732}" srcOrd="0" destOrd="0" presId="urn:microsoft.com/office/officeart/2008/layout/LinedList"/>
    <dgm:cxn modelId="{7BBB84D6-46A1-40C0-938B-80330A96F20E}" type="presParOf" srcId="{CAAC169C-F299-470E-B243-5CF08F1E8627}" destId="{27BB50AE-B2FD-4E36-8BDC-9EC38541C5E7}" srcOrd="1" destOrd="0" presId="urn:microsoft.com/office/officeart/2008/layout/LinedList"/>
    <dgm:cxn modelId="{332D00D2-426A-42E9-BEF2-A94C8BF07AAA}" type="presParOf" srcId="{77124083-8DD5-4425-B033-FBA9C4927D5C}" destId="{DED7FD13-38A9-492D-A53E-1136CD1F39AE}" srcOrd="6" destOrd="0" presId="urn:microsoft.com/office/officeart/2008/layout/LinedList"/>
    <dgm:cxn modelId="{17E75A65-5403-4CAC-BAE3-30666574A027}" type="presParOf" srcId="{77124083-8DD5-4425-B033-FBA9C4927D5C}" destId="{C9DF70B4-31EF-429B-8677-0402AC529C64}" srcOrd="7" destOrd="0" presId="urn:microsoft.com/office/officeart/2008/layout/LinedList"/>
    <dgm:cxn modelId="{550A7B48-2F1F-4796-8F0D-C512AFF0A553}" type="presParOf" srcId="{C9DF70B4-31EF-429B-8677-0402AC529C64}" destId="{E03B63BF-2CC3-4B24-AB10-38A92B4B44E3}" srcOrd="0" destOrd="0" presId="urn:microsoft.com/office/officeart/2008/layout/LinedList"/>
    <dgm:cxn modelId="{AE7A2952-8DBE-4582-B0F2-BA72766333C0}" type="presParOf" srcId="{C9DF70B4-31EF-429B-8677-0402AC529C64}" destId="{0973F0AD-242D-452A-97A6-0C6E2322315E}" srcOrd="1" destOrd="0" presId="urn:microsoft.com/office/officeart/2008/layout/LinedList"/>
    <dgm:cxn modelId="{04B5CC99-127F-4285-97A7-58F0EA82C483}" type="presParOf" srcId="{77124083-8DD5-4425-B033-FBA9C4927D5C}" destId="{8AE6C8A5-ED30-4712-B408-FEB05EFCA109}" srcOrd="8" destOrd="0" presId="urn:microsoft.com/office/officeart/2008/layout/LinedList"/>
    <dgm:cxn modelId="{94078BE4-72E1-43DE-AF66-0AED1F203882}" type="presParOf" srcId="{77124083-8DD5-4425-B033-FBA9C4927D5C}" destId="{BADE0671-2B74-49D9-962A-443099E7C6A4}" srcOrd="9" destOrd="0" presId="urn:microsoft.com/office/officeart/2008/layout/LinedList"/>
    <dgm:cxn modelId="{112C6CFD-67FE-4A8A-B7E7-99D21DE6E657}" type="presParOf" srcId="{BADE0671-2B74-49D9-962A-443099E7C6A4}" destId="{622C96F4-6320-48CF-BB91-410AC52F3775}" srcOrd="0" destOrd="0" presId="urn:microsoft.com/office/officeart/2008/layout/LinedList"/>
    <dgm:cxn modelId="{982E0557-2623-4ED6-8741-48E42A9C3C3B}" type="presParOf" srcId="{BADE0671-2B74-49D9-962A-443099E7C6A4}" destId="{012B2175-E042-48BA-8351-5BB73D7F4C76}" srcOrd="1" destOrd="0" presId="urn:microsoft.com/office/officeart/2008/layout/LinedList"/>
    <dgm:cxn modelId="{0F6BE811-CCCF-4E46-9FF5-B445DACB40FA}" type="presParOf" srcId="{77124083-8DD5-4425-B033-FBA9C4927D5C}" destId="{C4738AF3-F983-4D80-9F42-F5B82AD496B4}" srcOrd="10" destOrd="0" presId="urn:microsoft.com/office/officeart/2008/layout/LinedList"/>
    <dgm:cxn modelId="{AE1137B4-F424-409F-A19B-C3569D9AACAC}" type="presParOf" srcId="{77124083-8DD5-4425-B033-FBA9C4927D5C}" destId="{01A6D773-0609-4B85-B92F-8FC06B7A9D4B}" srcOrd="11" destOrd="0" presId="urn:microsoft.com/office/officeart/2008/layout/LinedList"/>
    <dgm:cxn modelId="{1147F98C-61F2-4EA1-8A42-557160263EDD}" type="presParOf" srcId="{01A6D773-0609-4B85-B92F-8FC06B7A9D4B}" destId="{DA21C973-9BDD-40B3-8D35-DD4FB019B5E0}" srcOrd="0" destOrd="0" presId="urn:microsoft.com/office/officeart/2008/layout/LinedList"/>
    <dgm:cxn modelId="{A5B63C9E-6446-4D2C-B9FC-671127559E28}" type="presParOf" srcId="{01A6D773-0609-4B85-B92F-8FC06B7A9D4B}" destId="{927C498F-CC8A-4402-AE3E-AD6984A28D18}" srcOrd="1" destOrd="0" presId="urn:microsoft.com/office/officeart/2008/layout/LinedList"/>
  </dgm:cxnLst>
  <dgm:bg/>
  <dgm:whole>
    <a:ln w="19050">
      <a:solidFill>
        <a:schemeClr val="tx1">
          <a:lumMod val="50000"/>
          <a:lumOff val="50000"/>
        </a:schemeClr>
      </a:solidFill>
    </a:ln>
  </dgm:whole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EB9C9B6-13D5-4ABD-A744-8D6B9086F178}" type="doc">
      <dgm:prSet loTypeId="urn:microsoft.com/office/officeart/2008/layout/LinedList" loCatId="list" qsTypeId="urn:microsoft.com/office/officeart/2005/8/quickstyle/simple4" qsCatId="simple" csTypeId="urn:microsoft.com/office/officeart/2005/8/colors/accent3_4" csCatId="accent3" phldr="1"/>
      <dgm:spPr/>
    </dgm:pt>
    <dgm:pt modelId="{F301F714-CA04-4106-AA0E-DEFFC74B06BC}">
      <dgm:prSet custT="1"/>
      <dgm:spPr>
        <a:solidFill>
          <a:srgbClr val="FFE48F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US" sz="1600" dirty="0"/>
            <a:t>Overall Rating</a:t>
          </a:r>
          <a:endParaRPr lang="en-CA" sz="1600" dirty="0"/>
        </a:p>
      </dgm:t>
    </dgm:pt>
    <dgm:pt modelId="{74D3EEB8-70E0-4C26-9662-7AAAB5E6F58D}" type="parTrans" cxnId="{9A5733D1-842D-40D0-9DE4-4A2FE245A551}">
      <dgm:prSet/>
      <dgm:spPr/>
      <dgm:t>
        <a:bodyPr/>
        <a:lstStyle/>
        <a:p>
          <a:pPr algn="l"/>
          <a:endParaRPr lang="en-CA" sz="1600"/>
        </a:p>
      </dgm:t>
    </dgm:pt>
    <dgm:pt modelId="{885E2E77-C4B1-462C-85FB-D2268144D76D}" type="sibTrans" cxnId="{9A5733D1-842D-40D0-9DE4-4A2FE245A551}">
      <dgm:prSet/>
      <dgm:spPr/>
      <dgm:t>
        <a:bodyPr/>
        <a:lstStyle/>
        <a:p>
          <a:pPr algn="l"/>
          <a:endParaRPr lang="en-CA" sz="1600"/>
        </a:p>
      </dgm:t>
    </dgm:pt>
    <dgm:pt modelId="{A73CC90D-785E-4B06-BC29-1604BDEA7F00}">
      <dgm:prSet custT="1"/>
      <dgm:spPr/>
      <dgm:t>
        <a:bodyPr/>
        <a:lstStyle/>
        <a:p>
          <a:pPr algn="l"/>
          <a:r>
            <a:rPr lang="en-US" sz="1600" dirty="0"/>
            <a:t>Year</a:t>
          </a:r>
          <a:endParaRPr lang="en-CA" sz="1600" dirty="0"/>
        </a:p>
      </dgm:t>
    </dgm:pt>
    <dgm:pt modelId="{2D9D8340-50FC-4C78-9098-EB2528877236}" type="parTrans" cxnId="{D1DC7F8C-F0CC-4A9D-86CF-ACE518249282}">
      <dgm:prSet/>
      <dgm:spPr/>
      <dgm:t>
        <a:bodyPr/>
        <a:lstStyle/>
        <a:p>
          <a:pPr algn="l"/>
          <a:endParaRPr lang="en-CA" sz="1600"/>
        </a:p>
      </dgm:t>
    </dgm:pt>
    <dgm:pt modelId="{27DA0F25-EB02-4BE0-8BB7-6FE307A2FFB4}" type="sibTrans" cxnId="{D1DC7F8C-F0CC-4A9D-86CF-ACE518249282}">
      <dgm:prSet/>
      <dgm:spPr/>
      <dgm:t>
        <a:bodyPr/>
        <a:lstStyle/>
        <a:p>
          <a:pPr algn="l"/>
          <a:endParaRPr lang="en-CA" sz="1600"/>
        </a:p>
      </dgm:t>
    </dgm:pt>
    <dgm:pt modelId="{67D663AD-BE7F-435B-8814-89E7E5AB23A9}">
      <dgm:prSet custT="1"/>
      <dgm:spPr>
        <a:solidFill>
          <a:srgbClr val="FFE48F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US" sz="1600" dirty="0"/>
            <a:t>Verified</a:t>
          </a:r>
          <a:endParaRPr lang="en-CA" sz="1600" dirty="0"/>
        </a:p>
      </dgm:t>
    </dgm:pt>
    <dgm:pt modelId="{222258D2-00F1-473B-8AB2-5B5CAF433DB4}" type="parTrans" cxnId="{A0CA9E37-9B7D-4DC7-99FF-9B4F1C694DC6}">
      <dgm:prSet/>
      <dgm:spPr/>
      <dgm:t>
        <a:bodyPr/>
        <a:lstStyle/>
        <a:p>
          <a:pPr algn="l"/>
          <a:endParaRPr lang="en-CA" sz="1600"/>
        </a:p>
      </dgm:t>
    </dgm:pt>
    <dgm:pt modelId="{F1328151-74C6-49AA-96E4-CED616ECD3B5}" type="sibTrans" cxnId="{A0CA9E37-9B7D-4DC7-99FF-9B4F1C694DC6}">
      <dgm:prSet/>
      <dgm:spPr/>
      <dgm:t>
        <a:bodyPr/>
        <a:lstStyle/>
        <a:p>
          <a:pPr algn="l"/>
          <a:endParaRPr lang="en-CA" sz="1600"/>
        </a:p>
      </dgm:t>
    </dgm:pt>
    <dgm:pt modelId="{A4A01CCC-80F7-4013-9C88-2D6374AB9B08}">
      <dgm:prSet custT="1"/>
      <dgm:spPr/>
      <dgm:t>
        <a:bodyPr/>
        <a:lstStyle/>
        <a:p>
          <a:pPr algn="l"/>
          <a:r>
            <a:rPr lang="en-CA" sz="1600" dirty="0"/>
            <a:t>Sentiment_higher_0_425</a:t>
          </a:r>
        </a:p>
      </dgm:t>
    </dgm:pt>
    <dgm:pt modelId="{CE146990-A00A-4ADA-A542-5C303050F283}" type="parTrans" cxnId="{F2CE3A85-13D2-4754-8BC2-D23535FC59E6}">
      <dgm:prSet/>
      <dgm:spPr/>
      <dgm:t>
        <a:bodyPr/>
        <a:lstStyle/>
        <a:p>
          <a:pPr algn="l"/>
          <a:endParaRPr lang="en-CA" sz="1600"/>
        </a:p>
      </dgm:t>
    </dgm:pt>
    <dgm:pt modelId="{5E5739B6-5864-4B9E-B7F9-64810B39EEBC}" type="sibTrans" cxnId="{F2CE3A85-13D2-4754-8BC2-D23535FC59E6}">
      <dgm:prSet/>
      <dgm:spPr/>
      <dgm:t>
        <a:bodyPr/>
        <a:lstStyle/>
        <a:p>
          <a:pPr algn="l"/>
          <a:endParaRPr lang="en-CA" sz="1600"/>
        </a:p>
      </dgm:t>
    </dgm:pt>
    <dgm:pt modelId="{0C8A44AF-EC78-4B29-B033-1607AF9B8778}">
      <dgm:prSet custT="1"/>
      <dgm:spPr>
        <a:solidFill>
          <a:srgbClr val="FFE48F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CA" sz="1600" dirty="0"/>
            <a:t>Sentiment_lower_0_248</a:t>
          </a:r>
        </a:p>
      </dgm:t>
    </dgm:pt>
    <dgm:pt modelId="{D362546E-E218-4F2A-99B8-9E09CB43037F}" type="parTrans" cxnId="{C03F4007-9D7A-4DBB-8882-B59061A7F4E3}">
      <dgm:prSet/>
      <dgm:spPr/>
      <dgm:t>
        <a:bodyPr/>
        <a:lstStyle/>
        <a:p>
          <a:pPr algn="l"/>
          <a:endParaRPr lang="en-CA" sz="1600"/>
        </a:p>
      </dgm:t>
    </dgm:pt>
    <dgm:pt modelId="{EBF07D63-4313-4039-9EAE-12F762F01915}" type="sibTrans" cxnId="{C03F4007-9D7A-4DBB-8882-B59061A7F4E3}">
      <dgm:prSet/>
      <dgm:spPr/>
      <dgm:t>
        <a:bodyPr/>
        <a:lstStyle/>
        <a:p>
          <a:pPr algn="l"/>
          <a:endParaRPr lang="en-CA" sz="1600"/>
        </a:p>
      </dgm:t>
    </dgm:pt>
    <dgm:pt modelId="{2F18ED54-2A2B-4BF6-B68B-EAAE87F86B31}" type="pres">
      <dgm:prSet presAssocID="{EEB9C9B6-13D5-4ABD-A744-8D6B9086F178}" presName="vert0" presStyleCnt="0">
        <dgm:presLayoutVars>
          <dgm:dir/>
          <dgm:animOne val="branch"/>
          <dgm:animLvl val="lvl"/>
        </dgm:presLayoutVars>
      </dgm:prSet>
      <dgm:spPr/>
    </dgm:pt>
    <dgm:pt modelId="{CFDA6D08-54B2-41AB-98B1-8E6F3854FF20}" type="pres">
      <dgm:prSet presAssocID="{F301F714-CA04-4106-AA0E-DEFFC74B06BC}" presName="thickLine" presStyleLbl="alignNode1" presStyleIdx="0" presStyleCnt="5"/>
      <dgm:spPr/>
    </dgm:pt>
    <dgm:pt modelId="{005C2459-3BCC-47C9-8435-86ACF6DB133C}" type="pres">
      <dgm:prSet presAssocID="{F301F714-CA04-4106-AA0E-DEFFC74B06BC}" presName="horz1" presStyleCnt="0"/>
      <dgm:spPr/>
    </dgm:pt>
    <dgm:pt modelId="{BE5F0AFD-B381-48F9-A8B9-7DC8976D9A37}" type="pres">
      <dgm:prSet presAssocID="{F301F714-CA04-4106-AA0E-DEFFC74B06BC}" presName="tx1" presStyleLbl="revTx" presStyleIdx="0" presStyleCnt="5"/>
      <dgm:spPr/>
    </dgm:pt>
    <dgm:pt modelId="{E25AB5D9-6F4E-40F3-A7A5-F2748FC84AF1}" type="pres">
      <dgm:prSet presAssocID="{F301F714-CA04-4106-AA0E-DEFFC74B06BC}" presName="vert1" presStyleCnt="0"/>
      <dgm:spPr/>
    </dgm:pt>
    <dgm:pt modelId="{C1D2D99C-B4BE-4BF0-8C76-9AD289F4D7A3}" type="pres">
      <dgm:prSet presAssocID="{A73CC90D-785E-4B06-BC29-1604BDEA7F00}" presName="thickLine" presStyleLbl="alignNode1" presStyleIdx="1" presStyleCnt="5"/>
      <dgm:spPr/>
    </dgm:pt>
    <dgm:pt modelId="{F3995DFA-4FD4-42CF-8A1C-89A9FFDDE1FD}" type="pres">
      <dgm:prSet presAssocID="{A73CC90D-785E-4B06-BC29-1604BDEA7F00}" presName="horz1" presStyleCnt="0"/>
      <dgm:spPr/>
    </dgm:pt>
    <dgm:pt modelId="{CFD56D1B-BF8C-4462-8472-972757E584F0}" type="pres">
      <dgm:prSet presAssocID="{A73CC90D-785E-4B06-BC29-1604BDEA7F00}" presName="tx1" presStyleLbl="revTx" presStyleIdx="1" presStyleCnt="5"/>
      <dgm:spPr/>
    </dgm:pt>
    <dgm:pt modelId="{6FA20A8E-A779-4E16-90E8-6A1CCBFB550A}" type="pres">
      <dgm:prSet presAssocID="{A73CC90D-785E-4B06-BC29-1604BDEA7F00}" presName="vert1" presStyleCnt="0"/>
      <dgm:spPr/>
    </dgm:pt>
    <dgm:pt modelId="{C71DA5BE-6F86-4B7B-8DCC-B1FDB0DF2B23}" type="pres">
      <dgm:prSet presAssocID="{67D663AD-BE7F-435B-8814-89E7E5AB23A9}" presName="thickLine" presStyleLbl="alignNode1" presStyleIdx="2" presStyleCnt="5"/>
      <dgm:spPr/>
    </dgm:pt>
    <dgm:pt modelId="{ECCB3B62-7713-4BDA-9491-8084D0F99725}" type="pres">
      <dgm:prSet presAssocID="{67D663AD-BE7F-435B-8814-89E7E5AB23A9}" presName="horz1" presStyleCnt="0"/>
      <dgm:spPr/>
    </dgm:pt>
    <dgm:pt modelId="{45E284A6-10FE-4010-8137-AA4E574DC3C3}" type="pres">
      <dgm:prSet presAssocID="{67D663AD-BE7F-435B-8814-89E7E5AB23A9}" presName="tx1" presStyleLbl="revTx" presStyleIdx="2" presStyleCnt="5"/>
      <dgm:spPr/>
    </dgm:pt>
    <dgm:pt modelId="{D6A60425-17B0-4497-9A5A-A9D2A388EA9A}" type="pres">
      <dgm:prSet presAssocID="{67D663AD-BE7F-435B-8814-89E7E5AB23A9}" presName="vert1" presStyleCnt="0"/>
      <dgm:spPr/>
    </dgm:pt>
    <dgm:pt modelId="{6B7E14F2-4386-4500-AB6D-27A16115E6EF}" type="pres">
      <dgm:prSet presAssocID="{A4A01CCC-80F7-4013-9C88-2D6374AB9B08}" presName="thickLine" presStyleLbl="alignNode1" presStyleIdx="3" presStyleCnt="5"/>
      <dgm:spPr/>
    </dgm:pt>
    <dgm:pt modelId="{DC75D695-FFF2-43C1-9627-AC506DB83FEC}" type="pres">
      <dgm:prSet presAssocID="{A4A01CCC-80F7-4013-9C88-2D6374AB9B08}" presName="horz1" presStyleCnt="0"/>
      <dgm:spPr/>
    </dgm:pt>
    <dgm:pt modelId="{A14F382E-2E5D-45C1-BE19-B5290EEAE754}" type="pres">
      <dgm:prSet presAssocID="{A4A01CCC-80F7-4013-9C88-2D6374AB9B08}" presName="tx1" presStyleLbl="revTx" presStyleIdx="3" presStyleCnt="5"/>
      <dgm:spPr/>
    </dgm:pt>
    <dgm:pt modelId="{0358F821-94D8-45D0-872B-5B3B7CBECC53}" type="pres">
      <dgm:prSet presAssocID="{A4A01CCC-80F7-4013-9C88-2D6374AB9B08}" presName="vert1" presStyleCnt="0"/>
      <dgm:spPr/>
    </dgm:pt>
    <dgm:pt modelId="{D93CD7D6-AE0C-42E2-BE94-1DD7613640F9}" type="pres">
      <dgm:prSet presAssocID="{0C8A44AF-EC78-4B29-B033-1607AF9B8778}" presName="thickLine" presStyleLbl="alignNode1" presStyleIdx="4" presStyleCnt="5"/>
      <dgm:spPr/>
    </dgm:pt>
    <dgm:pt modelId="{CE8B20DF-C63D-4574-A155-20B8968205E4}" type="pres">
      <dgm:prSet presAssocID="{0C8A44AF-EC78-4B29-B033-1607AF9B8778}" presName="horz1" presStyleCnt="0"/>
      <dgm:spPr/>
    </dgm:pt>
    <dgm:pt modelId="{A277C0D3-2F7C-40E4-ACE7-9D50725977A2}" type="pres">
      <dgm:prSet presAssocID="{0C8A44AF-EC78-4B29-B033-1607AF9B8778}" presName="tx1" presStyleLbl="revTx" presStyleIdx="4" presStyleCnt="5"/>
      <dgm:spPr/>
    </dgm:pt>
    <dgm:pt modelId="{BBB2519A-B55D-4073-8DA0-54FDD96A6EAC}" type="pres">
      <dgm:prSet presAssocID="{0C8A44AF-EC78-4B29-B033-1607AF9B8778}" presName="vert1" presStyleCnt="0"/>
      <dgm:spPr/>
    </dgm:pt>
  </dgm:ptLst>
  <dgm:cxnLst>
    <dgm:cxn modelId="{C03F4007-9D7A-4DBB-8882-B59061A7F4E3}" srcId="{EEB9C9B6-13D5-4ABD-A744-8D6B9086F178}" destId="{0C8A44AF-EC78-4B29-B033-1607AF9B8778}" srcOrd="4" destOrd="0" parTransId="{D362546E-E218-4F2A-99B8-9E09CB43037F}" sibTransId="{EBF07D63-4313-4039-9EAE-12F762F01915}"/>
    <dgm:cxn modelId="{A216181D-B42D-4E16-BA7F-7D7FF3346A54}" type="presOf" srcId="{A73CC90D-785E-4B06-BC29-1604BDEA7F00}" destId="{CFD56D1B-BF8C-4462-8472-972757E584F0}" srcOrd="0" destOrd="0" presId="urn:microsoft.com/office/officeart/2008/layout/LinedList"/>
    <dgm:cxn modelId="{A0CA9E37-9B7D-4DC7-99FF-9B4F1C694DC6}" srcId="{EEB9C9B6-13D5-4ABD-A744-8D6B9086F178}" destId="{67D663AD-BE7F-435B-8814-89E7E5AB23A9}" srcOrd="2" destOrd="0" parTransId="{222258D2-00F1-473B-8AB2-5B5CAF433DB4}" sibTransId="{F1328151-74C6-49AA-96E4-CED616ECD3B5}"/>
    <dgm:cxn modelId="{AB46303B-7934-40A2-9872-F8C1AE22C4D0}" type="presOf" srcId="{EEB9C9B6-13D5-4ABD-A744-8D6B9086F178}" destId="{2F18ED54-2A2B-4BF6-B68B-EAAE87F86B31}" srcOrd="0" destOrd="0" presId="urn:microsoft.com/office/officeart/2008/layout/LinedList"/>
    <dgm:cxn modelId="{57753D68-500D-412A-8A72-65748D54DA2C}" type="presOf" srcId="{F301F714-CA04-4106-AA0E-DEFFC74B06BC}" destId="{BE5F0AFD-B381-48F9-A8B9-7DC8976D9A37}" srcOrd="0" destOrd="0" presId="urn:microsoft.com/office/officeart/2008/layout/LinedList"/>
    <dgm:cxn modelId="{F2CE3A85-13D2-4754-8BC2-D23535FC59E6}" srcId="{EEB9C9B6-13D5-4ABD-A744-8D6B9086F178}" destId="{A4A01CCC-80F7-4013-9C88-2D6374AB9B08}" srcOrd="3" destOrd="0" parTransId="{CE146990-A00A-4ADA-A542-5C303050F283}" sibTransId="{5E5739B6-5864-4B9E-B7F9-64810B39EEBC}"/>
    <dgm:cxn modelId="{D1DC7F8C-F0CC-4A9D-86CF-ACE518249282}" srcId="{EEB9C9B6-13D5-4ABD-A744-8D6B9086F178}" destId="{A73CC90D-785E-4B06-BC29-1604BDEA7F00}" srcOrd="1" destOrd="0" parTransId="{2D9D8340-50FC-4C78-9098-EB2528877236}" sibTransId="{27DA0F25-EB02-4BE0-8BB7-6FE307A2FFB4}"/>
    <dgm:cxn modelId="{4E53148F-9D7D-4624-9316-94F8AD9D7221}" type="presOf" srcId="{A4A01CCC-80F7-4013-9C88-2D6374AB9B08}" destId="{A14F382E-2E5D-45C1-BE19-B5290EEAE754}" srcOrd="0" destOrd="0" presId="urn:microsoft.com/office/officeart/2008/layout/LinedList"/>
    <dgm:cxn modelId="{9A5733D1-842D-40D0-9DE4-4A2FE245A551}" srcId="{EEB9C9B6-13D5-4ABD-A744-8D6B9086F178}" destId="{F301F714-CA04-4106-AA0E-DEFFC74B06BC}" srcOrd="0" destOrd="0" parTransId="{74D3EEB8-70E0-4C26-9662-7AAAB5E6F58D}" sibTransId="{885E2E77-C4B1-462C-85FB-D2268144D76D}"/>
    <dgm:cxn modelId="{477512D2-D94B-4B66-87E8-BF228D8D70FB}" type="presOf" srcId="{67D663AD-BE7F-435B-8814-89E7E5AB23A9}" destId="{45E284A6-10FE-4010-8137-AA4E574DC3C3}" srcOrd="0" destOrd="0" presId="urn:microsoft.com/office/officeart/2008/layout/LinedList"/>
    <dgm:cxn modelId="{F6416AEA-F046-4A52-9C75-140E31CC2B21}" type="presOf" srcId="{0C8A44AF-EC78-4B29-B033-1607AF9B8778}" destId="{A277C0D3-2F7C-40E4-ACE7-9D50725977A2}" srcOrd="0" destOrd="0" presId="urn:microsoft.com/office/officeart/2008/layout/LinedList"/>
    <dgm:cxn modelId="{A517074E-0876-4F1D-BA5B-3852C6CC1D1A}" type="presParOf" srcId="{2F18ED54-2A2B-4BF6-B68B-EAAE87F86B31}" destId="{CFDA6D08-54B2-41AB-98B1-8E6F3854FF20}" srcOrd="0" destOrd="0" presId="urn:microsoft.com/office/officeart/2008/layout/LinedList"/>
    <dgm:cxn modelId="{A6DF9E67-F494-40C7-B5EF-DAC620D62850}" type="presParOf" srcId="{2F18ED54-2A2B-4BF6-B68B-EAAE87F86B31}" destId="{005C2459-3BCC-47C9-8435-86ACF6DB133C}" srcOrd="1" destOrd="0" presId="urn:microsoft.com/office/officeart/2008/layout/LinedList"/>
    <dgm:cxn modelId="{25A06E4C-8D9F-4E83-99F0-BB7E8AB476CB}" type="presParOf" srcId="{005C2459-3BCC-47C9-8435-86ACF6DB133C}" destId="{BE5F0AFD-B381-48F9-A8B9-7DC8976D9A37}" srcOrd="0" destOrd="0" presId="urn:microsoft.com/office/officeart/2008/layout/LinedList"/>
    <dgm:cxn modelId="{93D0F615-FAB3-4239-B21C-E21BF8564A0F}" type="presParOf" srcId="{005C2459-3BCC-47C9-8435-86ACF6DB133C}" destId="{E25AB5D9-6F4E-40F3-A7A5-F2748FC84AF1}" srcOrd="1" destOrd="0" presId="urn:microsoft.com/office/officeart/2008/layout/LinedList"/>
    <dgm:cxn modelId="{88967265-4FB6-4234-B281-27F9998CABDE}" type="presParOf" srcId="{2F18ED54-2A2B-4BF6-B68B-EAAE87F86B31}" destId="{C1D2D99C-B4BE-4BF0-8C76-9AD289F4D7A3}" srcOrd="2" destOrd="0" presId="urn:microsoft.com/office/officeart/2008/layout/LinedList"/>
    <dgm:cxn modelId="{47E12FDC-B073-4421-B003-E375B2DCE04C}" type="presParOf" srcId="{2F18ED54-2A2B-4BF6-B68B-EAAE87F86B31}" destId="{F3995DFA-4FD4-42CF-8A1C-89A9FFDDE1FD}" srcOrd="3" destOrd="0" presId="urn:microsoft.com/office/officeart/2008/layout/LinedList"/>
    <dgm:cxn modelId="{A986A3F8-3153-415A-9763-D125521738FA}" type="presParOf" srcId="{F3995DFA-4FD4-42CF-8A1C-89A9FFDDE1FD}" destId="{CFD56D1B-BF8C-4462-8472-972757E584F0}" srcOrd="0" destOrd="0" presId="urn:microsoft.com/office/officeart/2008/layout/LinedList"/>
    <dgm:cxn modelId="{156CBDBC-6FC3-4A9C-8EA4-DD24A1010AF3}" type="presParOf" srcId="{F3995DFA-4FD4-42CF-8A1C-89A9FFDDE1FD}" destId="{6FA20A8E-A779-4E16-90E8-6A1CCBFB550A}" srcOrd="1" destOrd="0" presId="urn:microsoft.com/office/officeart/2008/layout/LinedList"/>
    <dgm:cxn modelId="{3A490FB3-B893-4A2D-8C2E-08ED5BE96510}" type="presParOf" srcId="{2F18ED54-2A2B-4BF6-B68B-EAAE87F86B31}" destId="{C71DA5BE-6F86-4B7B-8DCC-B1FDB0DF2B23}" srcOrd="4" destOrd="0" presId="urn:microsoft.com/office/officeart/2008/layout/LinedList"/>
    <dgm:cxn modelId="{BC0BD792-7D10-4CCE-BCE5-BE215E1DA04B}" type="presParOf" srcId="{2F18ED54-2A2B-4BF6-B68B-EAAE87F86B31}" destId="{ECCB3B62-7713-4BDA-9491-8084D0F99725}" srcOrd="5" destOrd="0" presId="urn:microsoft.com/office/officeart/2008/layout/LinedList"/>
    <dgm:cxn modelId="{42B4776F-1355-4FCB-8A4B-D12375660533}" type="presParOf" srcId="{ECCB3B62-7713-4BDA-9491-8084D0F99725}" destId="{45E284A6-10FE-4010-8137-AA4E574DC3C3}" srcOrd="0" destOrd="0" presId="urn:microsoft.com/office/officeart/2008/layout/LinedList"/>
    <dgm:cxn modelId="{9836A588-7FE5-4770-9E32-3927AE09FB5E}" type="presParOf" srcId="{ECCB3B62-7713-4BDA-9491-8084D0F99725}" destId="{D6A60425-17B0-4497-9A5A-A9D2A388EA9A}" srcOrd="1" destOrd="0" presId="urn:microsoft.com/office/officeart/2008/layout/LinedList"/>
    <dgm:cxn modelId="{841C5A3C-3559-48B2-9B48-3C31007545DA}" type="presParOf" srcId="{2F18ED54-2A2B-4BF6-B68B-EAAE87F86B31}" destId="{6B7E14F2-4386-4500-AB6D-27A16115E6EF}" srcOrd="6" destOrd="0" presId="urn:microsoft.com/office/officeart/2008/layout/LinedList"/>
    <dgm:cxn modelId="{2494C22A-20E7-4E39-931E-6D3106BB5874}" type="presParOf" srcId="{2F18ED54-2A2B-4BF6-B68B-EAAE87F86B31}" destId="{DC75D695-FFF2-43C1-9627-AC506DB83FEC}" srcOrd="7" destOrd="0" presId="urn:microsoft.com/office/officeart/2008/layout/LinedList"/>
    <dgm:cxn modelId="{32F48EE9-B97A-40EF-B14B-66EFD7394394}" type="presParOf" srcId="{DC75D695-FFF2-43C1-9627-AC506DB83FEC}" destId="{A14F382E-2E5D-45C1-BE19-B5290EEAE754}" srcOrd="0" destOrd="0" presId="urn:microsoft.com/office/officeart/2008/layout/LinedList"/>
    <dgm:cxn modelId="{973B1E45-D036-4BC9-94BD-BAD0F9D7A584}" type="presParOf" srcId="{DC75D695-FFF2-43C1-9627-AC506DB83FEC}" destId="{0358F821-94D8-45D0-872B-5B3B7CBECC53}" srcOrd="1" destOrd="0" presId="urn:microsoft.com/office/officeart/2008/layout/LinedList"/>
    <dgm:cxn modelId="{65E4D427-A3F7-41DD-A515-2E29171AF0EB}" type="presParOf" srcId="{2F18ED54-2A2B-4BF6-B68B-EAAE87F86B31}" destId="{D93CD7D6-AE0C-42E2-BE94-1DD7613640F9}" srcOrd="8" destOrd="0" presId="urn:microsoft.com/office/officeart/2008/layout/LinedList"/>
    <dgm:cxn modelId="{19AF8A7E-8D06-419E-B7F6-9191BC7B1498}" type="presParOf" srcId="{2F18ED54-2A2B-4BF6-B68B-EAAE87F86B31}" destId="{CE8B20DF-C63D-4574-A155-20B8968205E4}" srcOrd="9" destOrd="0" presId="urn:microsoft.com/office/officeart/2008/layout/LinedList"/>
    <dgm:cxn modelId="{25C0E01D-E297-4A3A-AE24-DB2A60AFC3A0}" type="presParOf" srcId="{CE8B20DF-C63D-4574-A155-20B8968205E4}" destId="{A277C0D3-2F7C-40E4-ACE7-9D50725977A2}" srcOrd="0" destOrd="0" presId="urn:microsoft.com/office/officeart/2008/layout/LinedList"/>
    <dgm:cxn modelId="{EED107F4-FF47-427C-B9C4-ACD8E3461C50}" type="presParOf" srcId="{CE8B20DF-C63D-4574-A155-20B8968205E4}" destId="{BBB2519A-B55D-4073-8DA0-54FDD96A6EAC}" srcOrd="1" destOrd="0" presId="urn:microsoft.com/office/officeart/2008/layout/LinedList"/>
  </dgm:cxnLst>
  <dgm:bg/>
  <dgm:whole>
    <a:ln w="19050">
      <a:solidFill>
        <a:schemeClr val="tx1">
          <a:lumMod val="50000"/>
          <a:lumOff val="50000"/>
        </a:schemeClr>
      </a:solidFill>
    </a:ln>
  </dgm:whole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EB9C9B6-13D5-4ABD-A744-8D6B9086F178}" type="doc">
      <dgm:prSet loTypeId="urn:microsoft.com/office/officeart/2008/layout/LinedList" loCatId="list" qsTypeId="urn:microsoft.com/office/officeart/2005/8/quickstyle/simple4" qsCatId="simple" csTypeId="urn:microsoft.com/office/officeart/2005/8/colors/accent3_4" csCatId="accent3" phldr="1"/>
      <dgm:spPr/>
    </dgm:pt>
    <dgm:pt modelId="{D00D769B-29B9-4707-B2C6-CB36E5210246}">
      <dgm:prSet phldrT="[Text]" custT="1"/>
      <dgm:spPr>
        <a:solidFill>
          <a:srgbClr val="FFE48F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CA" sz="1600" dirty="0"/>
            <a:t>Word Count</a:t>
          </a:r>
        </a:p>
      </dgm:t>
    </dgm:pt>
    <dgm:pt modelId="{7DECF872-E53B-46AD-A1DE-E259C945A753}" type="parTrans" cxnId="{ED977883-614A-4496-B934-135C347A739D}">
      <dgm:prSet/>
      <dgm:spPr/>
      <dgm:t>
        <a:bodyPr/>
        <a:lstStyle/>
        <a:p>
          <a:pPr algn="l"/>
          <a:endParaRPr lang="en-CA" sz="1600"/>
        </a:p>
      </dgm:t>
    </dgm:pt>
    <dgm:pt modelId="{3D67F219-BDD3-4B48-B6E9-22E9643B2426}" type="sibTrans" cxnId="{ED977883-614A-4496-B934-135C347A739D}">
      <dgm:prSet/>
      <dgm:spPr/>
      <dgm:t>
        <a:bodyPr/>
        <a:lstStyle/>
        <a:p>
          <a:pPr algn="l"/>
          <a:endParaRPr lang="en-CA" sz="1600"/>
        </a:p>
      </dgm:t>
    </dgm:pt>
    <dgm:pt modelId="{8F98D053-7DD3-4E7C-B510-2C5947074B9C}">
      <dgm:prSet phldrT="[Text]" custT="1"/>
      <dgm:spPr>
        <a:solidFill>
          <a:srgbClr val="FFE48F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algn="l"/>
          <a:r>
            <a:rPr lang="en-US" sz="1600" dirty="0"/>
            <a:t>Sentence Count</a:t>
          </a:r>
          <a:endParaRPr lang="en-CA" sz="1600" dirty="0"/>
        </a:p>
      </dgm:t>
    </dgm:pt>
    <dgm:pt modelId="{98F95CCB-29BF-422C-A610-32453AFDA5A8}" type="parTrans" cxnId="{CF65D96B-2965-407D-A12E-2888439C7B4F}">
      <dgm:prSet/>
      <dgm:spPr/>
      <dgm:t>
        <a:bodyPr/>
        <a:lstStyle/>
        <a:p>
          <a:pPr algn="l"/>
          <a:endParaRPr lang="en-CA" sz="1600"/>
        </a:p>
      </dgm:t>
    </dgm:pt>
    <dgm:pt modelId="{1A4E0E52-00AB-4650-9ED5-8E8E164DE083}" type="sibTrans" cxnId="{CF65D96B-2965-407D-A12E-2888439C7B4F}">
      <dgm:prSet/>
      <dgm:spPr/>
      <dgm:t>
        <a:bodyPr/>
        <a:lstStyle/>
        <a:p>
          <a:pPr algn="l"/>
          <a:endParaRPr lang="en-CA" sz="1600"/>
        </a:p>
      </dgm:t>
    </dgm:pt>
    <dgm:pt modelId="{7583C977-8527-4D8C-8DC4-B7E460C8248E}">
      <dgm:prSet phldrT="[Text]" custT="1"/>
      <dgm:spPr/>
      <dgm:t>
        <a:bodyPr/>
        <a:lstStyle/>
        <a:p>
          <a:pPr algn="l"/>
          <a:r>
            <a:rPr lang="en-US" sz="1600" dirty="0"/>
            <a:t>Character Count</a:t>
          </a:r>
          <a:endParaRPr lang="en-CA" sz="1600" dirty="0"/>
        </a:p>
      </dgm:t>
    </dgm:pt>
    <dgm:pt modelId="{E869968B-8F8F-4D00-BD92-08CE69FE82E5}" type="parTrans" cxnId="{5603BD6A-B095-40AF-BD8F-4629478CC673}">
      <dgm:prSet/>
      <dgm:spPr/>
      <dgm:t>
        <a:bodyPr/>
        <a:lstStyle/>
        <a:p>
          <a:pPr algn="l"/>
          <a:endParaRPr lang="en-CA" sz="1600"/>
        </a:p>
      </dgm:t>
    </dgm:pt>
    <dgm:pt modelId="{93A24CDA-C769-44BE-94E6-C8124424A321}" type="sibTrans" cxnId="{5603BD6A-B095-40AF-BD8F-4629478CC673}">
      <dgm:prSet/>
      <dgm:spPr/>
      <dgm:t>
        <a:bodyPr/>
        <a:lstStyle/>
        <a:p>
          <a:pPr algn="l"/>
          <a:endParaRPr lang="en-CA" sz="1600"/>
        </a:p>
      </dgm:t>
    </dgm:pt>
    <dgm:pt modelId="{09FB7C86-C6EB-43B9-8231-126F25415C15}" type="pres">
      <dgm:prSet presAssocID="{EEB9C9B6-13D5-4ABD-A744-8D6B9086F178}" presName="vert0" presStyleCnt="0">
        <dgm:presLayoutVars>
          <dgm:dir/>
          <dgm:animOne val="branch"/>
          <dgm:animLvl val="lvl"/>
        </dgm:presLayoutVars>
      </dgm:prSet>
      <dgm:spPr/>
    </dgm:pt>
    <dgm:pt modelId="{41E12F0D-8B9A-4EBA-BE13-01E26080319E}" type="pres">
      <dgm:prSet presAssocID="{D00D769B-29B9-4707-B2C6-CB36E5210246}" presName="thickLine" presStyleLbl="alignNode1" presStyleIdx="0" presStyleCnt="3"/>
      <dgm:spPr/>
    </dgm:pt>
    <dgm:pt modelId="{66581B5F-BDCB-487F-80B4-F1A0057268D7}" type="pres">
      <dgm:prSet presAssocID="{D00D769B-29B9-4707-B2C6-CB36E5210246}" presName="horz1" presStyleCnt="0"/>
      <dgm:spPr/>
    </dgm:pt>
    <dgm:pt modelId="{A8E736D9-9823-4BDA-92A6-A69867039161}" type="pres">
      <dgm:prSet presAssocID="{D00D769B-29B9-4707-B2C6-CB36E5210246}" presName="tx1" presStyleLbl="revTx" presStyleIdx="0" presStyleCnt="3"/>
      <dgm:spPr/>
    </dgm:pt>
    <dgm:pt modelId="{F4986F8A-540B-4819-A9F5-670D09C02B36}" type="pres">
      <dgm:prSet presAssocID="{D00D769B-29B9-4707-B2C6-CB36E5210246}" presName="vert1" presStyleCnt="0"/>
      <dgm:spPr/>
    </dgm:pt>
    <dgm:pt modelId="{60F795DF-9A45-43BD-B8B9-D382B1E8783F}" type="pres">
      <dgm:prSet presAssocID="{7583C977-8527-4D8C-8DC4-B7E460C8248E}" presName="thickLine" presStyleLbl="alignNode1" presStyleIdx="1" presStyleCnt="3"/>
      <dgm:spPr/>
    </dgm:pt>
    <dgm:pt modelId="{F59DE43F-366D-43D2-9914-8427A9BCDADD}" type="pres">
      <dgm:prSet presAssocID="{7583C977-8527-4D8C-8DC4-B7E460C8248E}" presName="horz1" presStyleCnt="0"/>
      <dgm:spPr/>
    </dgm:pt>
    <dgm:pt modelId="{AF71FDD5-AA59-4081-A1E0-9B8AA4DB4B10}" type="pres">
      <dgm:prSet presAssocID="{7583C977-8527-4D8C-8DC4-B7E460C8248E}" presName="tx1" presStyleLbl="revTx" presStyleIdx="1" presStyleCnt="3"/>
      <dgm:spPr/>
    </dgm:pt>
    <dgm:pt modelId="{B37091BB-0A75-4081-BBEB-F79D39938213}" type="pres">
      <dgm:prSet presAssocID="{7583C977-8527-4D8C-8DC4-B7E460C8248E}" presName="vert1" presStyleCnt="0"/>
      <dgm:spPr/>
    </dgm:pt>
    <dgm:pt modelId="{5D7FB45E-92C0-4989-87EF-5DE8C34EC88E}" type="pres">
      <dgm:prSet presAssocID="{8F98D053-7DD3-4E7C-B510-2C5947074B9C}" presName="thickLine" presStyleLbl="alignNode1" presStyleIdx="2" presStyleCnt="3"/>
      <dgm:spPr/>
    </dgm:pt>
    <dgm:pt modelId="{CE01FE48-411A-4F4A-A52E-DE66760359D2}" type="pres">
      <dgm:prSet presAssocID="{8F98D053-7DD3-4E7C-B510-2C5947074B9C}" presName="horz1" presStyleCnt="0"/>
      <dgm:spPr/>
    </dgm:pt>
    <dgm:pt modelId="{2D67E3A3-354B-412F-A5BA-9041B5D84E95}" type="pres">
      <dgm:prSet presAssocID="{8F98D053-7DD3-4E7C-B510-2C5947074B9C}" presName="tx1" presStyleLbl="revTx" presStyleIdx="2" presStyleCnt="3"/>
      <dgm:spPr/>
    </dgm:pt>
    <dgm:pt modelId="{5265BCA7-8125-4061-B9D0-CE6CDA57EF58}" type="pres">
      <dgm:prSet presAssocID="{8F98D053-7DD3-4E7C-B510-2C5947074B9C}" presName="vert1" presStyleCnt="0"/>
      <dgm:spPr/>
    </dgm:pt>
  </dgm:ptLst>
  <dgm:cxnLst>
    <dgm:cxn modelId="{08665F05-F873-4789-8CDB-20B5E1EBC8C8}" type="presOf" srcId="{EEB9C9B6-13D5-4ABD-A744-8D6B9086F178}" destId="{09FB7C86-C6EB-43B9-8231-126F25415C15}" srcOrd="0" destOrd="0" presId="urn:microsoft.com/office/officeart/2008/layout/LinedList"/>
    <dgm:cxn modelId="{C5B83313-780A-4F71-B1E8-DD0503F2544D}" type="presOf" srcId="{D00D769B-29B9-4707-B2C6-CB36E5210246}" destId="{A8E736D9-9823-4BDA-92A6-A69867039161}" srcOrd="0" destOrd="0" presId="urn:microsoft.com/office/officeart/2008/layout/LinedList"/>
    <dgm:cxn modelId="{5603BD6A-B095-40AF-BD8F-4629478CC673}" srcId="{EEB9C9B6-13D5-4ABD-A744-8D6B9086F178}" destId="{7583C977-8527-4D8C-8DC4-B7E460C8248E}" srcOrd="1" destOrd="0" parTransId="{E869968B-8F8F-4D00-BD92-08CE69FE82E5}" sibTransId="{93A24CDA-C769-44BE-94E6-C8124424A321}"/>
    <dgm:cxn modelId="{CF65D96B-2965-407D-A12E-2888439C7B4F}" srcId="{EEB9C9B6-13D5-4ABD-A744-8D6B9086F178}" destId="{8F98D053-7DD3-4E7C-B510-2C5947074B9C}" srcOrd="2" destOrd="0" parTransId="{98F95CCB-29BF-422C-A610-32453AFDA5A8}" sibTransId="{1A4E0E52-00AB-4650-9ED5-8E8E164DE083}"/>
    <dgm:cxn modelId="{98A4377D-9888-4F03-A9FC-AFC19ACF1E66}" type="presOf" srcId="{8F98D053-7DD3-4E7C-B510-2C5947074B9C}" destId="{2D67E3A3-354B-412F-A5BA-9041B5D84E95}" srcOrd="0" destOrd="0" presId="urn:microsoft.com/office/officeart/2008/layout/LinedList"/>
    <dgm:cxn modelId="{ED977883-614A-4496-B934-135C347A739D}" srcId="{EEB9C9B6-13D5-4ABD-A744-8D6B9086F178}" destId="{D00D769B-29B9-4707-B2C6-CB36E5210246}" srcOrd="0" destOrd="0" parTransId="{7DECF872-E53B-46AD-A1DE-E259C945A753}" sibTransId="{3D67F219-BDD3-4B48-B6E9-22E9643B2426}"/>
    <dgm:cxn modelId="{E664DBBD-D97D-4AE0-90F6-C52209EFB879}" type="presOf" srcId="{7583C977-8527-4D8C-8DC4-B7E460C8248E}" destId="{AF71FDD5-AA59-4081-A1E0-9B8AA4DB4B10}" srcOrd="0" destOrd="0" presId="urn:microsoft.com/office/officeart/2008/layout/LinedList"/>
    <dgm:cxn modelId="{DA8F6467-CEA1-4D77-9FAE-3EE2C99F4C45}" type="presParOf" srcId="{09FB7C86-C6EB-43B9-8231-126F25415C15}" destId="{41E12F0D-8B9A-4EBA-BE13-01E26080319E}" srcOrd="0" destOrd="0" presId="urn:microsoft.com/office/officeart/2008/layout/LinedList"/>
    <dgm:cxn modelId="{79C01B1A-F93D-4609-A71D-DDE12922EC55}" type="presParOf" srcId="{09FB7C86-C6EB-43B9-8231-126F25415C15}" destId="{66581B5F-BDCB-487F-80B4-F1A0057268D7}" srcOrd="1" destOrd="0" presId="urn:microsoft.com/office/officeart/2008/layout/LinedList"/>
    <dgm:cxn modelId="{FBADD76C-94AE-4A0C-9DD2-162D253432EE}" type="presParOf" srcId="{66581B5F-BDCB-487F-80B4-F1A0057268D7}" destId="{A8E736D9-9823-4BDA-92A6-A69867039161}" srcOrd="0" destOrd="0" presId="urn:microsoft.com/office/officeart/2008/layout/LinedList"/>
    <dgm:cxn modelId="{7C8898EC-F820-46D0-B83F-AA0DD6DDC63B}" type="presParOf" srcId="{66581B5F-BDCB-487F-80B4-F1A0057268D7}" destId="{F4986F8A-540B-4819-A9F5-670D09C02B36}" srcOrd="1" destOrd="0" presId="urn:microsoft.com/office/officeart/2008/layout/LinedList"/>
    <dgm:cxn modelId="{6D672A32-B01B-43BC-B182-125D60EBC082}" type="presParOf" srcId="{09FB7C86-C6EB-43B9-8231-126F25415C15}" destId="{60F795DF-9A45-43BD-B8B9-D382B1E8783F}" srcOrd="2" destOrd="0" presId="urn:microsoft.com/office/officeart/2008/layout/LinedList"/>
    <dgm:cxn modelId="{F093C099-F585-4031-A141-B6828EFF2E06}" type="presParOf" srcId="{09FB7C86-C6EB-43B9-8231-126F25415C15}" destId="{F59DE43F-366D-43D2-9914-8427A9BCDADD}" srcOrd="3" destOrd="0" presId="urn:microsoft.com/office/officeart/2008/layout/LinedList"/>
    <dgm:cxn modelId="{6F591AF9-F969-4B06-A870-54396581A251}" type="presParOf" srcId="{F59DE43F-366D-43D2-9914-8427A9BCDADD}" destId="{AF71FDD5-AA59-4081-A1E0-9B8AA4DB4B10}" srcOrd="0" destOrd="0" presId="urn:microsoft.com/office/officeart/2008/layout/LinedList"/>
    <dgm:cxn modelId="{6C175FA3-490F-49AA-B7CD-77C1D4D28117}" type="presParOf" srcId="{F59DE43F-366D-43D2-9914-8427A9BCDADD}" destId="{B37091BB-0A75-4081-BBEB-F79D39938213}" srcOrd="1" destOrd="0" presId="urn:microsoft.com/office/officeart/2008/layout/LinedList"/>
    <dgm:cxn modelId="{E88970C1-A4DF-41E9-B595-22A63C2978C2}" type="presParOf" srcId="{09FB7C86-C6EB-43B9-8231-126F25415C15}" destId="{5D7FB45E-92C0-4989-87EF-5DE8C34EC88E}" srcOrd="4" destOrd="0" presId="urn:microsoft.com/office/officeart/2008/layout/LinedList"/>
    <dgm:cxn modelId="{F43A93E7-0753-4873-B063-5C91B1F04681}" type="presParOf" srcId="{09FB7C86-C6EB-43B9-8231-126F25415C15}" destId="{CE01FE48-411A-4F4A-A52E-DE66760359D2}" srcOrd="5" destOrd="0" presId="urn:microsoft.com/office/officeart/2008/layout/LinedList"/>
    <dgm:cxn modelId="{5D1BDE4A-61E9-4490-A598-CE128CEC0653}" type="presParOf" srcId="{CE01FE48-411A-4F4A-A52E-DE66760359D2}" destId="{2D67E3A3-354B-412F-A5BA-9041B5D84E95}" srcOrd="0" destOrd="0" presId="urn:microsoft.com/office/officeart/2008/layout/LinedList"/>
    <dgm:cxn modelId="{5203E656-A5D5-4DD1-8FE4-18134083FD50}" type="presParOf" srcId="{CE01FE48-411A-4F4A-A52E-DE66760359D2}" destId="{5265BCA7-8125-4061-B9D0-CE6CDA57EF58}" srcOrd="1" destOrd="0" presId="urn:microsoft.com/office/officeart/2008/layout/LinedList"/>
  </dgm:cxnLst>
  <dgm:bg/>
  <dgm:whole>
    <a:ln w="19050">
      <a:solidFill>
        <a:schemeClr val="tx1">
          <a:lumMod val="50000"/>
          <a:lumOff val="50000"/>
        </a:schemeClr>
      </a:solidFill>
    </a:ln>
  </dgm:whole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EB9C9B6-13D5-4ABD-A744-8D6B9086F178}" type="doc">
      <dgm:prSet loTypeId="urn:microsoft.com/office/officeart/2005/8/layout/process2" loCatId="process" qsTypeId="urn:microsoft.com/office/officeart/2005/8/quickstyle/simple1" qsCatId="simple" csTypeId="urn:microsoft.com/office/officeart/2005/8/colors/accent4_1" csCatId="accent4" phldr="1"/>
      <dgm:spPr/>
    </dgm:pt>
    <dgm:pt modelId="{29E3FBB3-9ABF-45D6-AF68-C9E865BEB080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pPr algn="ctr"/>
          <a:r>
            <a:rPr lang="en-CA" b="0" dirty="0">
              <a:ln>
                <a:noFill/>
              </a:ln>
              <a:solidFill>
                <a:schemeClr val="bg1"/>
              </a:solidFill>
            </a:rPr>
            <a:t>Unigrams</a:t>
          </a:r>
        </a:p>
      </dgm:t>
    </dgm:pt>
    <dgm:pt modelId="{E6026264-2E8F-4712-B161-5DAE8A163A31}" type="parTrans" cxnId="{0234757E-2AC4-41AE-939C-2CAF4093CEAB}">
      <dgm:prSet/>
      <dgm:spPr/>
      <dgm:t>
        <a:bodyPr/>
        <a:lstStyle/>
        <a:p>
          <a:pPr algn="ctr"/>
          <a:endParaRPr lang="en-CA" b="0">
            <a:ln>
              <a:noFill/>
            </a:ln>
          </a:endParaRPr>
        </a:p>
      </dgm:t>
    </dgm:pt>
    <dgm:pt modelId="{9EF66762-D321-46B3-BCD9-9CE66F4DCE85}" type="sibTrans" cxnId="{0234757E-2AC4-41AE-939C-2CAF4093CEAB}">
      <dgm:prSet/>
      <dgm:spPr>
        <a:solidFill>
          <a:schemeClr val="tx1">
            <a:lumMod val="65000"/>
            <a:lumOff val="35000"/>
          </a:schemeClr>
        </a:solidFill>
      </dgm:spPr>
      <dgm:t>
        <a:bodyPr/>
        <a:lstStyle/>
        <a:p>
          <a:pPr algn="ctr"/>
          <a:endParaRPr lang="en-CA" b="0" dirty="0">
            <a:ln>
              <a:noFill/>
            </a:ln>
          </a:endParaRPr>
        </a:p>
      </dgm:t>
    </dgm:pt>
    <dgm:pt modelId="{AE15A575-DB54-4FFA-810A-715561903729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pPr algn="ctr"/>
          <a:r>
            <a:rPr lang="en-CA" b="0" dirty="0">
              <a:ln>
                <a:noFill/>
              </a:ln>
              <a:solidFill>
                <a:schemeClr val="bg1"/>
              </a:solidFill>
            </a:rPr>
            <a:t>Bigrams</a:t>
          </a:r>
        </a:p>
      </dgm:t>
    </dgm:pt>
    <dgm:pt modelId="{64978CD2-0A78-43A9-AE88-55798695A9EF}" type="parTrans" cxnId="{22B9EDD5-4259-476C-8E9F-AC83C66E4622}">
      <dgm:prSet/>
      <dgm:spPr/>
      <dgm:t>
        <a:bodyPr/>
        <a:lstStyle/>
        <a:p>
          <a:pPr algn="ctr"/>
          <a:endParaRPr lang="en-CA" b="0">
            <a:ln>
              <a:noFill/>
            </a:ln>
          </a:endParaRPr>
        </a:p>
      </dgm:t>
    </dgm:pt>
    <dgm:pt modelId="{9F8154C0-0D0C-4619-9ACB-6C1610440D6B}" type="sibTrans" cxnId="{22B9EDD5-4259-476C-8E9F-AC83C66E4622}">
      <dgm:prSet/>
      <dgm:spPr>
        <a:solidFill>
          <a:schemeClr val="tx1">
            <a:lumMod val="65000"/>
            <a:lumOff val="35000"/>
          </a:schemeClr>
        </a:solidFill>
      </dgm:spPr>
      <dgm:t>
        <a:bodyPr/>
        <a:lstStyle/>
        <a:p>
          <a:pPr algn="ctr"/>
          <a:endParaRPr lang="en-CA" b="0" dirty="0">
            <a:ln>
              <a:noFill/>
            </a:ln>
          </a:endParaRPr>
        </a:p>
      </dgm:t>
    </dgm:pt>
    <dgm:pt modelId="{D00D769B-29B9-4707-B2C6-CB36E521024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pPr algn="ctr"/>
          <a:r>
            <a:rPr lang="en-CA" b="0" dirty="0">
              <a:ln>
                <a:noFill/>
              </a:ln>
              <a:solidFill>
                <a:schemeClr val="bg1"/>
              </a:solidFill>
            </a:rPr>
            <a:t>Unigrams + Bigrams</a:t>
          </a:r>
        </a:p>
      </dgm:t>
    </dgm:pt>
    <dgm:pt modelId="{7DECF872-E53B-46AD-A1DE-E259C945A753}" type="parTrans" cxnId="{ED977883-614A-4496-B934-135C347A739D}">
      <dgm:prSet/>
      <dgm:spPr/>
      <dgm:t>
        <a:bodyPr/>
        <a:lstStyle/>
        <a:p>
          <a:pPr algn="ctr"/>
          <a:endParaRPr lang="en-CA" b="0">
            <a:ln>
              <a:noFill/>
            </a:ln>
          </a:endParaRPr>
        </a:p>
      </dgm:t>
    </dgm:pt>
    <dgm:pt modelId="{3D67F219-BDD3-4B48-B6E9-22E9643B2426}" type="sibTrans" cxnId="{ED977883-614A-4496-B934-135C347A739D}">
      <dgm:prSet/>
      <dgm:spPr>
        <a:solidFill>
          <a:schemeClr val="tx1">
            <a:lumMod val="65000"/>
            <a:lumOff val="35000"/>
          </a:schemeClr>
        </a:solidFill>
      </dgm:spPr>
      <dgm:t>
        <a:bodyPr/>
        <a:lstStyle/>
        <a:p>
          <a:pPr algn="ctr"/>
          <a:endParaRPr lang="en-CA" b="0" dirty="0">
            <a:ln>
              <a:noFill/>
            </a:ln>
          </a:endParaRPr>
        </a:p>
      </dgm:t>
    </dgm:pt>
    <dgm:pt modelId="{AF1BDC4A-075C-4B5E-994B-55630C36C42A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pPr algn="ctr"/>
          <a:r>
            <a:rPr lang="en-US" b="0" dirty="0">
              <a:ln>
                <a:noFill/>
              </a:ln>
              <a:solidFill>
                <a:schemeClr val="bg1"/>
              </a:solidFill>
            </a:rPr>
            <a:t>Count Vectorizer + IDF = TF-IDF</a:t>
          </a:r>
          <a:endParaRPr lang="en-CA" b="0" dirty="0">
            <a:ln>
              <a:noFill/>
            </a:ln>
            <a:solidFill>
              <a:schemeClr val="bg1"/>
            </a:solidFill>
          </a:endParaRPr>
        </a:p>
      </dgm:t>
    </dgm:pt>
    <dgm:pt modelId="{97485544-A6F5-4407-A168-C54E9B580BA4}" type="parTrans" cxnId="{4EFB6A59-1C09-438C-862D-99BC3C2AAA7E}">
      <dgm:prSet/>
      <dgm:spPr/>
      <dgm:t>
        <a:bodyPr/>
        <a:lstStyle/>
        <a:p>
          <a:endParaRPr lang="en-CA" b="0">
            <a:ln>
              <a:noFill/>
            </a:ln>
          </a:endParaRPr>
        </a:p>
      </dgm:t>
    </dgm:pt>
    <dgm:pt modelId="{C02DA008-21FD-4191-89DB-66D07FB1944A}" type="sibTrans" cxnId="{4EFB6A59-1C09-438C-862D-99BC3C2AAA7E}">
      <dgm:prSet/>
      <dgm:spPr>
        <a:solidFill>
          <a:schemeClr val="tx1">
            <a:lumMod val="65000"/>
            <a:lumOff val="35000"/>
          </a:schemeClr>
        </a:solidFill>
      </dgm:spPr>
      <dgm:t>
        <a:bodyPr/>
        <a:lstStyle/>
        <a:p>
          <a:endParaRPr lang="en-CA" b="0" dirty="0">
            <a:ln>
              <a:noFill/>
            </a:ln>
          </a:endParaRPr>
        </a:p>
      </dgm:t>
    </dgm:pt>
    <dgm:pt modelId="{1B12D7D0-EA62-47AA-A73C-C20458FCE293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pPr algn="ctr"/>
          <a:r>
            <a:rPr lang="en-US" b="0" dirty="0">
              <a:ln>
                <a:noFill/>
              </a:ln>
              <a:solidFill>
                <a:schemeClr val="bg1"/>
              </a:solidFill>
            </a:rPr>
            <a:t>Topic Modelling</a:t>
          </a:r>
          <a:endParaRPr lang="en-CA" b="0" dirty="0">
            <a:ln>
              <a:noFill/>
            </a:ln>
            <a:solidFill>
              <a:schemeClr val="bg1"/>
            </a:solidFill>
          </a:endParaRPr>
        </a:p>
      </dgm:t>
    </dgm:pt>
    <dgm:pt modelId="{2C0F06A9-BE52-4EE0-AF60-1305BD5D14F9}" type="parTrans" cxnId="{DE29382D-37AC-4D54-A577-9A88DFB9D671}">
      <dgm:prSet/>
      <dgm:spPr/>
      <dgm:t>
        <a:bodyPr/>
        <a:lstStyle/>
        <a:p>
          <a:endParaRPr lang="en-CA" b="0">
            <a:ln>
              <a:noFill/>
            </a:ln>
          </a:endParaRPr>
        </a:p>
      </dgm:t>
    </dgm:pt>
    <dgm:pt modelId="{CF54B97E-2F69-44F3-9F84-320ABC61D049}" type="sibTrans" cxnId="{DE29382D-37AC-4D54-A577-9A88DFB9D671}">
      <dgm:prSet/>
      <dgm:spPr>
        <a:solidFill>
          <a:schemeClr val="tx1">
            <a:lumMod val="65000"/>
            <a:lumOff val="35000"/>
          </a:schemeClr>
        </a:solidFill>
      </dgm:spPr>
      <dgm:t>
        <a:bodyPr/>
        <a:lstStyle/>
        <a:p>
          <a:endParaRPr lang="en-CA" b="0" dirty="0">
            <a:ln>
              <a:noFill/>
            </a:ln>
          </a:endParaRPr>
        </a:p>
      </dgm:t>
    </dgm:pt>
    <dgm:pt modelId="{EE3D0DF1-7B7A-4D5C-B512-1E846E0A1142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pPr algn="ctr"/>
          <a:r>
            <a:rPr lang="en-US" b="1" dirty="0">
              <a:ln>
                <a:noFill/>
              </a:ln>
              <a:solidFill>
                <a:schemeClr val="bg1"/>
              </a:solidFill>
            </a:rPr>
            <a:t>Classification</a:t>
          </a:r>
          <a:endParaRPr lang="en-CA" b="1" dirty="0">
            <a:ln>
              <a:noFill/>
            </a:ln>
            <a:solidFill>
              <a:schemeClr val="bg1"/>
            </a:solidFill>
          </a:endParaRPr>
        </a:p>
      </dgm:t>
    </dgm:pt>
    <dgm:pt modelId="{F969ACC0-EA43-41C1-9F59-02DDEB8FCEDF}" type="parTrans" cxnId="{69F612CF-A160-4710-8E09-4CFD91891E19}">
      <dgm:prSet/>
      <dgm:spPr/>
      <dgm:t>
        <a:bodyPr/>
        <a:lstStyle/>
        <a:p>
          <a:endParaRPr lang="en-CA" b="0">
            <a:ln>
              <a:noFill/>
            </a:ln>
          </a:endParaRPr>
        </a:p>
      </dgm:t>
    </dgm:pt>
    <dgm:pt modelId="{751C5E74-653B-41A8-B80A-52F05F6CE521}" type="sibTrans" cxnId="{69F612CF-A160-4710-8E09-4CFD91891E19}">
      <dgm:prSet/>
      <dgm:spPr/>
      <dgm:t>
        <a:bodyPr/>
        <a:lstStyle/>
        <a:p>
          <a:endParaRPr lang="en-CA" b="0">
            <a:ln>
              <a:noFill/>
            </a:ln>
          </a:endParaRPr>
        </a:p>
      </dgm:t>
    </dgm:pt>
    <dgm:pt modelId="{B8B54FA8-9218-4C84-AD9A-773E485E5357}" type="pres">
      <dgm:prSet presAssocID="{EEB9C9B6-13D5-4ABD-A744-8D6B9086F178}" presName="linearFlow" presStyleCnt="0">
        <dgm:presLayoutVars>
          <dgm:resizeHandles val="exact"/>
        </dgm:presLayoutVars>
      </dgm:prSet>
      <dgm:spPr/>
    </dgm:pt>
    <dgm:pt modelId="{04C4C9E9-62E8-49BA-B826-3FE75BB57131}" type="pres">
      <dgm:prSet presAssocID="{29E3FBB3-9ABF-45D6-AF68-C9E865BEB080}" presName="node" presStyleLbl="node1" presStyleIdx="0" presStyleCnt="6" custScaleX="142025" custLinFactNeighborX="-2815" custLinFactNeighborY="8090">
        <dgm:presLayoutVars>
          <dgm:bulletEnabled val="1"/>
        </dgm:presLayoutVars>
      </dgm:prSet>
      <dgm:spPr/>
    </dgm:pt>
    <dgm:pt modelId="{D19C6D43-C7A8-4D3D-A8B1-975675A84333}" type="pres">
      <dgm:prSet presAssocID="{9EF66762-D321-46B3-BCD9-9CE66F4DCE85}" presName="sibTrans" presStyleLbl="sibTrans2D1" presStyleIdx="0" presStyleCnt="5"/>
      <dgm:spPr/>
    </dgm:pt>
    <dgm:pt modelId="{574603FA-C712-4B59-A2D0-F3C1EF46AD99}" type="pres">
      <dgm:prSet presAssocID="{9EF66762-D321-46B3-BCD9-9CE66F4DCE85}" presName="connectorText" presStyleLbl="sibTrans2D1" presStyleIdx="0" presStyleCnt="5"/>
      <dgm:spPr/>
    </dgm:pt>
    <dgm:pt modelId="{B5C35069-369C-47EE-AA2D-353584CEE967}" type="pres">
      <dgm:prSet presAssocID="{AE15A575-DB54-4FFA-810A-715561903729}" presName="node" presStyleLbl="node1" presStyleIdx="1" presStyleCnt="6" custScaleX="142025">
        <dgm:presLayoutVars>
          <dgm:bulletEnabled val="1"/>
        </dgm:presLayoutVars>
      </dgm:prSet>
      <dgm:spPr/>
    </dgm:pt>
    <dgm:pt modelId="{D3926F44-1542-4C51-BF65-D69700B550CC}" type="pres">
      <dgm:prSet presAssocID="{9F8154C0-0D0C-4619-9ACB-6C1610440D6B}" presName="sibTrans" presStyleLbl="sibTrans2D1" presStyleIdx="1" presStyleCnt="5"/>
      <dgm:spPr/>
    </dgm:pt>
    <dgm:pt modelId="{F64B32C1-046A-4548-9C49-6F17513D214B}" type="pres">
      <dgm:prSet presAssocID="{9F8154C0-0D0C-4619-9ACB-6C1610440D6B}" presName="connectorText" presStyleLbl="sibTrans2D1" presStyleIdx="1" presStyleCnt="5"/>
      <dgm:spPr/>
    </dgm:pt>
    <dgm:pt modelId="{B87A25EB-7686-43DC-83F4-FCE1EDECBD83}" type="pres">
      <dgm:prSet presAssocID="{D00D769B-29B9-4707-B2C6-CB36E5210246}" presName="node" presStyleLbl="node1" presStyleIdx="2" presStyleCnt="6" custScaleX="142025">
        <dgm:presLayoutVars>
          <dgm:bulletEnabled val="1"/>
        </dgm:presLayoutVars>
      </dgm:prSet>
      <dgm:spPr/>
    </dgm:pt>
    <dgm:pt modelId="{AF5E8059-F72A-44DC-B777-357F1B9FD117}" type="pres">
      <dgm:prSet presAssocID="{3D67F219-BDD3-4B48-B6E9-22E9643B2426}" presName="sibTrans" presStyleLbl="sibTrans2D1" presStyleIdx="2" presStyleCnt="5"/>
      <dgm:spPr/>
    </dgm:pt>
    <dgm:pt modelId="{8773A8FE-ACBF-4939-ABBF-3ED453CBE21D}" type="pres">
      <dgm:prSet presAssocID="{3D67F219-BDD3-4B48-B6E9-22E9643B2426}" presName="connectorText" presStyleLbl="sibTrans2D1" presStyleIdx="2" presStyleCnt="5"/>
      <dgm:spPr/>
    </dgm:pt>
    <dgm:pt modelId="{EB9B901E-FF11-4BFE-888E-FC8B32146952}" type="pres">
      <dgm:prSet presAssocID="{AF1BDC4A-075C-4B5E-994B-55630C36C42A}" presName="node" presStyleLbl="node1" presStyleIdx="3" presStyleCnt="6" custScaleX="142025">
        <dgm:presLayoutVars>
          <dgm:bulletEnabled val="1"/>
        </dgm:presLayoutVars>
      </dgm:prSet>
      <dgm:spPr/>
    </dgm:pt>
    <dgm:pt modelId="{F7598653-C328-4251-ABB7-BD1F2E0E118F}" type="pres">
      <dgm:prSet presAssocID="{C02DA008-21FD-4191-89DB-66D07FB1944A}" presName="sibTrans" presStyleLbl="sibTrans2D1" presStyleIdx="3" presStyleCnt="5"/>
      <dgm:spPr/>
    </dgm:pt>
    <dgm:pt modelId="{2BE3911E-2B5A-40EF-B5A3-D8C08D7BF43A}" type="pres">
      <dgm:prSet presAssocID="{C02DA008-21FD-4191-89DB-66D07FB1944A}" presName="connectorText" presStyleLbl="sibTrans2D1" presStyleIdx="3" presStyleCnt="5"/>
      <dgm:spPr/>
    </dgm:pt>
    <dgm:pt modelId="{75651BCD-2EF8-4767-9640-1562EF879097}" type="pres">
      <dgm:prSet presAssocID="{1B12D7D0-EA62-47AA-A73C-C20458FCE293}" presName="node" presStyleLbl="node1" presStyleIdx="4" presStyleCnt="6" custScaleX="142025">
        <dgm:presLayoutVars>
          <dgm:bulletEnabled val="1"/>
        </dgm:presLayoutVars>
      </dgm:prSet>
      <dgm:spPr/>
    </dgm:pt>
    <dgm:pt modelId="{F8328003-499C-486F-AA58-7D3BD2D1895C}" type="pres">
      <dgm:prSet presAssocID="{CF54B97E-2F69-44F3-9F84-320ABC61D049}" presName="sibTrans" presStyleLbl="sibTrans2D1" presStyleIdx="4" presStyleCnt="5"/>
      <dgm:spPr/>
    </dgm:pt>
    <dgm:pt modelId="{0BF05E59-13F4-431A-9B43-92E4F5ACC992}" type="pres">
      <dgm:prSet presAssocID="{CF54B97E-2F69-44F3-9F84-320ABC61D049}" presName="connectorText" presStyleLbl="sibTrans2D1" presStyleIdx="4" presStyleCnt="5"/>
      <dgm:spPr/>
    </dgm:pt>
    <dgm:pt modelId="{F480A642-B27E-45C5-BAB1-9A76E2BA324D}" type="pres">
      <dgm:prSet presAssocID="{EE3D0DF1-7B7A-4D5C-B512-1E846E0A1142}" presName="node" presStyleLbl="node1" presStyleIdx="5" presStyleCnt="6" custScaleX="142025">
        <dgm:presLayoutVars>
          <dgm:bulletEnabled val="1"/>
        </dgm:presLayoutVars>
      </dgm:prSet>
      <dgm:spPr/>
    </dgm:pt>
  </dgm:ptLst>
  <dgm:cxnLst>
    <dgm:cxn modelId="{A3B12508-5DD7-4077-A68E-65D6F0EBEE08}" type="presOf" srcId="{9F8154C0-0D0C-4619-9ACB-6C1610440D6B}" destId="{D3926F44-1542-4C51-BF65-D69700B550CC}" srcOrd="0" destOrd="0" presId="urn:microsoft.com/office/officeart/2005/8/layout/process2"/>
    <dgm:cxn modelId="{6811911E-57E5-4AE6-8840-A0BE10448530}" type="presOf" srcId="{AF1BDC4A-075C-4B5E-994B-55630C36C42A}" destId="{EB9B901E-FF11-4BFE-888E-FC8B32146952}" srcOrd="0" destOrd="0" presId="urn:microsoft.com/office/officeart/2005/8/layout/process2"/>
    <dgm:cxn modelId="{BD03C923-C955-46E6-AF6C-2215F2019AE8}" type="presOf" srcId="{9EF66762-D321-46B3-BCD9-9CE66F4DCE85}" destId="{D19C6D43-C7A8-4D3D-A8B1-975675A84333}" srcOrd="0" destOrd="0" presId="urn:microsoft.com/office/officeart/2005/8/layout/process2"/>
    <dgm:cxn modelId="{8F2B742B-F321-402A-89AE-B48259095951}" type="presOf" srcId="{29E3FBB3-9ABF-45D6-AF68-C9E865BEB080}" destId="{04C4C9E9-62E8-49BA-B826-3FE75BB57131}" srcOrd="0" destOrd="0" presId="urn:microsoft.com/office/officeart/2005/8/layout/process2"/>
    <dgm:cxn modelId="{DE29382D-37AC-4D54-A577-9A88DFB9D671}" srcId="{EEB9C9B6-13D5-4ABD-A744-8D6B9086F178}" destId="{1B12D7D0-EA62-47AA-A73C-C20458FCE293}" srcOrd="4" destOrd="0" parTransId="{2C0F06A9-BE52-4EE0-AF60-1305BD5D14F9}" sibTransId="{CF54B97E-2F69-44F3-9F84-320ABC61D049}"/>
    <dgm:cxn modelId="{153C4641-04B9-4FA2-BD7E-BF3D72587375}" type="presOf" srcId="{1B12D7D0-EA62-47AA-A73C-C20458FCE293}" destId="{75651BCD-2EF8-4767-9640-1562EF879097}" srcOrd="0" destOrd="0" presId="urn:microsoft.com/office/officeart/2005/8/layout/process2"/>
    <dgm:cxn modelId="{EBA6BD4F-30E2-4F0A-93DE-50B9AE6508B1}" type="presOf" srcId="{D00D769B-29B9-4707-B2C6-CB36E5210246}" destId="{B87A25EB-7686-43DC-83F4-FCE1EDECBD83}" srcOrd="0" destOrd="0" presId="urn:microsoft.com/office/officeart/2005/8/layout/process2"/>
    <dgm:cxn modelId="{F9E98078-3CC0-4E9A-9900-A3FBA7DDB93E}" type="presOf" srcId="{9EF66762-D321-46B3-BCD9-9CE66F4DCE85}" destId="{574603FA-C712-4B59-A2D0-F3C1EF46AD99}" srcOrd="1" destOrd="0" presId="urn:microsoft.com/office/officeart/2005/8/layout/process2"/>
    <dgm:cxn modelId="{4EFB6A59-1C09-438C-862D-99BC3C2AAA7E}" srcId="{EEB9C9B6-13D5-4ABD-A744-8D6B9086F178}" destId="{AF1BDC4A-075C-4B5E-994B-55630C36C42A}" srcOrd="3" destOrd="0" parTransId="{97485544-A6F5-4407-A168-C54E9B580BA4}" sibTransId="{C02DA008-21FD-4191-89DB-66D07FB1944A}"/>
    <dgm:cxn modelId="{0234757E-2AC4-41AE-939C-2CAF4093CEAB}" srcId="{EEB9C9B6-13D5-4ABD-A744-8D6B9086F178}" destId="{29E3FBB3-9ABF-45D6-AF68-C9E865BEB080}" srcOrd="0" destOrd="0" parTransId="{E6026264-2E8F-4712-B161-5DAE8A163A31}" sibTransId="{9EF66762-D321-46B3-BCD9-9CE66F4DCE85}"/>
    <dgm:cxn modelId="{ED977883-614A-4496-B934-135C347A739D}" srcId="{EEB9C9B6-13D5-4ABD-A744-8D6B9086F178}" destId="{D00D769B-29B9-4707-B2C6-CB36E5210246}" srcOrd="2" destOrd="0" parTransId="{7DECF872-E53B-46AD-A1DE-E259C945A753}" sibTransId="{3D67F219-BDD3-4B48-B6E9-22E9643B2426}"/>
    <dgm:cxn modelId="{E0A2C08D-EC92-4220-97A7-01923C27250A}" type="presOf" srcId="{C02DA008-21FD-4191-89DB-66D07FB1944A}" destId="{2BE3911E-2B5A-40EF-B5A3-D8C08D7BF43A}" srcOrd="1" destOrd="0" presId="urn:microsoft.com/office/officeart/2005/8/layout/process2"/>
    <dgm:cxn modelId="{E096528F-790B-4582-9E72-C9059925E79F}" type="presOf" srcId="{3D67F219-BDD3-4B48-B6E9-22E9643B2426}" destId="{8773A8FE-ACBF-4939-ABBF-3ED453CBE21D}" srcOrd="1" destOrd="0" presId="urn:microsoft.com/office/officeart/2005/8/layout/process2"/>
    <dgm:cxn modelId="{4D481290-0633-400C-A353-FF4DCF060472}" type="presOf" srcId="{C02DA008-21FD-4191-89DB-66D07FB1944A}" destId="{F7598653-C328-4251-ABB7-BD1F2E0E118F}" srcOrd="0" destOrd="0" presId="urn:microsoft.com/office/officeart/2005/8/layout/process2"/>
    <dgm:cxn modelId="{5275BAA5-F409-4D76-8D02-416A4BE105AF}" type="presOf" srcId="{3D67F219-BDD3-4B48-B6E9-22E9643B2426}" destId="{AF5E8059-F72A-44DC-B777-357F1B9FD117}" srcOrd="0" destOrd="0" presId="urn:microsoft.com/office/officeart/2005/8/layout/process2"/>
    <dgm:cxn modelId="{43A630A7-99C5-4B08-B247-7E6D0DED54B9}" type="presOf" srcId="{CF54B97E-2F69-44F3-9F84-320ABC61D049}" destId="{0BF05E59-13F4-431A-9B43-92E4F5ACC992}" srcOrd="1" destOrd="0" presId="urn:microsoft.com/office/officeart/2005/8/layout/process2"/>
    <dgm:cxn modelId="{18661CAF-06D6-4BD5-A4DF-8AAA50273FAB}" type="presOf" srcId="{EE3D0DF1-7B7A-4D5C-B512-1E846E0A1142}" destId="{F480A642-B27E-45C5-BAB1-9A76E2BA324D}" srcOrd="0" destOrd="0" presId="urn:microsoft.com/office/officeart/2005/8/layout/process2"/>
    <dgm:cxn modelId="{0F6CD2B5-AF07-4F93-B278-AEDB04FA7AE7}" type="presOf" srcId="{AE15A575-DB54-4FFA-810A-715561903729}" destId="{B5C35069-369C-47EE-AA2D-353584CEE967}" srcOrd="0" destOrd="0" presId="urn:microsoft.com/office/officeart/2005/8/layout/process2"/>
    <dgm:cxn modelId="{B607B3B7-CB6A-48B2-8A82-6BDD9BA99AEE}" type="presOf" srcId="{EEB9C9B6-13D5-4ABD-A744-8D6B9086F178}" destId="{B8B54FA8-9218-4C84-AD9A-773E485E5357}" srcOrd="0" destOrd="0" presId="urn:microsoft.com/office/officeart/2005/8/layout/process2"/>
    <dgm:cxn modelId="{E05818BA-8F41-4491-9EEE-0217CB62A624}" type="presOf" srcId="{CF54B97E-2F69-44F3-9F84-320ABC61D049}" destId="{F8328003-499C-486F-AA58-7D3BD2D1895C}" srcOrd="0" destOrd="0" presId="urn:microsoft.com/office/officeart/2005/8/layout/process2"/>
    <dgm:cxn modelId="{69F612CF-A160-4710-8E09-4CFD91891E19}" srcId="{EEB9C9B6-13D5-4ABD-A744-8D6B9086F178}" destId="{EE3D0DF1-7B7A-4D5C-B512-1E846E0A1142}" srcOrd="5" destOrd="0" parTransId="{F969ACC0-EA43-41C1-9F59-02DDEB8FCEDF}" sibTransId="{751C5E74-653B-41A8-B80A-52F05F6CE521}"/>
    <dgm:cxn modelId="{22B9EDD5-4259-476C-8E9F-AC83C66E4622}" srcId="{EEB9C9B6-13D5-4ABD-A744-8D6B9086F178}" destId="{AE15A575-DB54-4FFA-810A-715561903729}" srcOrd="1" destOrd="0" parTransId="{64978CD2-0A78-43A9-AE88-55798695A9EF}" sibTransId="{9F8154C0-0D0C-4619-9ACB-6C1610440D6B}"/>
    <dgm:cxn modelId="{BBBA0DFD-E2BE-4E73-835B-7DC82B90287B}" type="presOf" srcId="{9F8154C0-0D0C-4619-9ACB-6C1610440D6B}" destId="{F64B32C1-046A-4548-9C49-6F17513D214B}" srcOrd="1" destOrd="0" presId="urn:microsoft.com/office/officeart/2005/8/layout/process2"/>
    <dgm:cxn modelId="{B9B9A18C-565A-45DA-96EC-26FDA4078E6C}" type="presParOf" srcId="{B8B54FA8-9218-4C84-AD9A-773E485E5357}" destId="{04C4C9E9-62E8-49BA-B826-3FE75BB57131}" srcOrd="0" destOrd="0" presId="urn:microsoft.com/office/officeart/2005/8/layout/process2"/>
    <dgm:cxn modelId="{D4016855-EA46-4778-8263-9AFF90066EFD}" type="presParOf" srcId="{B8B54FA8-9218-4C84-AD9A-773E485E5357}" destId="{D19C6D43-C7A8-4D3D-A8B1-975675A84333}" srcOrd="1" destOrd="0" presId="urn:microsoft.com/office/officeart/2005/8/layout/process2"/>
    <dgm:cxn modelId="{FD8CA962-CEFB-41DE-8283-0AD6F23D492E}" type="presParOf" srcId="{D19C6D43-C7A8-4D3D-A8B1-975675A84333}" destId="{574603FA-C712-4B59-A2D0-F3C1EF46AD99}" srcOrd="0" destOrd="0" presId="urn:microsoft.com/office/officeart/2005/8/layout/process2"/>
    <dgm:cxn modelId="{51AE311A-4A9D-4FC0-9DA6-8C2F9B91C5BB}" type="presParOf" srcId="{B8B54FA8-9218-4C84-AD9A-773E485E5357}" destId="{B5C35069-369C-47EE-AA2D-353584CEE967}" srcOrd="2" destOrd="0" presId="urn:microsoft.com/office/officeart/2005/8/layout/process2"/>
    <dgm:cxn modelId="{86578542-31B7-45E7-AB7A-09C513D4A138}" type="presParOf" srcId="{B8B54FA8-9218-4C84-AD9A-773E485E5357}" destId="{D3926F44-1542-4C51-BF65-D69700B550CC}" srcOrd="3" destOrd="0" presId="urn:microsoft.com/office/officeart/2005/8/layout/process2"/>
    <dgm:cxn modelId="{65CD4E9B-3BD2-4B30-9610-5DB36E89CA5B}" type="presParOf" srcId="{D3926F44-1542-4C51-BF65-D69700B550CC}" destId="{F64B32C1-046A-4548-9C49-6F17513D214B}" srcOrd="0" destOrd="0" presId="urn:microsoft.com/office/officeart/2005/8/layout/process2"/>
    <dgm:cxn modelId="{1B805E7F-6FF4-4591-ABF5-BFFB9B844888}" type="presParOf" srcId="{B8B54FA8-9218-4C84-AD9A-773E485E5357}" destId="{B87A25EB-7686-43DC-83F4-FCE1EDECBD83}" srcOrd="4" destOrd="0" presId="urn:microsoft.com/office/officeart/2005/8/layout/process2"/>
    <dgm:cxn modelId="{35906DE1-359C-4CDD-81AA-487418AE8519}" type="presParOf" srcId="{B8B54FA8-9218-4C84-AD9A-773E485E5357}" destId="{AF5E8059-F72A-44DC-B777-357F1B9FD117}" srcOrd="5" destOrd="0" presId="urn:microsoft.com/office/officeart/2005/8/layout/process2"/>
    <dgm:cxn modelId="{5B40B2B2-52EA-475F-B1AF-93A16B345EA2}" type="presParOf" srcId="{AF5E8059-F72A-44DC-B777-357F1B9FD117}" destId="{8773A8FE-ACBF-4939-ABBF-3ED453CBE21D}" srcOrd="0" destOrd="0" presId="urn:microsoft.com/office/officeart/2005/8/layout/process2"/>
    <dgm:cxn modelId="{68B61331-58D0-41CB-BCAE-6CE01DD6A4FB}" type="presParOf" srcId="{B8B54FA8-9218-4C84-AD9A-773E485E5357}" destId="{EB9B901E-FF11-4BFE-888E-FC8B32146952}" srcOrd="6" destOrd="0" presId="urn:microsoft.com/office/officeart/2005/8/layout/process2"/>
    <dgm:cxn modelId="{B3373ACC-6519-4B96-BD26-C0B586C297A1}" type="presParOf" srcId="{B8B54FA8-9218-4C84-AD9A-773E485E5357}" destId="{F7598653-C328-4251-ABB7-BD1F2E0E118F}" srcOrd="7" destOrd="0" presId="urn:microsoft.com/office/officeart/2005/8/layout/process2"/>
    <dgm:cxn modelId="{CEEA4303-C13A-4805-8354-71668D661FE2}" type="presParOf" srcId="{F7598653-C328-4251-ABB7-BD1F2E0E118F}" destId="{2BE3911E-2B5A-40EF-B5A3-D8C08D7BF43A}" srcOrd="0" destOrd="0" presId="urn:microsoft.com/office/officeart/2005/8/layout/process2"/>
    <dgm:cxn modelId="{D4058BFF-5FDF-450D-B3FE-F44A06753C78}" type="presParOf" srcId="{B8B54FA8-9218-4C84-AD9A-773E485E5357}" destId="{75651BCD-2EF8-4767-9640-1562EF879097}" srcOrd="8" destOrd="0" presId="urn:microsoft.com/office/officeart/2005/8/layout/process2"/>
    <dgm:cxn modelId="{48B890AE-F37F-43A8-A38A-9596FB5121D4}" type="presParOf" srcId="{B8B54FA8-9218-4C84-AD9A-773E485E5357}" destId="{F8328003-499C-486F-AA58-7D3BD2D1895C}" srcOrd="9" destOrd="0" presId="urn:microsoft.com/office/officeart/2005/8/layout/process2"/>
    <dgm:cxn modelId="{E45BC5C5-0321-4B57-B191-3BFB226B684D}" type="presParOf" srcId="{F8328003-499C-486F-AA58-7D3BD2D1895C}" destId="{0BF05E59-13F4-431A-9B43-92E4F5ACC992}" srcOrd="0" destOrd="0" presId="urn:microsoft.com/office/officeart/2005/8/layout/process2"/>
    <dgm:cxn modelId="{6C490AAE-B4EE-4927-BDB1-8DC21D0C27D7}" type="presParOf" srcId="{B8B54FA8-9218-4C84-AD9A-773E485E5357}" destId="{F480A642-B27E-45C5-BAB1-9A76E2BA324D}" srcOrd="10" destOrd="0" presId="urn:microsoft.com/office/officeart/2005/8/layout/process2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A6134FA-B283-40EB-A357-64D3B1DF33DC}" type="doc">
      <dgm:prSet loTypeId="urn:microsoft.com/office/officeart/2005/8/layout/process5" loCatId="process" qsTypeId="urn:microsoft.com/office/officeart/2005/8/quickstyle/simple1" qsCatId="simple" csTypeId="urn:microsoft.com/office/officeart/2005/8/colors/accent4_3" csCatId="accent4" phldr="1"/>
      <dgm:spPr/>
      <dgm:t>
        <a:bodyPr/>
        <a:lstStyle/>
        <a:p>
          <a:endParaRPr lang="en-CA"/>
        </a:p>
      </dgm:t>
    </dgm:pt>
    <dgm:pt modelId="{FCEB1020-9D39-4093-AA7A-8CF6036D5A3D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/>
            <a:t>TF-IDF</a:t>
          </a:r>
          <a:endParaRPr lang="en-CA" dirty="0"/>
        </a:p>
      </dgm:t>
    </dgm:pt>
    <dgm:pt modelId="{4C5AAFA2-5081-41BE-977F-3A9C4CBAAE4D}" type="parTrans" cxnId="{53F18AA3-D9BB-4424-913E-D017EEB44934}">
      <dgm:prSet/>
      <dgm:spPr/>
      <dgm:t>
        <a:bodyPr/>
        <a:lstStyle/>
        <a:p>
          <a:endParaRPr lang="en-CA"/>
        </a:p>
      </dgm:t>
    </dgm:pt>
    <dgm:pt modelId="{BB9CF8F9-B05F-4D5D-ABB6-BBFF141A3A66}" type="sibTrans" cxnId="{53F18AA3-D9BB-4424-913E-D017EEB44934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CA" dirty="0"/>
        </a:p>
      </dgm:t>
    </dgm:pt>
    <dgm:pt modelId="{6039960E-57D6-44E9-9E54-345DB92B67A1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/>
            <a:t>LDA</a:t>
          </a:r>
          <a:endParaRPr lang="en-CA" dirty="0"/>
        </a:p>
      </dgm:t>
    </dgm:pt>
    <dgm:pt modelId="{56BF0EC5-0357-4889-B01F-BD34CF651958}" type="parTrans" cxnId="{7CCCDE9A-A0A9-431A-94F5-BEF68626F290}">
      <dgm:prSet/>
      <dgm:spPr/>
      <dgm:t>
        <a:bodyPr/>
        <a:lstStyle/>
        <a:p>
          <a:endParaRPr lang="en-CA"/>
        </a:p>
      </dgm:t>
    </dgm:pt>
    <dgm:pt modelId="{28D9A489-A981-4700-8C13-A85A9CED637B}" type="sibTrans" cxnId="{7CCCDE9A-A0A9-431A-94F5-BEF68626F29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CA" dirty="0"/>
        </a:p>
      </dgm:t>
    </dgm:pt>
    <dgm:pt modelId="{7A0BEECC-C0BB-44C5-95C8-99A73F4696DD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/>
            <a:t>Overall Topic Models</a:t>
          </a:r>
          <a:endParaRPr lang="en-CA" dirty="0"/>
        </a:p>
      </dgm:t>
    </dgm:pt>
    <dgm:pt modelId="{97F7120C-9519-4AD5-A50F-464EA46A0312}" type="parTrans" cxnId="{599AABB6-E65A-43F9-A9BE-A5DE04FE4182}">
      <dgm:prSet/>
      <dgm:spPr/>
      <dgm:t>
        <a:bodyPr/>
        <a:lstStyle/>
        <a:p>
          <a:endParaRPr lang="en-CA"/>
        </a:p>
      </dgm:t>
    </dgm:pt>
    <dgm:pt modelId="{D020D5BE-74B0-47BD-89A0-39B786A866AA}" type="sibTrans" cxnId="{599AABB6-E65A-43F9-A9BE-A5DE04FE4182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CA" dirty="0"/>
        </a:p>
      </dgm:t>
    </dgm:pt>
    <dgm:pt modelId="{A52704BB-9398-4B19-B0A1-CA9BBDAF01D3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/>
            <a:t>Books Topic Model</a:t>
          </a:r>
          <a:endParaRPr lang="en-CA" dirty="0"/>
        </a:p>
      </dgm:t>
    </dgm:pt>
    <dgm:pt modelId="{B962EC5F-B332-4DA7-8207-B93CD8DD771F}" type="parTrans" cxnId="{0764BE90-D8D0-4EA1-85CE-F9BDE2954164}">
      <dgm:prSet/>
      <dgm:spPr/>
      <dgm:t>
        <a:bodyPr/>
        <a:lstStyle/>
        <a:p>
          <a:endParaRPr lang="en-CA"/>
        </a:p>
      </dgm:t>
    </dgm:pt>
    <dgm:pt modelId="{7D84073F-382B-49E7-8CB0-E9E2B0BEE871}" type="sibTrans" cxnId="{0764BE90-D8D0-4EA1-85CE-F9BDE2954164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CA" dirty="0"/>
        </a:p>
      </dgm:t>
    </dgm:pt>
    <dgm:pt modelId="{2E09F521-9294-431E-8B35-2C6A6012D6B6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/>
            <a:t>Home &amp; Kitchen Topic Model</a:t>
          </a:r>
          <a:endParaRPr lang="en-CA" dirty="0"/>
        </a:p>
      </dgm:t>
    </dgm:pt>
    <dgm:pt modelId="{5BE0ECBD-E9CF-4366-A7B2-0D6919C55211}" type="parTrans" cxnId="{F02DA53B-3C11-4FF6-831F-6D48878CDC0F}">
      <dgm:prSet/>
      <dgm:spPr/>
      <dgm:t>
        <a:bodyPr/>
        <a:lstStyle/>
        <a:p>
          <a:endParaRPr lang="en-CA"/>
        </a:p>
      </dgm:t>
    </dgm:pt>
    <dgm:pt modelId="{D8ABE2B0-88E2-40DD-B6A3-214DA54AFDD0}" type="sibTrans" cxnId="{F02DA53B-3C11-4FF6-831F-6D48878CDC0F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CA" dirty="0"/>
        </a:p>
      </dgm:t>
    </dgm:pt>
    <dgm:pt modelId="{0ECBCB9A-E4D2-473E-89B1-FF42F932138A}">
      <dgm:prSet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/>
            <a:t>Video Games Topic Models</a:t>
          </a:r>
          <a:endParaRPr lang="en-CA" dirty="0"/>
        </a:p>
      </dgm:t>
    </dgm:pt>
    <dgm:pt modelId="{944D0C96-3B66-4363-ACBE-2D56FBCCC6CE}" type="parTrans" cxnId="{651BEF93-8873-409F-8086-11B82A90891B}">
      <dgm:prSet/>
      <dgm:spPr/>
      <dgm:t>
        <a:bodyPr/>
        <a:lstStyle/>
        <a:p>
          <a:endParaRPr lang="en-CA"/>
        </a:p>
      </dgm:t>
    </dgm:pt>
    <dgm:pt modelId="{25ADA3E5-4983-43E6-BF2C-36819B88C958}" type="sibTrans" cxnId="{651BEF93-8873-409F-8086-11B82A90891B}">
      <dgm:prSet/>
      <dgm:spPr/>
      <dgm:t>
        <a:bodyPr/>
        <a:lstStyle/>
        <a:p>
          <a:endParaRPr lang="en-CA"/>
        </a:p>
      </dgm:t>
    </dgm:pt>
    <dgm:pt modelId="{F562F420-571B-44BD-AC8D-5A395F437B73}" type="pres">
      <dgm:prSet presAssocID="{0A6134FA-B283-40EB-A357-64D3B1DF33DC}" presName="diagram" presStyleCnt="0">
        <dgm:presLayoutVars>
          <dgm:dir/>
          <dgm:resizeHandles val="exact"/>
        </dgm:presLayoutVars>
      </dgm:prSet>
      <dgm:spPr/>
    </dgm:pt>
    <dgm:pt modelId="{6A2C526E-2C6D-4CC4-AF4F-2C431851B101}" type="pres">
      <dgm:prSet presAssocID="{FCEB1020-9D39-4093-AA7A-8CF6036D5A3D}" presName="node" presStyleLbl="node1" presStyleIdx="0" presStyleCnt="6" custLinFactNeighborX="-618">
        <dgm:presLayoutVars>
          <dgm:bulletEnabled val="1"/>
        </dgm:presLayoutVars>
      </dgm:prSet>
      <dgm:spPr/>
    </dgm:pt>
    <dgm:pt modelId="{FA98C883-CA06-4611-8CB0-4892204FD90D}" type="pres">
      <dgm:prSet presAssocID="{BB9CF8F9-B05F-4D5D-ABB6-BBFF141A3A66}" presName="sibTrans" presStyleLbl="sibTrans2D1" presStyleIdx="0" presStyleCnt="5"/>
      <dgm:spPr/>
    </dgm:pt>
    <dgm:pt modelId="{CCD2BDA0-C6FC-40C4-A141-0AB331838E83}" type="pres">
      <dgm:prSet presAssocID="{BB9CF8F9-B05F-4D5D-ABB6-BBFF141A3A66}" presName="connectorText" presStyleLbl="sibTrans2D1" presStyleIdx="0" presStyleCnt="5"/>
      <dgm:spPr/>
    </dgm:pt>
    <dgm:pt modelId="{F8E865F8-23AA-4AEE-9BE3-77B501046FBF}" type="pres">
      <dgm:prSet presAssocID="{6039960E-57D6-44E9-9E54-345DB92B67A1}" presName="node" presStyleLbl="node1" presStyleIdx="1" presStyleCnt="6">
        <dgm:presLayoutVars>
          <dgm:bulletEnabled val="1"/>
        </dgm:presLayoutVars>
      </dgm:prSet>
      <dgm:spPr/>
    </dgm:pt>
    <dgm:pt modelId="{00409E32-772D-455D-92C7-140665790339}" type="pres">
      <dgm:prSet presAssocID="{28D9A489-A981-4700-8C13-A85A9CED637B}" presName="sibTrans" presStyleLbl="sibTrans2D1" presStyleIdx="1" presStyleCnt="5"/>
      <dgm:spPr/>
    </dgm:pt>
    <dgm:pt modelId="{E5D87CD1-9490-4210-B8DF-8D9B5B90923A}" type="pres">
      <dgm:prSet presAssocID="{28D9A489-A981-4700-8C13-A85A9CED637B}" presName="connectorText" presStyleLbl="sibTrans2D1" presStyleIdx="1" presStyleCnt="5"/>
      <dgm:spPr/>
    </dgm:pt>
    <dgm:pt modelId="{738533CC-EF0C-42DF-BDF2-F0DE2B01C7CF}" type="pres">
      <dgm:prSet presAssocID="{7A0BEECC-C0BB-44C5-95C8-99A73F4696DD}" presName="node" presStyleLbl="node1" presStyleIdx="2" presStyleCnt="6">
        <dgm:presLayoutVars>
          <dgm:bulletEnabled val="1"/>
        </dgm:presLayoutVars>
      </dgm:prSet>
      <dgm:spPr/>
    </dgm:pt>
    <dgm:pt modelId="{1CF70100-4797-4858-879B-A16DF159DA1A}" type="pres">
      <dgm:prSet presAssocID="{D020D5BE-74B0-47BD-89A0-39B786A866AA}" presName="sibTrans" presStyleLbl="sibTrans2D1" presStyleIdx="2" presStyleCnt="5"/>
      <dgm:spPr/>
    </dgm:pt>
    <dgm:pt modelId="{5124AA19-60D8-4745-B4B6-3880262DC10D}" type="pres">
      <dgm:prSet presAssocID="{D020D5BE-74B0-47BD-89A0-39B786A866AA}" presName="connectorText" presStyleLbl="sibTrans2D1" presStyleIdx="2" presStyleCnt="5"/>
      <dgm:spPr/>
    </dgm:pt>
    <dgm:pt modelId="{4FD23946-E526-4F24-A80A-94B35CCDBAD8}" type="pres">
      <dgm:prSet presAssocID="{A52704BB-9398-4B19-B0A1-CA9BBDAF01D3}" presName="node" presStyleLbl="node1" presStyleIdx="3" presStyleCnt="6">
        <dgm:presLayoutVars>
          <dgm:bulletEnabled val="1"/>
        </dgm:presLayoutVars>
      </dgm:prSet>
      <dgm:spPr/>
    </dgm:pt>
    <dgm:pt modelId="{07719A74-FCAB-4271-B025-D30E739DEC9B}" type="pres">
      <dgm:prSet presAssocID="{7D84073F-382B-49E7-8CB0-E9E2B0BEE871}" presName="sibTrans" presStyleLbl="sibTrans2D1" presStyleIdx="3" presStyleCnt="5"/>
      <dgm:spPr/>
    </dgm:pt>
    <dgm:pt modelId="{DE8C0A03-20EA-456A-B122-B9ADC187AEC9}" type="pres">
      <dgm:prSet presAssocID="{7D84073F-382B-49E7-8CB0-E9E2B0BEE871}" presName="connectorText" presStyleLbl="sibTrans2D1" presStyleIdx="3" presStyleCnt="5"/>
      <dgm:spPr/>
    </dgm:pt>
    <dgm:pt modelId="{916F1A97-9771-4FE7-B0D1-0A35B77A2780}" type="pres">
      <dgm:prSet presAssocID="{2E09F521-9294-431E-8B35-2C6A6012D6B6}" presName="node" presStyleLbl="node1" presStyleIdx="4" presStyleCnt="6">
        <dgm:presLayoutVars>
          <dgm:bulletEnabled val="1"/>
        </dgm:presLayoutVars>
      </dgm:prSet>
      <dgm:spPr/>
    </dgm:pt>
    <dgm:pt modelId="{76EEEA15-2130-44B8-80E0-F53014AF6F1B}" type="pres">
      <dgm:prSet presAssocID="{D8ABE2B0-88E2-40DD-B6A3-214DA54AFDD0}" presName="sibTrans" presStyleLbl="sibTrans2D1" presStyleIdx="4" presStyleCnt="5"/>
      <dgm:spPr/>
    </dgm:pt>
    <dgm:pt modelId="{0E131069-B3E6-4E81-B6A6-B6FB34724363}" type="pres">
      <dgm:prSet presAssocID="{D8ABE2B0-88E2-40DD-B6A3-214DA54AFDD0}" presName="connectorText" presStyleLbl="sibTrans2D1" presStyleIdx="4" presStyleCnt="5"/>
      <dgm:spPr/>
    </dgm:pt>
    <dgm:pt modelId="{D255F2C7-33B2-41A2-9A76-8D244C112315}" type="pres">
      <dgm:prSet presAssocID="{0ECBCB9A-E4D2-473E-89B1-FF42F932138A}" presName="node" presStyleLbl="node1" presStyleIdx="5" presStyleCnt="6">
        <dgm:presLayoutVars>
          <dgm:bulletEnabled val="1"/>
        </dgm:presLayoutVars>
      </dgm:prSet>
      <dgm:spPr/>
    </dgm:pt>
  </dgm:ptLst>
  <dgm:cxnLst>
    <dgm:cxn modelId="{66227900-49FE-4EE6-A0B0-FB9A22B2625B}" type="presOf" srcId="{BB9CF8F9-B05F-4D5D-ABB6-BBFF141A3A66}" destId="{CCD2BDA0-C6FC-40C4-A141-0AB331838E83}" srcOrd="1" destOrd="0" presId="urn:microsoft.com/office/officeart/2005/8/layout/process5"/>
    <dgm:cxn modelId="{517B7502-59DF-40CE-B328-8AAA85F4109C}" type="presOf" srcId="{0A6134FA-B283-40EB-A357-64D3B1DF33DC}" destId="{F562F420-571B-44BD-AC8D-5A395F437B73}" srcOrd="0" destOrd="0" presId="urn:microsoft.com/office/officeart/2005/8/layout/process5"/>
    <dgm:cxn modelId="{F0E7D80C-D076-4485-9B36-1BFD04C01DAD}" type="presOf" srcId="{6039960E-57D6-44E9-9E54-345DB92B67A1}" destId="{F8E865F8-23AA-4AEE-9BE3-77B501046FBF}" srcOrd="0" destOrd="0" presId="urn:microsoft.com/office/officeart/2005/8/layout/process5"/>
    <dgm:cxn modelId="{D0E4740E-6234-463F-A114-719EAEEEEDA8}" type="presOf" srcId="{D8ABE2B0-88E2-40DD-B6A3-214DA54AFDD0}" destId="{0E131069-B3E6-4E81-B6A6-B6FB34724363}" srcOrd="1" destOrd="0" presId="urn:microsoft.com/office/officeart/2005/8/layout/process5"/>
    <dgm:cxn modelId="{AD00172A-480B-4184-90D6-0CFD86562448}" type="presOf" srcId="{D020D5BE-74B0-47BD-89A0-39B786A866AA}" destId="{5124AA19-60D8-4745-B4B6-3880262DC10D}" srcOrd="1" destOrd="0" presId="urn:microsoft.com/office/officeart/2005/8/layout/process5"/>
    <dgm:cxn modelId="{06CE1A2B-BF0A-4F33-8D69-B2F2E9DCD6DF}" type="presOf" srcId="{2E09F521-9294-431E-8B35-2C6A6012D6B6}" destId="{916F1A97-9771-4FE7-B0D1-0A35B77A2780}" srcOrd="0" destOrd="0" presId="urn:microsoft.com/office/officeart/2005/8/layout/process5"/>
    <dgm:cxn modelId="{F02DA53B-3C11-4FF6-831F-6D48878CDC0F}" srcId="{0A6134FA-B283-40EB-A357-64D3B1DF33DC}" destId="{2E09F521-9294-431E-8B35-2C6A6012D6B6}" srcOrd="4" destOrd="0" parTransId="{5BE0ECBD-E9CF-4366-A7B2-0D6919C55211}" sibTransId="{D8ABE2B0-88E2-40DD-B6A3-214DA54AFDD0}"/>
    <dgm:cxn modelId="{081AB83C-8867-4700-9871-6A34004AA912}" type="presOf" srcId="{7D84073F-382B-49E7-8CB0-E9E2B0BEE871}" destId="{DE8C0A03-20EA-456A-B122-B9ADC187AEC9}" srcOrd="1" destOrd="0" presId="urn:microsoft.com/office/officeart/2005/8/layout/process5"/>
    <dgm:cxn modelId="{6F2FB363-BE3A-4260-A09E-2EC67460E243}" type="presOf" srcId="{A52704BB-9398-4B19-B0A1-CA9BBDAF01D3}" destId="{4FD23946-E526-4F24-A80A-94B35CCDBAD8}" srcOrd="0" destOrd="0" presId="urn:microsoft.com/office/officeart/2005/8/layout/process5"/>
    <dgm:cxn modelId="{2EA4986D-D798-4692-9925-FE272F858F76}" type="presOf" srcId="{7A0BEECC-C0BB-44C5-95C8-99A73F4696DD}" destId="{738533CC-EF0C-42DF-BDF2-F0DE2B01C7CF}" srcOrd="0" destOrd="0" presId="urn:microsoft.com/office/officeart/2005/8/layout/process5"/>
    <dgm:cxn modelId="{F683B871-2C4F-40E7-BC8F-38464572A9E4}" type="presOf" srcId="{28D9A489-A981-4700-8C13-A85A9CED637B}" destId="{00409E32-772D-455D-92C7-140665790339}" srcOrd="0" destOrd="0" presId="urn:microsoft.com/office/officeart/2005/8/layout/process5"/>
    <dgm:cxn modelId="{18AF338B-20B6-428C-9448-461B594F2B1A}" type="presOf" srcId="{7D84073F-382B-49E7-8CB0-E9E2B0BEE871}" destId="{07719A74-FCAB-4271-B025-D30E739DEC9B}" srcOrd="0" destOrd="0" presId="urn:microsoft.com/office/officeart/2005/8/layout/process5"/>
    <dgm:cxn modelId="{0764BE90-D8D0-4EA1-85CE-F9BDE2954164}" srcId="{0A6134FA-B283-40EB-A357-64D3B1DF33DC}" destId="{A52704BB-9398-4B19-B0A1-CA9BBDAF01D3}" srcOrd="3" destOrd="0" parTransId="{B962EC5F-B332-4DA7-8207-B93CD8DD771F}" sibTransId="{7D84073F-382B-49E7-8CB0-E9E2B0BEE871}"/>
    <dgm:cxn modelId="{651BEF93-8873-409F-8086-11B82A90891B}" srcId="{0A6134FA-B283-40EB-A357-64D3B1DF33DC}" destId="{0ECBCB9A-E4D2-473E-89B1-FF42F932138A}" srcOrd="5" destOrd="0" parTransId="{944D0C96-3B66-4363-ACBE-2D56FBCCC6CE}" sibTransId="{25ADA3E5-4983-43E6-BF2C-36819B88C958}"/>
    <dgm:cxn modelId="{64468B96-349A-45A5-8B7B-383745A7DA54}" type="presOf" srcId="{D8ABE2B0-88E2-40DD-B6A3-214DA54AFDD0}" destId="{76EEEA15-2130-44B8-80E0-F53014AF6F1B}" srcOrd="0" destOrd="0" presId="urn:microsoft.com/office/officeart/2005/8/layout/process5"/>
    <dgm:cxn modelId="{7CCCDE9A-A0A9-431A-94F5-BEF68626F290}" srcId="{0A6134FA-B283-40EB-A357-64D3B1DF33DC}" destId="{6039960E-57D6-44E9-9E54-345DB92B67A1}" srcOrd="1" destOrd="0" parTransId="{56BF0EC5-0357-4889-B01F-BD34CF651958}" sibTransId="{28D9A489-A981-4700-8C13-A85A9CED637B}"/>
    <dgm:cxn modelId="{53F18AA3-D9BB-4424-913E-D017EEB44934}" srcId="{0A6134FA-B283-40EB-A357-64D3B1DF33DC}" destId="{FCEB1020-9D39-4093-AA7A-8CF6036D5A3D}" srcOrd="0" destOrd="0" parTransId="{4C5AAFA2-5081-41BE-977F-3A9C4CBAAE4D}" sibTransId="{BB9CF8F9-B05F-4D5D-ABB6-BBFF141A3A66}"/>
    <dgm:cxn modelId="{599AABB6-E65A-43F9-A9BE-A5DE04FE4182}" srcId="{0A6134FA-B283-40EB-A357-64D3B1DF33DC}" destId="{7A0BEECC-C0BB-44C5-95C8-99A73F4696DD}" srcOrd="2" destOrd="0" parTransId="{97F7120C-9519-4AD5-A50F-464EA46A0312}" sibTransId="{D020D5BE-74B0-47BD-89A0-39B786A866AA}"/>
    <dgm:cxn modelId="{D8F8C7D1-4197-4B86-B306-4C1151BA1240}" type="presOf" srcId="{0ECBCB9A-E4D2-473E-89B1-FF42F932138A}" destId="{D255F2C7-33B2-41A2-9A76-8D244C112315}" srcOrd="0" destOrd="0" presId="urn:microsoft.com/office/officeart/2005/8/layout/process5"/>
    <dgm:cxn modelId="{DD7E94DD-CBA7-41AC-A416-45351696C5F2}" type="presOf" srcId="{D020D5BE-74B0-47BD-89A0-39B786A866AA}" destId="{1CF70100-4797-4858-879B-A16DF159DA1A}" srcOrd="0" destOrd="0" presId="urn:microsoft.com/office/officeart/2005/8/layout/process5"/>
    <dgm:cxn modelId="{EA1D39F0-A8E5-4112-841B-37B1359247A3}" type="presOf" srcId="{FCEB1020-9D39-4093-AA7A-8CF6036D5A3D}" destId="{6A2C526E-2C6D-4CC4-AF4F-2C431851B101}" srcOrd="0" destOrd="0" presId="urn:microsoft.com/office/officeart/2005/8/layout/process5"/>
    <dgm:cxn modelId="{CBAB6CF0-A8D3-44E7-98DC-A6CA89ECEA62}" type="presOf" srcId="{28D9A489-A981-4700-8C13-A85A9CED637B}" destId="{E5D87CD1-9490-4210-B8DF-8D9B5B90923A}" srcOrd="1" destOrd="0" presId="urn:microsoft.com/office/officeart/2005/8/layout/process5"/>
    <dgm:cxn modelId="{E12696F9-241B-4847-ACC1-374991E3AC23}" type="presOf" srcId="{BB9CF8F9-B05F-4D5D-ABB6-BBFF141A3A66}" destId="{FA98C883-CA06-4611-8CB0-4892204FD90D}" srcOrd="0" destOrd="0" presId="urn:microsoft.com/office/officeart/2005/8/layout/process5"/>
    <dgm:cxn modelId="{A0FFC260-580D-4A3E-82CA-6EE3F4ACA239}" type="presParOf" srcId="{F562F420-571B-44BD-AC8D-5A395F437B73}" destId="{6A2C526E-2C6D-4CC4-AF4F-2C431851B101}" srcOrd="0" destOrd="0" presId="urn:microsoft.com/office/officeart/2005/8/layout/process5"/>
    <dgm:cxn modelId="{D7AE3E07-5FFA-4B3B-BC72-2D3A5BA932AC}" type="presParOf" srcId="{F562F420-571B-44BD-AC8D-5A395F437B73}" destId="{FA98C883-CA06-4611-8CB0-4892204FD90D}" srcOrd="1" destOrd="0" presId="urn:microsoft.com/office/officeart/2005/8/layout/process5"/>
    <dgm:cxn modelId="{B72B9CCE-C1EB-4A1A-AC8B-D88B366E0A3E}" type="presParOf" srcId="{FA98C883-CA06-4611-8CB0-4892204FD90D}" destId="{CCD2BDA0-C6FC-40C4-A141-0AB331838E83}" srcOrd="0" destOrd="0" presId="urn:microsoft.com/office/officeart/2005/8/layout/process5"/>
    <dgm:cxn modelId="{1060E2F1-F25A-4763-A488-1BADD6838D44}" type="presParOf" srcId="{F562F420-571B-44BD-AC8D-5A395F437B73}" destId="{F8E865F8-23AA-4AEE-9BE3-77B501046FBF}" srcOrd="2" destOrd="0" presId="urn:microsoft.com/office/officeart/2005/8/layout/process5"/>
    <dgm:cxn modelId="{C890A234-4F9F-462D-937B-A940B4AED5C0}" type="presParOf" srcId="{F562F420-571B-44BD-AC8D-5A395F437B73}" destId="{00409E32-772D-455D-92C7-140665790339}" srcOrd="3" destOrd="0" presId="urn:microsoft.com/office/officeart/2005/8/layout/process5"/>
    <dgm:cxn modelId="{00E9127D-8473-412A-B8C4-3D027D307F30}" type="presParOf" srcId="{00409E32-772D-455D-92C7-140665790339}" destId="{E5D87CD1-9490-4210-B8DF-8D9B5B90923A}" srcOrd="0" destOrd="0" presId="urn:microsoft.com/office/officeart/2005/8/layout/process5"/>
    <dgm:cxn modelId="{EF3D0310-7834-4DD4-80CE-0AE65EE4C8FA}" type="presParOf" srcId="{F562F420-571B-44BD-AC8D-5A395F437B73}" destId="{738533CC-EF0C-42DF-BDF2-F0DE2B01C7CF}" srcOrd="4" destOrd="0" presId="urn:microsoft.com/office/officeart/2005/8/layout/process5"/>
    <dgm:cxn modelId="{B5FC7346-FC4C-4DF1-905B-1113F036AF8E}" type="presParOf" srcId="{F562F420-571B-44BD-AC8D-5A395F437B73}" destId="{1CF70100-4797-4858-879B-A16DF159DA1A}" srcOrd="5" destOrd="0" presId="urn:microsoft.com/office/officeart/2005/8/layout/process5"/>
    <dgm:cxn modelId="{B39A9F7B-F612-41CC-97A2-36F064AA45D0}" type="presParOf" srcId="{1CF70100-4797-4858-879B-A16DF159DA1A}" destId="{5124AA19-60D8-4745-B4B6-3880262DC10D}" srcOrd="0" destOrd="0" presId="urn:microsoft.com/office/officeart/2005/8/layout/process5"/>
    <dgm:cxn modelId="{E74BACD6-3E5A-43DC-BC23-DBECF6AEEF70}" type="presParOf" srcId="{F562F420-571B-44BD-AC8D-5A395F437B73}" destId="{4FD23946-E526-4F24-A80A-94B35CCDBAD8}" srcOrd="6" destOrd="0" presId="urn:microsoft.com/office/officeart/2005/8/layout/process5"/>
    <dgm:cxn modelId="{AADED17D-8C53-4ED6-85AF-627B1B18FE93}" type="presParOf" srcId="{F562F420-571B-44BD-AC8D-5A395F437B73}" destId="{07719A74-FCAB-4271-B025-D30E739DEC9B}" srcOrd="7" destOrd="0" presId="urn:microsoft.com/office/officeart/2005/8/layout/process5"/>
    <dgm:cxn modelId="{4BC32222-424D-49E8-AA1C-B8BDC03AAC83}" type="presParOf" srcId="{07719A74-FCAB-4271-B025-D30E739DEC9B}" destId="{DE8C0A03-20EA-456A-B122-B9ADC187AEC9}" srcOrd="0" destOrd="0" presId="urn:microsoft.com/office/officeart/2005/8/layout/process5"/>
    <dgm:cxn modelId="{F3285653-630C-4EAD-8C74-9E1A659A0918}" type="presParOf" srcId="{F562F420-571B-44BD-AC8D-5A395F437B73}" destId="{916F1A97-9771-4FE7-B0D1-0A35B77A2780}" srcOrd="8" destOrd="0" presId="urn:microsoft.com/office/officeart/2005/8/layout/process5"/>
    <dgm:cxn modelId="{FCB1E024-131D-4D77-B4F5-AC3880410BAD}" type="presParOf" srcId="{F562F420-571B-44BD-AC8D-5A395F437B73}" destId="{76EEEA15-2130-44B8-80E0-F53014AF6F1B}" srcOrd="9" destOrd="0" presId="urn:microsoft.com/office/officeart/2005/8/layout/process5"/>
    <dgm:cxn modelId="{A49BA678-6DFA-47DF-9F63-12D482246CBB}" type="presParOf" srcId="{76EEEA15-2130-44B8-80E0-F53014AF6F1B}" destId="{0E131069-B3E6-4E81-B6A6-B6FB34724363}" srcOrd="0" destOrd="0" presId="urn:microsoft.com/office/officeart/2005/8/layout/process5"/>
    <dgm:cxn modelId="{B6B71759-58B1-4597-B8CC-B92AC94E29CA}" type="presParOf" srcId="{F562F420-571B-44BD-AC8D-5A395F437B73}" destId="{D255F2C7-33B2-41A2-9A76-8D244C112315}" srcOrd="10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E7BBA6-981C-408D-B166-F47302396D44}">
      <dsp:nvSpPr>
        <dsp:cNvPr id="0" name=""/>
        <dsp:cNvSpPr/>
      </dsp:nvSpPr>
      <dsp:spPr>
        <a:xfrm>
          <a:off x="4513" y="447079"/>
          <a:ext cx="1349166" cy="80949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400" b="1" kern="1200" dirty="0"/>
            <a:t>Lowercase</a:t>
          </a:r>
        </a:p>
      </dsp:txBody>
      <dsp:txXfrm>
        <a:off x="28222" y="470788"/>
        <a:ext cx="1301748" cy="762081"/>
      </dsp:txXfrm>
    </dsp:sp>
    <dsp:sp modelId="{93F5FA66-A912-42D3-807F-3BDA4966F25F}">
      <dsp:nvSpPr>
        <dsp:cNvPr id="0" name=""/>
        <dsp:cNvSpPr/>
      </dsp:nvSpPr>
      <dsp:spPr>
        <a:xfrm>
          <a:off x="1472406" y="684532"/>
          <a:ext cx="286023" cy="33459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75000"/>
          </a:schemeClr>
        </a:solidFill>
        <a:ln w="12700" cap="flat" cmpd="sng" algn="ctr">
          <a:solidFill>
            <a:schemeClr val="bg2">
              <a:lumMod val="50000"/>
            </a:schemeClr>
          </a:solidFill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200" b="1" kern="1200" dirty="0"/>
        </a:p>
      </dsp:txBody>
      <dsp:txXfrm>
        <a:off x="1472406" y="751451"/>
        <a:ext cx="200216" cy="200755"/>
      </dsp:txXfrm>
    </dsp:sp>
    <dsp:sp modelId="{D73B2FD7-B82B-4C27-A27A-6BC43639EAEB}">
      <dsp:nvSpPr>
        <dsp:cNvPr id="0" name=""/>
        <dsp:cNvSpPr/>
      </dsp:nvSpPr>
      <dsp:spPr>
        <a:xfrm>
          <a:off x="1893346" y="447079"/>
          <a:ext cx="1349166" cy="80949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400" b="1" kern="1200" dirty="0"/>
            <a:t>Remove HTML</a:t>
          </a:r>
        </a:p>
      </dsp:txBody>
      <dsp:txXfrm>
        <a:off x="1917055" y="470788"/>
        <a:ext cx="1301748" cy="762081"/>
      </dsp:txXfrm>
    </dsp:sp>
    <dsp:sp modelId="{DC60A24C-C3AA-4EA3-9E6A-6F8569BDF837}">
      <dsp:nvSpPr>
        <dsp:cNvPr id="0" name=""/>
        <dsp:cNvSpPr/>
      </dsp:nvSpPr>
      <dsp:spPr>
        <a:xfrm>
          <a:off x="3361239" y="684532"/>
          <a:ext cx="286023" cy="33459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75000"/>
          </a:schemeClr>
        </a:solidFill>
        <a:ln w="12700" cap="flat" cmpd="sng" algn="ctr">
          <a:solidFill>
            <a:schemeClr val="bg2">
              <a:lumMod val="50000"/>
            </a:schemeClr>
          </a:solidFill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200" b="1" kern="1200" dirty="0"/>
        </a:p>
      </dsp:txBody>
      <dsp:txXfrm>
        <a:off x="3361239" y="751451"/>
        <a:ext cx="200216" cy="200755"/>
      </dsp:txXfrm>
    </dsp:sp>
    <dsp:sp modelId="{9659A698-262C-4059-962B-5C10ADAFFCA4}">
      <dsp:nvSpPr>
        <dsp:cNvPr id="0" name=""/>
        <dsp:cNvSpPr/>
      </dsp:nvSpPr>
      <dsp:spPr>
        <a:xfrm>
          <a:off x="3782178" y="447079"/>
          <a:ext cx="1349166" cy="80949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400" b="1" kern="1200" dirty="0"/>
            <a:t>Remove punctuations</a:t>
          </a:r>
        </a:p>
      </dsp:txBody>
      <dsp:txXfrm>
        <a:off x="3805887" y="470788"/>
        <a:ext cx="1301748" cy="762081"/>
      </dsp:txXfrm>
    </dsp:sp>
    <dsp:sp modelId="{6E732422-8200-4BE0-9E67-102681462A7C}">
      <dsp:nvSpPr>
        <dsp:cNvPr id="0" name=""/>
        <dsp:cNvSpPr/>
      </dsp:nvSpPr>
      <dsp:spPr>
        <a:xfrm rot="5400000">
          <a:off x="4313750" y="1351020"/>
          <a:ext cx="286023" cy="33459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75000"/>
          </a:schemeClr>
        </a:solidFill>
        <a:ln w="12700" cap="flat" cmpd="sng" algn="ctr">
          <a:solidFill>
            <a:schemeClr val="bg2">
              <a:lumMod val="50000"/>
            </a:schemeClr>
          </a:solidFill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200" b="1" kern="1200" dirty="0"/>
        </a:p>
      </dsp:txBody>
      <dsp:txXfrm rot="-5400000">
        <a:off x="4356385" y="1375305"/>
        <a:ext cx="200755" cy="200216"/>
      </dsp:txXfrm>
    </dsp:sp>
    <dsp:sp modelId="{1C8B61BB-0450-4F0C-BAAF-893B13F749C1}">
      <dsp:nvSpPr>
        <dsp:cNvPr id="0" name=""/>
        <dsp:cNvSpPr/>
      </dsp:nvSpPr>
      <dsp:spPr>
        <a:xfrm>
          <a:off x="3782178" y="1796245"/>
          <a:ext cx="1349166" cy="80949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Remove multiple spaces</a:t>
          </a:r>
          <a:endParaRPr lang="en-CA" sz="1400" b="1" kern="1200" dirty="0"/>
        </a:p>
      </dsp:txBody>
      <dsp:txXfrm>
        <a:off x="3805887" y="1819954"/>
        <a:ext cx="1301748" cy="762081"/>
      </dsp:txXfrm>
    </dsp:sp>
    <dsp:sp modelId="{27130080-C7CF-4D9C-ADB9-3D86A0F71969}">
      <dsp:nvSpPr>
        <dsp:cNvPr id="0" name=""/>
        <dsp:cNvSpPr/>
      </dsp:nvSpPr>
      <dsp:spPr>
        <a:xfrm rot="10800000">
          <a:off x="3377429" y="2033698"/>
          <a:ext cx="286023" cy="33459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75000"/>
          </a:schemeClr>
        </a:solidFill>
        <a:ln w="12700" cap="flat" cmpd="sng" algn="ctr">
          <a:solidFill>
            <a:schemeClr val="bg2">
              <a:lumMod val="50000"/>
            </a:schemeClr>
          </a:solidFill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200" b="1" kern="1200" dirty="0"/>
        </a:p>
      </dsp:txBody>
      <dsp:txXfrm rot="10800000">
        <a:off x="3463236" y="2100617"/>
        <a:ext cx="200216" cy="200755"/>
      </dsp:txXfrm>
    </dsp:sp>
    <dsp:sp modelId="{2C90B425-CFF7-4992-BEF1-B8115B3B1B14}">
      <dsp:nvSpPr>
        <dsp:cNvPr id="0" name=""/>
        <dsp:cNvSpPr/>
      </dsp:nvSpPr>
      <dsp:spPr>
        <a:xfrm>
          <a:off x="1893346" y="1796245"/>
          <a:ext cx="1349166" cy="80949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Regex Tokenizer (Letters only)</a:t>
          </a:r>
          <a:endParaRPr lang="en-CA" sz="1400" b="1" kern="1200" dirty="0"/>
        </a:p>
      </dsp:txBody>
      <dsp:txXfrm>
        <a:off x="1917055" y="1819954"/>
        <a:ext cx="1301748" cy="762081"/>
      </dsp:txXfrm>
    </dsp:sp>
    <dsp:sp modelId="{65869636-7B5E-414F-988B-8650268C4AAF}">
      <dsp:nvSpPr>
        <dsp:cNvPr id="0" name=""/>
        <dsp:cNvSpPr/>
      </dsp:nvSpPr>
      <dsp:spPr>
        <a:xfrm rot="10800000">
          <a:off x="1488596" y="2033698"/>
          <a:ext cx="286023" cy="33459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75000"/>
          </a:schemeClr>
        </a:solidFill>
        <a:ln w="12700" cap="flat" cmpd="sng" algn="ctr">
          <a:solidFill>
            <a:schemeClr val="bg2">
              <a:lumMod val="50000"/>
            </a:schemeClr>
          </a:solidFill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200" b="1" kern="1200" dirty="0"/>
        </a:p>
      </dsp:txBody>
      <dsp:txXfrm rot="10800000">
        <a:off x="1574403" y="2100617"/>
        <a:ext cx="200216" cy="200755"/>
      </dsp:txXfrm>
    </dsp:sp>
    <dsp:sp modelId="{EA72A54F-B142-4361-B1D9-33E557CFD0A8}">
      <dsp:nvSpPr>
        <dsp:cNvPr id="0" name=""/>
        <dsp:cNvSpPr/>
      </dsp:nvSpPr>
      <dsp:spPr>
        <a:xfrm>
          <a:off x="4513" y="1796245"/>
          <a:ext cx="1349166" cy="80949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Lemmatizer</a:t>
          </a:r>
          <a:endParaRPr lang="en-CA" sz="1400" b="1" kern="1200" dirty="0"/>
        </a:p>
      </dsp:txBody>
      <dsp:txXfrm>
        <a:off x="28222" y="1819954"/>
        <a:ext cx="1301748" cy="762081"/>
      </dsp:txXfrm>
    </dsp:sp>
    <dsp:sp modelId="{D9CAEF67-CC0B-44BA-9CF8-68B535709FFB}">
      <dsp:nvSpPr>
        <dsp:cNvPr id="0" name=""/>
        <dsp:cNvSpPr/>
      </dsp:nvSpPr>
      <dsp:spPr>
        <a:xfrm rot="5400000">
          <a:off x="653386" y="2700186"/>
          <a:ext cx="290590" cy="33459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75000"/>
          </a:schemeClr>
        </a:solidFill>
        <a:ln w="12700" cap="flat" cmpd="sng" algn="ctr">
          <a:solidFill>
            <a:schemeClr val="bg2">
              <a:lumMod val="50000"/>
            </a:schemeClr>
          </a:solidFill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200" b="1" kern="1200" dirty="0"/>
        </a:p>
      </dsp:txBody>
      <dsp:txXfrm rot="-5400000">
        <a:off x="698304" y="2722188"/>
        <a:ext cx="200755" cy="203413"/>
      </dsp:txXfrm>
    </dsp:sp>
    <dsp:sp modelId="{675AE93D-979D-4647-9CEA-45FB9DC15B8E}">
      <dsp:nvSpPr>
        <dsp:cNvPr id="0" name=""/>
        <dsp:cNvSpPr/>
      </dsp:nvSpPr>
      <dsp:spPr>
        <a:xfrm>
          <a:off x="4513" y="3145411"/>
          <a:ext cx="1833314" cy="80949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Part of Speech Tagging &amp; Chunking</a:t>
          </a:r>
          <a:endParaRPr lang="en-CA" sz="1400" b="1" kern="1200" dirty="0"/>
        </a:p>
      </dsp:txBody>
      <dsp:txXfrm>
        <a:off x="28222" y="3169120"/>
        <a:ext cx="1785896" cy="762081"/>
      </dsp:txXfrm>
    </dsp:sp>
    <dsp:sp modelId="{609A4A11-4F53-4F19-8983-8A9CB8F43867}">
      <dsp:nvSpPr>
        <dsp:cNvPr id="0" name=""/>
        <dsp:cNvSpPr/>
      </dsp:nvSpPr>
      <dsp:spPr>
        <a:xfrm>
          <a:off x="1956554" y="3382864"/>
          <a:ext cx="286023" cy="33459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75000"/>
          </a:schemeClr>
        </a:solidFill>
        <a:ln w="12700" cap="flat" cmpd="sng" algn="ctr">
          <a:solidFill>
            <a:schemeClr val="bg2">
              <a:lumMod val="50000"/>
            </a:schemeClr>
          </a:solidFill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200" b="1" kern="1200" dirty="0"/>
        </a:p>
      </dsp:txBody>
      <dsp:txXfrm>
        <a:off x="1956554" y="3449783"/>
        <a:ext cx="200216" cy="200755"/>
      </dsp:txXfrm>
    </dsp:sp>
    <dsp:sp modelId="{52D5CFB9-DAB8-465F-892F-665D8FD4B304}">
      <dsp:nvSpPr>
        <dsp:cNvPr id="0" name=""/>
        <dsp:cNvSpPr/>
      </dsp:nvSpPr>
      <dsp:spPr>
        <a:xfrm>
          <a:off x="2377494" y="3145411"/>
          <a:ext cx="2189413" cy="80949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Stop Word removal (English, French, Spanish) </a:t>
          </a:r>
          <a:endParaRPr lang="en-CA" sz="1400" b="1" kern="1200" dirty="0"/>
        </a:p>
      </dsp:txBody>
      <dsp:txXfrm>
        <a:off x="2401203" y="3169120"/>
        <a:ext cx="2141995" cy="76208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E76C84-83FF-4B5D-838B-7CD7370D9AF4}">
      <dsp:nvSpPr>
        <dsp:cNvPr id="0" name=""/>
        <dsp:cNvSpPr/>
      </dsp:nvSpPr>
      <dsp:spPr>
        <a:xfrm>
          <a:off x="1938183" y="0"/>
          <a:ext cx="2719330" cy="766892"/>
        </a:xfrm>
        <a:prstGeom prst="ellipse">
          <a:avLst/>
        </a:prstGeom>
        <a:solidFill>
          <a:schemeClr val="bg2">
            <a:lumMod val="90000"/>
            <a:alpha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E8925C-F1A9-4DA2-96ED-F570248AB014}">
      <dsp:nvSpPr>
        <dsp:cNvPr id="0" name=""/>
        <dsp:cNvSpPr/>
      </dsp:nvSpPr>
      <dsp:spPr>
        <a:xfrm>
          <a:off x="3115095" y="1838275"/>
          <a:ext cx="379889" cy="243129"/>
        </a:xfrm>
        <a:prstGeom prst="downArrow">
          <a:avLst/>
        </a:prstGeom>
        <a:solidFill>
          <a:schemeClr val="tx1">
            <a:lumMod val="75000"/>
            <a:lumOff val="25000"/>
          </a:schemeClr>
        </a:solidFill>
        <a:ln w="12700" cap="flat" cmpd="sng" algn="ctr">
          <a:solidFill>
            <a:schemeClr val="bg2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843980-C4A3-4A8D-9438-CAE99882DA9E}">
      <dsp:nvSpPr>
        <dsp:cNvPr id="0" name=""/>
        <dsp:cNvSpPr/>
      </dsp:nvSpPr>
      <dsp:spPr>
        <a:xfrm>
          <a:off x="2077448" y="1891514"/>
          <a:ext cx="2625031" cy="6258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EDA, Topic Modelling &amp; Classification Model </a:t>
          </a:r>
          <a:endParaRPr lang="en-CA" sz="1400" b="1" kern="1200" dirty="0"/>
        </a:p>
      </dsp:txBody>
      <dsp:txXfrm>
        <a:off x="2077448" y="1891514"/>
        <a:ext cx="2625031" cy="625856"/>
      </dsp:txXfrm>
    </dsp:sp>
    <dsp:sp modelId="{819FEBFC-AB04-4445-B369-D6F512955A9C}">
      <dsp:nvSpPr>
        <dsp:cNvPr id="0" name=""/>
        <dsp:cNvSpPr/>
      </dsp:nvSpPr>
      <dsp:spPr>
        <a:xfrm>
          <a:off x="2953242" y="848388"/>
          <a:ext cx="838128" cy="683801"/>
        </a:xfrm>
        <a:prstGeom prst="ellipse">
          <a:avLst/>
        </a:prstGeom>
        <a:solidFill>
          <a:srgbClr val="FFD85B"/>
        </a:solidFill>
        <a:ln w="12700" cap="flat" cmpd="sng" algn="ctr">
          <a:solidFill>
            <a:schemeClr val="bg2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/>
            <a:t>Keep duplicate reviews</a:t>
          </a:r>
          <a:endParaRPr lang="en-CA" sz="1050" kern="1200" dirty="0"/>
        </a:p>
      </dsp:txBody>
      <dsp:txXfrm>
        <a:off x="3075983" y="948528"/>
        <a:ext cx="592646" cy="483521"/>
      </dsp:txXfrm>
    </dsp:sp>
    <dsp:sp modelId="{40A3E851-93D4-4378-9566-7207D9C876B4}">
      <dsp:nvSpPr>
        <dsp:cNvPr id="0" name=""/>
        <dsp:cNvSpPr/>
      </dsp:nvSpPr>
      <dsp:spPr>
        <a:xfrm>
          <a:off x="2251446" y="70597"/>
          <a:ext cx="859244" cy="683801"/>
        </a:xfrm>
        <a:prstGeom prst="ellipse">
          <a:avLst/>
        </a:prstGeom>
        <a:solidFill>
          <a:srgbClr val="FFD85B"/>
        </a:solidFill>
        <a:ln w="12700" cap="flat" cmpd="sng" algn="ctr">
          <a:solidFill>
            <a:schemeClr val="bg2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Drop Vote</a:t>
          </a:r>
          <a:endParaRPr lang="en-CA" sz="1100" kern="1200" dirty="0"/>
        </a:p>
      </dsp:txBody>
      <dsp:txXfrm>
        <a:off x="2377279" y="170737"/>
        <a:ext cx="607578" cy="483521"/>
      </dsp:txXfrm>
    </dsp:sp>
    <dsp:sp modelId="{4BAEE986-91E6-4E7F-ACAA-56145E2D7662}">
      <dsp:nvSpPr>
        <dsp:cNvPr id="0" name=""/>
        <dsp:cNvSpPr/>
      </dsp:nvSpPr>
      <dsp:spPr>
        <a:xfrm>
          <a:off x="3189449" y="62133"/>
          <a:ext cx="1274058" cy="663615"/>
        </a:xfrm>
        <a:prstGeom prst="ellipse">
          <a:avLst/>
        </a:prstGeom>
        <a:solidFill>
          <a:srgbClr val="FFD85B"/>
        </a:solidFill>
        <a:ln w="12700" cap="flat" cmpd="sng" algn="ctr">
          <a:solidFill>
            <a:schemeClr val="bg2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/>
            <a:t>Drop reviewerName</a:t>
          </a:r>
          <a:endParaRPr lang="en-CA" sz="1050" kern="1200" dirty="0"/>
        </a:p>
      </dsp:txBody>
      <dsp:txXfrm>
        <a:off x="3376030" y="159317"/>
        <a:ext cx="900896" cy="469247"/>
      </dsp:txXfrm>
    </dsp:sp>
    <dsp:sp modelId="{47556B42-36E3-4EAE-AEFB-20DDED5D2CBC}">
      <dsp:nvSpPr>
        <dsp:cNvPr id="0" name=""/>
        <dsp:cNvSpPr/>
      </dsp:nvSpPr>
      <dsp:spPr>
        <a:xfrm>
          <a:off x="1832760" y="-86076"/>
          <a:ext cx="2918810" cy="1937007"/>
        </a:xfrm>
        <a:prstGeom prst="funnel">
          <a:avLst/>
        </a:prstGeom>
        <a:solidFill>
          <a:schemeClr val="bg2">
            <a:lumMod val="50000"/>
            <a:alpha val="40000"/>
          </a:schemeClr>
        </a:solidFill>
        <a:ln w="6350" cap="flat" cmpd="sng" algn="ctr">
          <a:solidFill>
            <a:schemeClr val="bg2">
              <a:lumMod val="5000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ED704B-FA69-45FD-B286-E076F8537BAE}">
      <dsp:nvSpPr>
        <dsp:cNvPr id="0" name=""/>
        <dsp:cNvSpPr/>
      </dsp:nvSpPr>
      <dsp:spPr>
        <a:xfrm>
          <a:off x="0" y="2097"/>
          <a:ext cx="2282545" cy="0"/>
        </a:xfrm>
        <a:prstGeom prst="lin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257BB12-F94B-4EC5-A896-E35A435FFFC4}">
      <dsp:nvSpPr>
        <dsp:cNvPr id="0" name=""/>
        <dsp:cNvSpPr/>
      </dsp:nvSpPr>
      <dsp:spPr>
        <a:xfrm>
          <a:off x="0" y="2097"/>
          <a:ext cx="2282545" cy="565598"/>
        </a:xfrm>
        <a:prstGeom prst="rect">
          <a:avLst/>
        </a:prstGeom>
        <a:solidFill>
          <a:srgbClr val="FFE48F"/>
        </a:solidFill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400" kern="1200" dirty="0"/>
            <a:t>String to Date Type</a:t>
          </a:r>
        </a:p>
      </dsp:txBody>
      <dsp:txXfrm>
        <a:off x="0" y="2097"/>
        <a:ext cx="2282545" cy="565598"/>
      </dsp:txXfrm>
    </dsp:sp>
    <dsp:sp modelId="{7BB7D526-D2A0-4B4E-9C25-75C7B0A74CA0}">
      <dsp:nvSpPr>
        <dsp:cNvPr id="0" name=""/>
        <dsp:cNvSpPr/>
      </dsp:nvSpPr>
      <dsp:spPr>
        <a:xfrm>
          <a:off x="0" y="567695"/>
          <a:ext cx="2282545" cy="0"/>
        </a:xfrm>
        <a:prstGeom prst="lin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0256B2D-BE38-4D11-8E60-9BD600B6C345}">
      <dsp:nvSpPr>
        <dsp:cNvPr id="0" name=""/>
        <dsp:cNvSpPr/>
      </dsp:nvSpPr>
      <dsp:spPr>
        <a:xfrm>
          <a:off x="0" y="567695"/>
          <a:ext cx="2282545" cy="402886"/>
        </a:xfrm>
        <a:prstGeom prst="rect">
          <a:avLst/>
        </a:prstGeom>
        <a:noFill/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400" kern="1200" dirty="0"/>
            <a:t>Year </a:t>
          </a:r>
        </a:p>
      </dsp:txBody>
      <dsp:txXfrm>
        <a:off x="0" y="567695"/>
        <a:ext cx="2282545" cy="402886"/>
      </dsp:txXfrm>
    </dsp:sp>
    <dsp:sp modelId="{26203BBB-9F93-4CDC-8426-B80B8CCC76D3}">
      <dsp:nvSpPr>
        <dsp:cNvPr id="0" name=""/>
        <dsp:cNvSpPr/>
      </dsp:nvSpPr>
      <dsp:spPr>
        <a:xfrm>
          <a:off x="0" y="970582"/>
          <a:ext cx="2282545" cy="0"/>
        </a:xfrm>
        <a:prstGeom prst="lin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6C6E06C-F536-4607-8E19-D16F2D0FBEEA}">
      <dsp:nvSpPr>
        <dsp:cNvPr id="0" name=""/>
        <dsp:cNvSpPr/>
      </dsp:nvSpPr>
      <dsp:spPr>
        <a:xfrm>
          <a:off x="0" y="1032317"/>
          <a:ext cx="2282545" cy="536401"/>
        </a:xfrm>
        <a:prstGeom prst="rect">
          <a:avLst/>
        </a:prstGeom>
        <a:solidFill>
          <a:srgbClr val="FFE48F"/>
        </a:solidFill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400" kern="1200" dirty="0"/>
            <a:t>Month</a:t>
          </a:r>
        </a:p>
      </dsp:txBody>
      <dsp:txXfrm>
        <a:off x="0" y="1032317"/>
        <a:ext cx="2282545" cy="536401"/>
      </dsp:txXfrm>
    </dsp:sp>
    <dsp:sp modelId="{E73FEF49-C83C-4379-8A87-720D0E92122D}">
      <dsp:nvSpPr>
        <dsp:cNvPr id="0" name=""/>
        <dsp:cNvSpPr/>
      </dsp:nvSpPr>
      <dsp:spPr>
        <a:xfrm>
          <a:off x="0" y="1506984"/>
          <a:ext cx="2282545" cy="0"/>
        </a:xfrm>
        <a:prstGeom prst="lin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626DE0F-5800-4C40-B864-1DC19F828A70}">
      <dsp:nvSpPr>
        <dsp:cNvPr id="0" name=""/>
        <dsp:cNvSpPr/>
      </dsp:nvSpPr>
      <dsp:spPr>
        <a:xfrm>
          <a:off x="0" y="1506984"/>
          <a:ext cx="2282545" cy="525401"/>
        </a:xfrm>
        <a:prstGeom prst="rect">
          <a:avLst/>
        </a:prstGeom>
        <a:noFill/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Day of Month</a:t>
          </a:r>
          <a:endParaRPr lang="en-CA" sz="1400" kern="1200" dirty="0"/>
        </a:p>
      </dsp:txBody>
      <dsp:txXfrm>
        <a:off x="0" y="1506984"/>
        <a:ext cx="2282545" cy="525401"/>
      </dsp:txXfrm>
    </dsp:sp>
    <dsp:sp modelId="{86822A4C-531A-4455-8AD3-BBE6653AA222}">
      <dsp:nvSpPr>
        <dsp:cNvPr id="0" name=""/>
        <dsp:cNvSpPr/>
      </dsp:nvSpPr>
      <dsp:spPr>
        <a:xfrm>
          <a:off x="0" y="2032385"/>
          <a:ext cx="2282545" cy="0"/>
        </a:xfrm>
        <a:prstGeom prst="lin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77C5FE4-F47B-44EC-9F6F-28900833E9E2}">
      <dsp:nvSpPr>
        <dsp:cNvPr id="0" name=""/>
        <dsp:cNvSpPr/>
      </dsp:nvSpPr>
      <dsp:spPr>
        <a:xfrm>
          <a:off x="0" y="2032385"/>
          <a:ext cx="2282545" cy="408791"/>
        </a:xfrm>
        <a:prstGeom prst="rect">
          <a:avLst/>
        </a:prstGeom>
        <a:solidFill>
          <a:srgbClr val="FFE48F"/>
        </a:solidFill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Day of Week</a:t>
          </a:r>
          <a:endParaRPr lang="en-CA" sz="1400" kern="1200" dirty="0"/>
        </a:p>
      </dsp:txBody>
      <dsp:txXfrm>
        <a:off x="0" y="2032385"/>
        <a:ext cx="2282545" cy="408791"/>
      </dsp:txXfrm>
    </dsp:sp>
    <dsp:sp modelId="{85002ACD-6A5C-46B8-87C3-479D3DA72E7A}">
      <dsp:nvSpPr>
        <dsp:cNvPr id="0" name=""/>
        <dsp:cNvSpPr/>
      </dsp:nvSpPr>
      <dsp:spPr>
        <a:xfrm>
          <a:off x="0" y="2441176"/>
          <a:ext cx="2282545" cy="0"/>
        </a:xfrm>
        <a:prstGeom prst="lin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7927FA5-B616-4141-A58D-96C9FF775203}">
      <dsp:nvSpPr>
        <dsp:cNvPr id="0" name=""/>
        <dsp:cNvSpPr/>
      </dsp:nvSpPr>
      <dsp:spPr>
        <a:xfrm>
          <a:off x="0" y="2441176"/>
          <a:ext cx="2282545" cy="550932"/>
        </a:xfrm>
        <a:prstGeom prst="rect">
          <a:avLst/>
        </a:prstGeom>
        <a:noFill/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Day of Year</a:t>
          </a:r>
          <a:endParaRPr lang="en-CA" sz="1400" kern="1200" dirty="0"/>
        </a:p>
      </dsp:txBody>
      <dsp:txXfrm>
        <a:off x="0" y="2441176"/>
        <a:ext cx="2282545" cy="550932"/>
      </dsp:txXfrm>
    </dsp:sp>
    <dsp:sp modelId="{03C90594-5DF4-414B-8101-0A8583615497}">
      <dsp:nvSpPr>
        <dsp:cNvPr id="0" name=""/>
        <dsp:cNvSpPr/>
      </dsp:nvSpPr>
      <dsp:spPr>
        <a:xfrm>
          <a:off x="0" y="2992109"/>
          <a:ext cx="2282545" cy="0"/>
        </a:xfrm>
        <a:prstGeom prst="lin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ADA81F6-F0AC-4CA7-A553-166D34640710}">
      <dsp:nvSpPr>
        <dsp:cNvPr id="0" name=""/>
        <dsp:cNvSpPr/>
      </dsp:nvSpPr>
      <dsp:spPr>
        <a:xfrm>
          <a:off x="0" y="2992109"/>
          <a:ext cx="2282545" cy="417728"/>
        </a:xfrm>
        <a:prstGeom prst="rect">
          <a:avLst/>
        </a:prstGeom>
        <a:solidFill>
          <a:srgbClr val="FFE48F"/>
        </a:solidFill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Week of Year</a:t>
          </a:r>
          <a:endParaRPr lang="en-CA" sz="1400" kern="1200" dirty="0"/>
        </a:p>
      </dsp:txBody>
      <dsp:txXfrm>
        <a:off x="0" y="2992109"/>
        <a:ext cx="2282545" cy="417728"/>
      </dsp:txXfrm>
    </dsp:sp>
    <dsp:sp modelId="{62969204-AE33-4684-9597-1E795E7D08E4}">
      <dsp:nvSpPr>
        <dsp:cNvPr id="0" name=""/>
        <dsp:cNvSpPr/>
      </dsp:nvSpPr>
      <dsp:spPr>
        <a:xfrm>
          <a:off x="0" y="3409837"/>
          <a:ext cx="2282545" cy="0"/>
        </a:xfrm>
        <a:prstGeom prst="lin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4D9FD59-D866-4255-8159-FCFA486DFDF4}">
      <dsp:nvSpPr>
        <dsp:cNvPr id="0" name=""/>
        <dsp:cNvSpPr/>
      </dsp:nvSpPr>
      <dsp:spPr>
        <a:xfrm>
          <a:off x="0" y="3409837"/>
          <a:ext cx="2282545" cy="418463"/>
        </a:xfrm>
        <a:prstGeom prst="rect">
          <a:avLst/>
        </a:prstGeom>
        <a:noFill/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Weekend (YES or NO)</a:t>
          </a:r>
          <a:endParaRPr lang="en-CA" sz="1400" kern="1200" dirty="0"/>
        </a:p>
      </dsp:txBody>
      <dsp:txXfrm>
        <a:off x="0" y="3409837"/>
        <a:ext cx="2282545" cy="418463"/>
      </dsp:txXfrm>
    </dsp:sp>
    <dsp:sp modelId="{2466E9A5-E345-4F12-9DE5-66F349D76DF0}">
      <dsp:nvSpPr>
        <dsp:cNvPr id="0" name=""/>
        <dsp:cNvSpPr/>
      </dsp:nvSpPr>
      <dsp:spPr>
        <a:xfrm>
          <a:off x="0" y="3828300"/>
          <a:ext cx="2282545" cy="0"/>
        </a:xfrm>
        <a:prstGeom prst="lin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C64DF2B-456D-4ED7-8C42-C567AD0ACBA1}">
      <dsp:nvSpPr>
        <dsp:cNvPr id="0" name=""/>
        <dsp:cNvSpPr/>
      </dsp:nvSpPr>
      <dsp:spPr>
        <a:xfrm>
          <a:off x="0" y="3828300"/>
          <a:ext cx="2282545" cy="565598"/>
        </a:xfrm>
        <a:prstGeom prst="rect">
          <a:avLst/>
        </a:prstGeom>
        <a:solidFill>
          <a:srgbClr val="FFE48F"/>
        </a:solidFill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400" kern="1200" dirty="0"/>
            <a:t>Review Age (overall/ per </a:t>
          </a:r>
          <a:r>
            <a:rPr lang="en-CA" sz="1400" kern="1200" dirty="0" err="1"/>
            <a:t>asin</a:t>
          </a:r>
          <a:r>
            <a:rPr lang="en-CA" sz="1400" kern="1200" dirty="0"/>
            <a:t>/ </a:t>
          </a:r>
          <a:r>
            <a:rPr lang="en-CA" sz="1400" kern="1200" dirty="0" err="1"/>
            <a:t>reviewerID</a:t>
          </a:r>
          <a:r>
            <a:rPr lang="en-CA" sz="1400" kern="1200" dirty="0"/>
            <a:t>)</a:t>
          </a:r>
        </a:p>
      </dsp:txBody>
      <dsp:txXfrm>
        <a:off x="0" y="3828300"/>
        <a:ext cx="2282545" cy="56559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AD8697-5D24-493D-93A7-15388520FAB7}">
      <dsp:nvSpPr>
        <dsp:cNvPr id="0" name=""/>
        <dsp:cNvSpPr/>
      </dsp:nvSpPr>
      <dsp:spPr>
        <a:xfrm>
          <a:off x="0" y="1394"/>
          <a:ext cx="2173799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FA3D3F-3725-4090-A099-16D3C206538C}">
      <dsp:nvSpPr>
        <dsp:cNvPr id="0" name=""/>
        <dsp:cNvSpPr/>
      </dsp:nvSpPr>
      <dsp:spPr>
        <a:xfrm>
          <a:off x="0" y="1394"/>
          <a:ext cx="2173799" cy="402402"/>
        </a:xfrm>
        <a:prstGeom prst="rect">
          <a:avLst/>
        </a:prstGeom>
        <a:solidFill>
          <a:srgbClr val="FFE48F"/>
        </a:solidFill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kern="1200" dirty="0"/>
            <a:t>Sentiment</a:t>
          </a:r>
        </a:p>
      </dsp:txBody>
      <dsp:txXfrm>
        <a:off x="0" y="1394"/>
        <a:ext cx="2173799" cy="402402"/>
      </dsp:txXfrm>
    </dsp:sp>
    <dsp:sp modelId="{4F38A850-AF57-4404-8540-1C53FA865E12}">
      <dsp:nvSpPr>
        <dsp:cNvPr id="0" name=""/>
        <dsp:cNvSpPr/>
      </dsp:nvSpPr>
      <dsp:spPr>
        <a:xfrm>
          <a:off x="0" y="403797"/>
          <a:ext cx="2173799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704C79-3EB9-424E-9161-FB9AED877423}">
      <dsp:nvSpPr>
        <dsp:cNvPr id="0" name=""/>
        <dsp:cNvSpPr/>
      </dsp:nvSpPr>
      <dsp:spPr>
        <a:xfrm>
          <a:off x="0" y="403797"/>
          <a:ext cx="2173799" cy="599027"/>
        </a:xfrm>
        <a:prstGeom prst="rect">
          <a:avLst/>
        </a:prstGeom>
        <a:noFill/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kern="1200" dirty="0"/>
            <a:t>Syllable Count (before &amp; after) </a:t>
          </a:r>
        </a:p>
      </dsp:txBody>
      <dsp:txXfrm>
        <a:off x="0" y="403797"/>
        <a:ext cx="2173799" cy="599027"/>
      </dsp:txXfrm>
    </dsp:sp>
    <dsp:sp modelId="{785E6E65-BF40-4B64-9088-85A68695AF98}">
      <dsp:nvSpPr>
        <dsp:cNvPr id="0" name=""/>
        <dsp:cNvSpPr/>
      </dsp:nvSpPr>
      <dsp:spPr>
        <a:xfrm>
          <a:off x="0" y="1002825"/>
          <a:ext cx="2173799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196B67C-6DB6-41C8-93F6-465A17A42887}">
      <dsp:nvSpPr>
        <dsp:cNvPr id="0" name=""/>
        <dsp:cNvSpPr/>
      </dsp:nvSpPr>
      <dsp:spPr>
        <a:xfrm>
          <a:off x="0" y="1002825"/>
          <a:ext cx="2173799" cy="566806"/>
        </a:xfrm>
        <a:prstGeom prst="rect">
          <a:avLst/>
        </a:prstGeom>
        <a:solidFill>
          <a:srgbClr val="FFE48F"/>
        </a:solidFill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kern="1200" dirty="0"/>
            <a:t>Word Count (before &amp; after)</a:t>
          </a:r>
        </a:p>
      </dsp:txBody>
      <dsp:txXfrm>
        <a:off x="0" y="1002825"/>
        <a:ext cx="2173799" cy="566806"/>
      </dsp:txXfrm>
    </dsp:sp>
    <dsp:sp modelId="{0F1C2B75-A066-4567-99D0-72264AC3B8F2}">
      <dsp:nvSpPr>
        <dsp:cNvPr id="0" name=""/>
        <dsp:cNvSpPr/>
      </dsp:nvSpPr>
      <dsp:spPr>
        <a:xfrm>
          <a:off x="0" y="1569631"/>
          <a:ext cx="2173799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FD5E68-12B0-4260-9F11-3251D6ECDFBB}">
      <dsp:nvSpPr>
        <dsp:cNvPr id="0" name=""/>
        <dsp:cNvSpPr/>
      </dsp:nvSpPr>
      <dsp:spPr>
        <a:xfrm>
          <a:off x="0" y="1569631"/>
          <a:ext cx="2173799" cy="525035"/>
        </a:xfrm>
        <a:prstGeom prst="rect">
          <a:avLst/>
        </a:prstGeom>
        <a:noFill/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haracter Count</a:t>
          </a:r>
          <a:endParaRPr lang="en-CA" sz="1600" kern="1200" dirty="0"/>
        </a:p>
      </dsp:txBody>
      <dsp:txXfrm>
        <a:off x="0" y="1569631"/>
        <a:ext cx="2173799" cy="525035"/>
      </dsp:txXfrm>
    </dsp:sp>
    <dsp:sp modelId="{B605C1CF-2FCC-4EC5-A34B-8666970B9ECD}">
      <dsp:nvSpPr>
        <dsp:cNvPr id="0" name=""/>
        <dsp:cNvSpPr/>
      </dsp:nvSpPr>
      <dsp:spPr>
        <a:xfrm>
          <a:off x="0" y="2094667"/>
          <a:ext cx="2173799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D219CB-28E4-4F12-8568-0341C75B0580}">
      <dsp:nvSpPr>
        <dsp:cNvPr id="0" name=""/>
        <dsp:cNvSpPr/>
      </dsp:nvSpPr>
      <dsp:spPr>
        <a:xfrm>
          <a:off x="0" y="2094667"/>
          <a:ext cx="2173799" cy="516451"/>
        </a:xfrm>
        <a:prstGeom prst="rect">
          <a:avLst/>
        </a:prstGeom>
        <a:solidFill>
          <a:srgbClr val="FFE48F"/>
        </a:solidFill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entence Count</a:t>
          </a:r>
          <a:endParaRPr lang="en-CA" sz="1600" kern="1200" dirty="0"/>
        </a:p>
      </dsp:txBody>
      <dsp:txXfrm>
        <a:off x="0" y="2094667"/>
        <a:ext cx="2173799" cy="516451"/>
      </dsp:txXfrm>
    </dsp:sp>
    <dsp:sp modelId="{DE9DBD5F-D534-4FA9-83BF-6A9FB086D368}">
      <dsp:nvSpPr>
        <dsp:cNvPr id="0" name=""/>
        <dsp:cNvSpPr/>
      </dsp:nvSpPr>
      <dsp:spPr>
        <a:xfrm>
          <a:off x="0" y="2611119"/>
          <a:ext cx="2173799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96D61B-E4CE-4F3E-B0DE-76B261398D37}">
      <dsp:nvSpPr>
        <dsp:cNvPr id="0" name=""/>
        <dsp:cNvSpPr/>
      </dsp:nvSpPr>
      <dsp:spPr>
        <a:xfrm>
          <a:off x="0" y="2611119"/>
          <a:ext cx="2173799" cy="599027"/>
        </a:xfrm>
        <a:prstGeom prst="rect">
          <a:avLst/>
        </a:prstGeom>
        <a:noFill/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Number of Question Marks</a:t>
          </a:r>
          <a:endParaRPr lang="en-CA" sz="1600" kern="1200" dirty="0"/>
        </a:p>
      </dsp:txBody>
      <dsp:txXfrm>
        <a:off x="0" y="2611119"/>
        <a:ext cx="2173799" cy="59902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683D97-5F30-4A53-967C-65BAA69CA9CA}">
      <dsp:nvSpPr>
        <dsp:cNvPr id="0" name=""/>
        <dsp:cNvSpPr/>
      </dsp:nvSpPr>
      <dsp:spPr>
        <a:xfrm>
          <a:off x="0" y="2090"/>
          <a:ext cx="2290029" cy="0"/>
        </a:xfrm>
        <a:prstGeom prst="line">
          <a:avLst/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F47CB31-67FE-4B82-BB4B-14F8129B69AE}">
      <dsp:nvSpPr>
        <dsp:cNvPr id="0" name=""/>
        <dsp:cNvSpPr/>
      </dsp:nvSpPr>
      <dsp:spPr>
        <a:xfrm>
          <a:off x="0" y="2090"/>
          <a:ext cx="2290029" cy="591238"/>
        </a:xfrm>
        <a:prstGeom prst="rect">
          <a:avLst/>
        </a:prstGeom>
        <a:solidFill>
          <a:srgbClr val="FFE48F"/>
        </a:solidFill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verage Characters per Word</a:t>
          </a:r>
          <a:endParaRPr lang="en-CA" sz="1600" kern="1200" dirty="0"/>
        </a:p>
      </dsp:txBody>
      <dsp:txXfrm>
        <a:off x="0" y="2090"/>
        <a:ext cx="2290029" cy="591238"/>
      </dsp:txXfrm>
    </dsp:sp>
    <dsp:sp modelId="{AFADD35A-DE51-43D9-BE2A-B43DDC47DC5D}">
      <dsp:nvSpPr>
        <dsp:cNvPr id="0" name=""/>
        <dsp:cNvSpPr/>
      </dsp:nvSpPr>
      <dsp:spPr>
        <a:xfrm>
          <a:off x="0" y="593329"/>
          <a:ext cx="2290029" cy="0"/>
        </a:xfrm>
        <a:prstGeom prst="line">
          <a:avLst/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1198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50000"/>
                <a:hueOff val="0"/>
                <a:satOff val="0"/>
                <a:lumOff val="1198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50000"/>
                <a:hueOff val="0"/>
                <a:satOff val="0"/>
                <a:lumOff val="1198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50000"/>
              <a:hueOff val="0"/>
              <a:satOff val="0"/>
              <a:lumOff val="11987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0979D19-3AB2-4BA3-B72A-BEF903B6CC51}">
      <dsp:nvSpPr>
        <dsp:cNvPr id="0" name=""/>
        <dsp:cNvSpPr/>
      </dsp:nvSpPr>
      <dsp:spPr>
        <a:xfrm>
          <a:off x="0" y="593329"/>
          <a:ext cx="2290029" cy="545891"/>
        </a:xfrm>
        <a:prstGeom prst="rect">
          <a:avLst/>
        </a:prstGeom>
        <a:noFill/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verage Word per Sentence</a:t>
          </a:r>
          <a:endParaRPr lang="en-CA" sz="1600" kern="1200" dirty="0"/>
        </a:p>
      </dsp:txBody>
      <dsp:txXfrm>
        <a:off x="0" y="593329"/>
        <a:ext cx="2290029" cy="545891"/>
      </dsp:txXfrm>
    </dsp:sp>
    <dsp:sp modelId="{F2B52282-59AF-4940-B60B-07BE9CCA6251}">
      <dsp:nvSpPr>
        <dsp:cNvPr id="0" name=""/>
        <dsp:cNvSpPr/>
      </dsp:nvSpPr>
      <dsp:spPr>
        <a:xfrm>
          <a:off x="0" y="1139220"/>
          <a:ext cx="2290029" cy="0"/>
        </a:xfrm>
        <a:prstGeom prst="line">
          <a:avLst/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2397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50000"/>
                <a:hueOff val="0"/>
                <a:satOff val="0"/>
                <a:lumOff val="2397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50000"/>
                <a:hueOff val="0"/>
                <a:satOff val="0"/>
                <a:lumOff val="2397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50000"/>
              <a:hueOff val="0"/>
              <a:satOff val="0"/>
              <a:lumOff val="23975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6162C-C5CA-42AF-92C3-79CDC8300732}">
      <dsp:nvSpPr>
        <dsp:cNvPr id="0" name=""/>
        <dsp:cNvSpPr/>
      </dsp:nvSpPr>
      <dsp:spPr>
        <a:xfrm>
          <a:off x="0" y="1139220"/>
          <a:ext cx="2290029" cy="387274"/>
        </a:xfrm>
        <a:prstGeom prst="rect">
          <a:avLst/>
        </a:prstGeom>
        <a:solidFill>
          <a:srgbClr val="FFE48F"/>
        </a:solidFill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kern="1200" dirty="0"/>
            <a:t>Grade Level</a:t>
          </a:r>
        </a:p>
      </dsp:txBody>
      <dsp:txXfrm>
        <a:off x="0" y="1139220"/>
        <a:ext cx="2290029" cy="387274"/>
      </dsp:txXfrm>
    </dsp:sp>
    <dsp:sp modelId="{DED7FD13-38A9-492D-A53E-1136CD1F39AE}">
      <dsp:nvSpPr>
        <dsp:cNvPr id="0" name=""/>
        <dsp:cNvSpPr/>
      </dsp:nvSpPr>
      <dsp:spPr>
        <a:xfrm>
          <a:off x="0" y="1526494"/>
          <a:ext cx="2290029" cy="0"/>
        </a:xfrm>
        <a:prstGeom prst="line">
          <a:avLst/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3596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50000"/>
                <a:hueOff val="0"/>
                <a:satOff val="0"/>
                <a:lumOff val="3596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50000"/>
                <a:hueOff val="0"/>
                <a:satOff val="0"/>
                <a:lumOff val="3596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50000"/>
              <a:hueOff val="0"/>
              <a:satOff val="0"/>
              <a:lumOff val="35962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03B63BF-2CC3-4B24-AB10-38A92B4B44E3}">
      <dsp:nvSpPr>
        <dsp:cNvPr id="0" name=""/>
        <dsp:cNvSpPr/>
      </dsp:nvSpPr>
      <dsp:spPr>
        <a:xfrm>
          <a:off x="0" y="1526494"/>
          <a:ext cx="2290029" cy="398967"/>
        </a:xfrm>
        <a:prstGeom prst="rect">
          <a:avLst/>
        </a:prstGeom>
        <a:noFill/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kern="1200" dirty="0"/>
            <a:t>Flesch Reading Ease Score</a:t>
          </a:r>
        </a:p>
      </dsp:txBody>
      <dsp:txXfrm>
        <a:off x="0" y="1526494"/>
        <a:ext cx="2290029" cy="398967"/>
      </dsp:txXfrm>
    </dsp:sp>
    <dsp:sp modelId="{8AE6C8A5-ED30-4712-B408-FEB05EFCA109}">
      <dsp:nvSpPr>
        <dsp:cNvPr id="0" name=""/>
        <dsp:cNvSpPr/>
      </dsp:nvSpPr>
      <dsp:spPr>
        <a:xfrm>
          <a:off x="0" y="1925462"/>
          <a:ext cx="2290029" cy="0"/>
        </a:xfrm>
        <a:prstGeom prst="line">
          <a:avLst/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2397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50000"/>
                <a:hueOff val="0"/>
                <a:satOff val="0"/>
                <a:lumOff val="2397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50000"/>
                <a:hueOff val="0"/>
                <a:satOff val="0"/>
                <a:lumOff val="2397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50000"/>
              <a:hueOff val="0"/>
              <a:satOff val="0"/>
              <a:lumOff val="23975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22C96F4-6320-48CF-BB91-410AC52F3775}">
      <dsp:nvSpPr>
        <dsp:cNvPr id="0" name=""/>
        <dsp:cNvSpPr/>
      </dsp:nvSpPr>
      <dsp:spPr>
        <a:xfrm>
          <a:off x="0" y="1925462"/>
          <a:ext cx="2287792" cy="1155789"/>
        </a:xfrm>
        <a:prstGeom prst="rect">
          <a:avLst/>
        </a:prstGeom>
        <a:solidFill>
          <a:srgbClr val="FFE48F"/>
        </a:solidFill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Overall Rating Sentiment (Neutral (3)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Negative(1,2)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Positive(4,5)</a:t>
          </a:r>
          <a:endParaRPr lang="en-CA" sz="1600" kern="1200" dirty="0"/>
        </a:p>
      </dsp:txBody>
      <dsp:txXfrm>
        <a:off x="0" y="1925462"/>
        <a:ext cx="2287792" cy="1155789"/>
      </dsp:txXfrm>
    </dsp:sp>
    <dsp:sp modelId="{C4738AF3-F983-4D80-9F42-F5B82AD496B4}">
      <dsp:nvSpPr>
        <dsp:cNvPr id="0" name=""/>
        <dsp:cNvSpPr/>
      </dsp:nvSpPr>
      <dsp:spPr>
        <a:xfrm>
          <a:off x="0" y="3081251"/>
          <a:ext cx="2290029" cy="0"/>
        </a:xfrm>
        <a:prstGeom prst="line">
          <a:avLst/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1198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50000"/>
                <a:hueOff val="0"/>
                <a:satOff val="0"/>
                <a:lumOff val="1198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50000"/>
                <a:hueOff val="0"/>
                <a:satOff val="0"/>
                <a:lumOff val="1198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50000"/>
              <a:hueOff val="0"/>
              <a:satOff val="0"/>
              <a:lumOff val="11987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A21C973-9BDD-40B3-8D35-DD4FB019B5E0}">
      <dsp:nvSpPr>
        <dsp:cNvPr id="0" name=""/>
        <dsp:cNvSpPr/>
      </dsp:nvSpPr>
      <dsp:spPr>
        <a:xfrm>
          <a:off x="0" y="3081251"/>
          <a:ext cx="2287792" cy="814016"/>
        </a:xfrm>
        <a:prstGeom prst="rect">
          <a:avLst/>
        </a:prstGeom>
        <a:noFill/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Number of Exclamation Marks</a:t>
          </a:r>
          <a:endParaRPr lang="en-CA" sz="1600" kern="1200" dirty="0"/>
        </a:p>
      </dsp:txBody>
      <dsp:txXfrm>
        <a:off x="0" y="3081251"/>
        <a:ext cx="2287792" cy="81401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DA6D08-54B2-41AB-98B1-8E6F3854FF20}">
      <dsp:nvSpPr>
        <dsp:cNvPr id="0" name=""/>
        <dsp:cNvSpPr/>
      </dsp:nvSpPr>
      <dsp:spPr>
        <a:xfrm>
          <a:off x="0" y="301"/>
          <a:ext cx="2173799" cy="0"/>
        </a:xfrm>
        <a:prstGeom prst="line">
          <a:avLst/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E5F0AFD-B381-48F9-A8B9-7DC8976D9A37}">
      <dsp:nvSpPr>
        <dsp:cNvPr id="0" name=""/>
        <dsp:cNvSpPr/>
      </dsp:nvSpPr>
      <dsp:spPr>
        <a:xfrm>
          <a:off x="0" y="301"/>
          <a:ext cx="2173799" cy="493958"/>
        </a:xfrm>
        <a:prstGeom prst="rect">
          <a:avLst/>
        </a:prstGeom>
        <a:solidFill>
          <a:srgbClr val="FFE48F"/>
        </a:solidFill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Overall Rating</a:t>
          </a:r>
          <a:endParaRPr lang="en-CA" sz="1600" kern="1200" dirty="0"/>
        </a:p>
      </dsp:txBody>
      <dsp:txXfrm>
        <a:off x="0" y="301"/>
        <a:ext cx="2173799" cy="493958"/>
      </dsp:txXfrm>
    </dsp:sp>
    <dsp:sp modelId="{C1D2D99C-B4BE-4BF0-8C76-9AD289F4D7A3}">
      <dsp:nvSpPr>
        <dsp:cNvPr id="0" name=""/>
        <dsp:cNvSpPr/>
      </dsp:nvSpPr>
      <dsp:spPr>
        <a:xfrm>
          <a:off x="0" y="494260"/>
          <a:ext cx="2173799" cy="0"/>
        </a:xfrm>
        <a:prstGeom prst="line">
          <a:avLst/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1438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50000"/>
                <a:hueOff val="0"/>
                <a:satOff val="0"/>
                <a:lumOff val="1438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50000"/>
                <a:hueOff val="0"/>
                <a:satOff val="0"/>
                <a:lumOff val="1438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50000"/>
              <a:hueOff val="0"/>
              <a:satOff val="0"/>
              <a:lumOff val="14385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FD56D1B-BF8C-4462-8472-972757E584F0}">
      <dsp:nvSpPr>
        <dsp:cNvPr id="0" name=""/>
        <dsp:cNvSpPr/>
      </dsp:nvSpPr>
      <dsp:spPr>
        <a:xfrm>
          <a:off x="0" y="494260"/>
          <a:ext cx="2173799" cy="4939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Year</a:t>
          </a:r>
          <a:endParaRPr lang="en-CA" sz="1600" kern="1200" dirty="0"/>
        </a:p>
      </dsp:txBody>
      <dsp:txXfrm>
        <a:off x="0" y="494260"/>
        <a:ext cx="2173799" cy="493958"/>
      </dsp:txXfrm>
    </dsp:sp>
    <dsp:sp modelId="{C71DA5BE-6F86-4B7B-8DCC-B1FDB0DF2B23}">
      <dsp:nvSpPr>
        <dsp:cNvPr id="0" name=""/>
        <dsp:cNvSpPr/>
      </dsp:nvSpPr>
      <dsp:spPr>
        <a:xfrm>
          <a:off x="0" y="988219"/>
          <a:ext cx="2173799" cy="0"/>
        </a:xfrm>
        <a:prstGeom prst="line">
          <a:avLst/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2877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50000"/>
                <a:hueOff val="0"/>
                <a:satOff val="0"/>
                <a:lumOff val="2877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50000"/>
                <a:hueOff val="0"/>
                <a:satOff val="0"/>
                <a:lumOff val="2877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50000"/>
              <a:hueOff val="0"/>
              <a:satOff val="0"/>
              <a:lumOff val="2877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5E284A6-10FE-4010-8137-AA4E574DC3C3}">
      <dsp:nvSpPr>
        <dsp:cNvPr id="0" name=""/>
        <dsp:cNvSpPr/>
      </dsp:nvSpPr>
      <dsp:spPr>
        <a:xfrm>
          <a:off x="0" y="988219"/>
          <a:ext cx="2173799" cy="493958"/>
        </a:xfrm>
        <a:prstGeom prst="rect">
          <a:avLst/>
        </a:prstGeom>
        <a:solidFill>
          <a:srgbClr val="FFE48F"/>
        </a:solidFill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Verified</a:t>
          </a:r>
          <a:endParaRPr lang="en-CA" sz="1600" kern="1200" dirty="0"/>
        </a:p>
      </dsp:txBody>
      <dsp:txXfrm>
        <a:off x="0" y="988219"/>
        <a:ext cx="2173799" cy="493958"/>
      </dsp:txXfrm>
    </dsp:sp>
    <dsp:sp modelId="{6B7E14F2-4386-4500-AB6D-27A16115E6EF}">
      <dsp:nvSpPr>
        <dsp:cNvPr id="0" name=""/>
        <dsp:cNvSpPr/>
      </dsp:nvSpPr>
      <dsp:spPr>
        <a:xfrm>
          <a:off x="0" y="1482177"/>
          <a:ext cx="2173799" cy="0"/>
        </a:xfrm>
        <a:prstGeom prst="line">
          <a:avLst/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2877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50000"/>
                <a:hueOff val="0"/>
                <a:satOff val="0"/>
                <a:lumOff val="2877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50000"/>
                <a:hueOff val="0"/>
                <a:satOff val="0"/>
                <a:lumOff val="2877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50000"/>
              <a:hueOff val="0"/>
              <a:satOff val="0"/>
              <a:lumOff val="2877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14F382E-2E5D-45C1-BE19-B5290EEAE754}">
      <dsp:nvSpPr>
        <dsp:cNvPr id="0" name=""/>
        <dsp:cNvSpPr/>
      </dsp:nvSpPr>
      <dsp:spPr>
        <a:xfrm>
          <a:off x="0" y="1482177"/>
          <a:ext cx="2173799" cy="4939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kern="1200" dirty="0"/>
            <a:t>Sentiment_higher_0_425</a:t>
          </a:r>
        </a:p>
      </dsp:txBody>
      <dsp:txXfrm>
        <a:off x="0" y="1482177"/>
        <a:ext cx="2173799" cy="493958"/>
      </dsp:txXfrm>
    </dsp:sp>
    <dsp:sp modelId="{D93CD7D6-AE0C-42E2-BE94-1DD7613640F9}">
      <dsp:nvSpPr>
        <dsp:cNvPr id="0" name=""/>
        <dsp:cNvSpPr/>
      </dsp:nvSpPr>
      <dsp:spPr>
        <a:xfrm>
          <a:off x="0" y="1976136"/>
          <a:ext cx="2173799" cy="0"/>
        </a:xfrm>
        <a:prstGeom prst="line">
          <a:avLst/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1438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50000"/>
                <a:hueOff val="0"/>
                <a:satOff val="0"/>
                <a:lumOff val="1438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50000"/>
                <a:hueOff val="0"/>
                <a:satOff val="0"/>
                <a:lumOff val="1438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50000"/>
              <a:hueOff val="0"/>
              <a:satOff val="0"/>
              <a:lumOff val="14385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277C0D3-2F7C-40E4-ACE7-9D50725977A2}">
      <dsp:nvSpPr>
        <dsp:cNvPr id="0" name=""/>
        <dsp:cNvSpPr/>
      </dsp:nvSpPr>
      <dsp:spPr>
        <a:xfrm>
          <a:off x="0" y="1976136"/>
          <a:ext cx="2173799" cy="493958"/>
        </a:xfrm>
        <a:prstGeom prst="rect">
          <a:avLst/>
        </a:prstGeom>
        <a:solidFill>
          <a:srgbClr val="FFE48F"/>
        </a:solidFill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kern="1200" dirty="0"/>
            <a:t>Sentiment_lower_0_248</a:t>
          </a:r>
        </a:p>
      </dsp:txBody>
      <dsp:txXfrm>
        <a:off x="0" y="1976136"/>
        <a:ext cx="2173799" cy="49395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E12F0D-8B9A-4EBA-BE13-01E26080319E}">
      <dsp:nvSpPr>
        <dsp:cNvPr id="0" name=""/>
        <dsp:cNvSpPr/>
      </dsp:nvSpPr>
      <dsp:spPr>
        <a:xfrm>
          <a:off x="0" y="610"/>
          <a:ext cx="1844285" cy="0"/>
        </a:xfrm>
        <a:prstGeom prst="line">
          <a:avLst/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8E736D9-9823-4BDA-92A6-A69867039161}">
      <dsp:nvSpPr>
        <dsp:cNvPr id="0" name=""/>
        <dsp:cNvSpPr/>
      </dsp:nvSpPr>
      <dsp:spPr>
        <a:xfrm>
          <a:off x="0" y="610"/>
          <a:ext cx="1844285" cy="416078"/>
        </a:xfrm>
        <a:prstGeom prst="rect">
          <a:avLst/>
        </a:prstGeom>
        <a:solidFill>
          <a:srgbClr val="FFE48F"/>
        </a:solidFill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kern="1200" dirty="0"/>
            <a:t>Word Count</a:t>
          </a:r>
        </a:p>
      </dsp:txBody>
      <dsp:txXfrm>
        <a:off x="0" y="610"/>
        <a:ext cx="1844285" cy="416078"/>
      </dsp:txXfrm>
    </dsp:sp>
    <dsp:sp modelId="{60F795DF-9A45-43BD-B8B9-D382B1E8783F}">
      <dsp:nvSpPr>
        <dsp:cNvPr id="0" name=""/>
        <dsp:cNvSpPr/>
      </dsp:nvSpPr>
      <dsp:spPr>
        <a:xfrm>
          <a:off x="0" y="416689"/>
          <a:ext cx="1844285" cy="0"/>
        </a:xfrm>
        <a:prstGeom prst="line">
          <a:avLst/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2397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50000"/>
                <a:hueOff val="0"/>
                <a:satOff val="0"/>
                <a:lumOff val="2397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50000"/>
                <a:hueOff val="0"/>
                <a:satOff val="0"/>
                <a:lumOff val="2397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50000"/>
              <a:hueOff val="0"/>
              <a:satOff val="0"/>
              <a:lumOff val="23975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F71FDD5-AA59-4081-A1E0-9B8AA4DB4B10}">
      <dsp:nvSpPr>
        <dsp:cNvPr id="0" name=""/>
        <dsp:cNvSpPr/>
      </dsp:nvSpPr>
      <dsp:spPr>
        <a:xfrm>
          <a:off x="0" y="416689"/>
          <a:ext cx="1844285" cy="4160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haracter Count</a:t>
          </a:r>
          <a:endParaRPr lang="en-CA" sz="1600" kern="1200" dirty="0"/>
        </a:p>
      </dsp:txBody>
      <dsp:txXfrm>
        <a:off x="0" y="416689"/>
        <a:ext cx="1844285" cy="416078"/>
      </dsp:txXfrm>
    </dsp:sp>
    <dsp:sp modelId="{5D7FB45E-92C0-4989-87EF-5DE8C34EC88E}">
      <dsp:nvSpPr>
        <dsp:cNvPr id="0" name=""/>
        <dsp:cNvSpPr/>
      </dsp:nvSpPr>
      <dsp:spPr>
        <a:xfrm>
          <a:off x="0" y="832767"/>
          <a:ext cx="1844285" cy="0"/>
        </a:xfrm>
        <a:prstGeom prst="line">
          <a:avLst/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2397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50000"/>
                <a:hueOff val="0"/>
                <a:satOff val="0"/>
                <a:lumOff val="2397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50000"/>
                <a:hueOff val="0"/>
                <a:satOff val="0"/>
                <a:lumOff val="2397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shade val="50000"/>
              <a:hueOff val="0"/>
              <a:satOff val="0"/>
              <a:lumOff val="23975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D67E3A3-354B-412F-A5BA-9041B5D84E95}">
      <dsp:nvSpPr>
        <dsp:cNvPr id="0" name=""/>
        <dsp:cNvSpPr/>
      </dsp:nvSpPr>
      <dsp:spPr>
        <a:xfrm>
          <a:off x="0" y="832767"/>
          <a:ext cx="1844285" cy="416078"/>
        </a:xfrm>
        <a:prstGeom prst="rect">
          <a:avLst/>
        </a:prstGeom>
        <a:solidFill>
          <a:srgbClr val="FFE48F"/>
        </a:solidFill>
        <a:ln>
          <a:solidFill>
            <a:schemeClr val="bg1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entence Count</a:t>
          </a:r>
          <a:endParaRPr lang="en-CA" sz="1600" kern="1200" dirty="0"/>
        </a:p>
      </dsp:txBody>
      <dsp:txXfrm>
        <a:off x="0" y="832767"/>
        <a:ext cx="1844285" cy="41607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C4C9E9-62E8-49BA-B826-3FE75BB57131}">
      <dsp:nvSpPr>
        <dsp:cNvPr id="0" name=""/>
        <dsp:cNvSpPr/>
      </dsp:nvSpPr>
      <dsp:spPr>
        <a:xfrm>
          <a:off x="0" y="26965"/>
          <a:ext cx="2173794" cy="615305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dk1">
                <a:lumMod val="110000"/>
                <a:satMod val="105000"/>
                <a:tint val="67000"/>
              </a:schemeClr>
            </a:gs>
            <a:gs pos="50000">
              <a:schemeClr val="dk1">
                <a:lumMod val="105000"/>
                <a:satMod val="103000"/>
                <a:tint val="73000"/>
              </a:schemeClr>
            </a:gs>
            <a:gs pos="100000">
              <a:schemeClr val="dk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dk1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b="0" kern="1200" dirty="0">
              <a:ln>
                <a:noFill/>
              </a:ln>
              <a:solidFill>
                <a:schemeClr val="bg1"/>
              </a:solidFill>
            </a:rPr>
            <a:t>Unigrams</a:t>
          </a:r>
        </a:p>
      </dsp:txBody>
      <dsp:txXfrm>
        <a:off x="18022" y="44987"/>
        <a:ext cx="2137750" cy="579261"/>
      </dsp:txXfrm>
    </dsp:sp>
    <dsp:sp modelId="{D19C6D43-C7A8-4D3D-A8B1-975675A84333}">
      <dsp:nvSpPr>
        <dsp:cNvPr id="0" name=""/>
        <dsp:cNvSpPr/>
      </dsp:nvSpPr>
      <dsp:spPr>
        <a:xfrm rot="5399991">
          <a:off x="980862" y="645208"/>
          <a:ext cx="212072" cy="276887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65000"/>
            <a:lumOff val="3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000" b="0" kern="1200" dirty="0">
            <a:ln>
              <a:noFill/>
            </a:ln>
          </a:endParaRPr>
        </a:p>
      </dsp:txBody>
      <dsp:txXfrm rot="-5400000">
        <a:off x="1003832" y="677615"/>
        <a:ext cx="166133" cy="148450"/>
      </dsp:txXfrm>
    </dsp:sp>
    <dsp:sp modelId="{B5C35069-369C-47EE-AA2D-353584CEE967}">
      <dsp:nvSpPr>
        <dsp:cNvPr id="0" name=""/>
        <dsp:cNvSpPr/>
      </dsp:nvSpPr>
      <dsp:spPr>
        <a:xfrm>
          <a:off x="2" y="925034"/>
          <a:ext cx="2173794" cy="615305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dk1">
                <a:lumMod val="110000"/>
                <a:satMod val="105000"/>
                <a:tint val="67000"/>
              </a:schemeClr>
            </a:gs>
            <a:gs pos="50000">
              <a:schemeClr val="dk1">
                <a:lumMod val="105000"/>
                <a:satMod val="103000"/>
                <a:tint val="73000"/>
              </a:schemeClr>
            </a:gs>
            <a:gs pos="100000">
              <a:schemeClr val="dk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dk1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b="0" kern="1200" dirty="0">
              <a:ln>
                <a:noFill/>
              </a:ln>
              <a:solidFill>
                <a:schemeClr val="bg1"/>
              </a:solidFill>
            </a:rPr>
            <a:t>Bigrams</a:t>
          </a:r>
        </a:p>
      </dsp:txBody>
      <dsp:txXfrm>
        <a:off x="18024" y="943056"/>
        <a:ext cx="2137750" cy="579261"/>
      </dsp:txXfrm>
    </dsp:sp>
    <dsp:sp modelId="{D3926F44-1542-4C51-BF65-D69700B550CC}">
      <dsp:nvSpPr>
        <dsp:cNvPr id="0" name=""/>
        <dsp:cNvSpPr/>
      </dsp:nvSpPr>
      <dsp:spPr>
        <a:xfrm rot="5400000">
          <a:off x="971529" y="1555722"/>
          <a:ext cx="230739" cy="276887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65000"/>
            <a:lumOff val="3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100" b="0" kern="1200" dirty="0">
            <a:ln>
              <a:noFill/>
            </a:ln>
          </a:endParaRPr>
        </a:p>
      </dsp:txBody>
      <dsp:txXfrm rot="-5400000">
        <a:off x="1003832" y="1578796"/>
        <a:ext cx="166133" cy="161517"/>
      </dsp:txXfrm>
    </dsp:sp>
    <dsp:sp modelId="{B87A25EB-7686-43DC-83F4-FCE1EDECBD83}">
      <dsp:nvSpPr>
        <dsp:cNvPr id="0" name=""/>
        <dsp:cNvSpPr/>
      </dsp:nvSpPr>
      <dsp:spPr>
        <a:xfrm>
          <a:off x="2" y="1847992"/>
          <a:ext cx="2173794" cy="615305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dk1">
                <a:lumMod val="110000"/>
                <a:satMod val="105000"/>
                <a:tint val="67000"/>
              </a:schemeClr>
            </a:gs>
            <a:gs pos="50000">
              <a:schemeClr val="dk1">
                <a:lumMod val="105000"/>
                <a:satMod val="103000"/>
                <a:tint val="73000"/>
              </a:schemeClr>
            </a:gs>
            <a:gs pos="100000">
              <a:schemeClr val="dk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dk1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b="0" kern="1200" dirty="0">
              <a:ln>
                <a:noFill/>
              </a:ln>
              <a:solidFill>
                <a:schemeClr val="bg1"/>
              </a:solidFill>
            </a:rPr>
            <a:t>Unigrams + Bigrams</a:t>
          </a:r>
        </a:p>
      </dsp:txBody>
      <dsp:txXfrm>
        <a:off x="18024" y="1866014"/>
        <a:ext cx="2137750" cy="579261"/>
      </dsp:txXfrm>
    </dsp:sp>
    <dsp:sp modelId="{AF5E8059-F72A-44DC-B777-357F1B9FD117}">
      <dsp:nvSpPr>
        <dsp:cNvPr id="0" name=""/>
        <dsp:cNvSpPr/>
      </dsp:nvSpPr>
      <dsp:spPr>
        <a:xfrm rot="5400000">
          <a:off x="971529" y="2478679"/>
          <a:ext cx="230739" cy="276887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65000"/>
            <a:lumOff val="3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100" b="0" kern="1200" dirty="0">
            <a:ln>
              <a:noFill/>
            </a:ln>
          </a:endParaRPr>
        </a:p>
      </dsp:txBody>
      <dsp:txXfrm rot="-5400000">
        <a:off x="1003832" y="2501753"/>
        <a:ext cx="166133" cy="161517"/>
      </dsp:txXfrm>
    </dsp:sp>
    <dsp:sp modelId="{EB9B901E-FF11-4BFE-888E-FC8B32146952}">
      <dsp:nvSpPr>
        <dsp:cNvPr id="0" name=""/>
        <dsp:cNvSpPr/>
      </dsp:nvSpPr>
      <dsp:spPr>
        <a:xfrm>
          <a:off x="2" y="2770949"/>
          <a:ext cx="2173794" cy="615305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dk1">
                <a:lumMod val="110000"/>
                <a:satMod val="105000"/>
                <a:tint val="67000"/>
              </a:schemeClr>
            </a:gs>
            <a:gs pos="50000">
              <a:schemeClr val="dk1">
                <a:lumMod val="105000"/>
                <a:satMod val="103000"/>
                <a:tint val="73000"/>
              </a:schemeClr>
            </a:gs>
            <a:gs pos="100000">
              <a:schemeClr val="dk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dk1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>
              <a:ln>
                <a:noFill/>
              </a:ln>
              <a:solidFill>
                <a:schemeClr val="bg1"/>
              </a:solidFill>
            </a:rPr>
            <a:t>Count Vectorizer + IDF = TF-IDF</a:t>
          </a:r>
          <a:endParaRPr lang="en-CA" sz="1600" b="0" kern="1200" dirty="0">
            <a:ln>
              <a:noFill/>
            </a:ln>
            <a:solidFill>
              <a:schemeClr val="bg1"/>
            </a:solidFill>
          </a:endParaRPr>
        </a:p>
      </dsp:txBody>
      <dsp:txXfrm>
        <a:off x="18024" y="2788971"/>
        <a:ext cx="2137750" cy="579261"/>
      </dsp:txXfrm>
    </dsp:sp>
    <dsp:sp modelId="{F7598653-C328-4251-ABB7-BD1F2E0E118F}">
      <dsp:nvSpPr>
        <dsp:cNvPr id="0" name=""/>
        <dsp:cNvSpPr/>
      </dsp:nvSpPr>
      <dsp:spPr>
        <a:xfrm rot="5400000">
          <a:off x="971529" y="3401637"/>
          <a:ext cx="230739" cy="276887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65000"/>
            <a:lumOff val="3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100" b="0" kern="1200" dirty="0">
            <a:ln>
              <a:noFill/>
            </a:ln>
          </a:endParaRPr>
        </a:p>
      </dsp:txBody>
      <dsp:txXfrm rot="-5400000">
        <a:off x="1003832" y="3424711"/>
        <a:ext cx="166133" cy="161517"/>
      </dsp:txXfrm>
    </dsp:sp>
    <dsp:sp modelId="{75651BCD-2EF8-4767-9640-1562EF879097}">
      <dsp:nvSpPr>
        <dsp:cNvPr id="0" name=""/>
        <dsp:cNvSpPr/>
      </dsp:nvSpPr>
      <dsp:spPr>
        <a:xfrm>
          <a:off x="2" y="3693907"/>
          <a:ext cx="2173794" cy="615305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dk1">
                <a:lumMod val="110000"/>
                <a:satMod val="105000"/>
                <a:tint val="67000"/>
              </a:schemeClr>
            </a:gs>
            <a:gs pos="50000">
              <a:schemeClr val="dk1">
                <a:lumMod val="105000"/>
                <a:satMod val="103000"/>
                <a:tint val="73000"/>
              </a:schemeClr>
            </a:gs>
            <a:gs pos="100000">
              <a:schemeClr val="dk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dk1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>
              <a:ln>
                <a:noFill/>
              </a:ln>
              <a:solidFill>
                <a:schemeClr val="bg1"/>
              </a:solidFill>
            </a:rPr>
            <a:t>Topic Modelling</a:t>
          </a:r>
          <a:endParaRPr lang="en-CA" sz="1600" b="0" kern="1200" dirty="0">
            <a:ln>
              <a:noFill/>
            </a:ln>
            <a:solidFill>
              <a:schemeClr val="bg1"/>
            </a:solidFill>
          </a:endParaRPr>
        </a:p>
      </dsp:txBody>
      <dsp:txXfrm>
        <a:off x="18024" y="3711929"/>
        <a:ext cx="2137750" cy="579261"/>
      </dsp:txXfrm>
    </dsp:sp>
    <dsp:sp modelId="{F8328003-499C-486F-AA58-7D3BD2D1895C}">
      <dsp:nvSpPr>
        <dsp:cNvPr id="0" name=""/>
        <dsp:cNvSpPr/>
      </dsp:nvSpPr>
      <dsp:spPr>
        <a:xfrm rot="5400000">
          <a:off x="971529" y="4324595"/>
          <a:ext cx="230739" cy="276887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65000"/>
            <a:lumOff val="3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100" b="0" kern="1200" dirty="0">
            <a:ln>
              <a:noFill/>
            </a:ln>
          </a:endParaRPr>
        </a:p>
      </dsp:txBody>
      <dsp:txXfrm rot="-5400000">
        <a:off x="1003832" y="4347669"/>
        <a:ext cx="166133" cy="161517"/>
      </dsp:txXfrm>
    </dsp:sp>
    <dsp:sp modelId="{F480A642-B27E-45C5-BAB1-9A76E2BA324D}">
      <dsp:nvSpPr>
        <dsp:cNvPr id="0" name=""/>
        <dsp:cNvSpPr/>
      </dsp:nvSpPr>
      <dsp:spPr>
        <a:xfrm>
          <a:off x="2" y="4616865"/>
          <a:ext cx="2173794" cy="615305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dk1">
                <a:lumMod val="110000"/>
                <a:satMod val="105000"/>
                <a:tint val="67000"/>
              </a:schemeClr>
            </a:gs>
            <a:gs pos="50000">
              <a:schemeClr val="dk1">
                <a:lumMod val="105000"/>
                <a:satMod val="103000"/>
                <a:tint val="73000"/>
              </a:schemeClr>
            </a:gs>
            <a:gs pos="100000">
              <a:schemeClr val="dk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dk1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ln>
                <a:noFill/>
              </a:ln>
              <a:solidFill>
                <a:schemeClr val="bg1"/>
              </a:solidFill>
            </a:rPr>
            <a:t>Classification</a:t>
          </a:r>
          <a:endParaRPr lang="en-CA" sz="1600" b="1" kern="1200" dirty="0">
            <a:ln>
              <a:noFill/>
            </a:ln>
            <a:solidFill>
              <a:schemeClr val="bg1"/>
            </a:solidFill>
          </a:endParaRPr>
        </a:p>
      </dsp:txBody>
      <dsp:txXfrm>
        <a:off x="18024" y="4634887"/>
        <a:ext cx="2137750" cy="57926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2C526E-2C6D-4CC4-AF4F-2C431851B101}">
      <dsp:nvSpPr>
        <dsp:cNvPr id="0" name=""/>
        <dsp:cNvSpPr/>
      </dsp:nvSpPr>
      <dsp:spPr>
        <a:xfrm>
          <a:off x="257168" y="1260"/>
          <a:ext cx="1713942" cy="1028365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TF-IDF</a:t>
          </a:r>
          <a:endParaRPr lang="en-CA" sz="1900" kern="1200" dirty="0"/>
        </a:p>
      </dsp:txBody>
      <dsp:txXfrm>
        <a:off x="287288" y="31380"/>
        <a:ext cx="1653702" cy="968125"/>
      </dsp:txXfrm>
    </dsp:sp>
    <dsp:sp modelId="{FA98C883-CA06-4611-8CB0-4892204FD90D}">
      <dsp:nvSpPr>
        <dsp:cNvPr id="0" name=""/>
        <dsp:cNvSpPr/>
      </dsp:nvSpPr>
      <dsp:spPr>
        <a:xfrm>
          <a:off x="2124267" y="302914"/>
          <a:ext cx="368969" cy="425057"/>
        </a:xfrm>
        <a:prstGeom prst="rightArrow">
          <a:avLst>
            <a:gd name="adj1" fmla="val 60000"/>
            <a:gd name="adj2" fmla="val 50000"/>
          </a:avLst>
        </a:prstGeom>
        <a:gradFill rotWithShape="1">
          <a:gsLst>
            <a:gs pos="0">
              <a:schemeClr val="dk1">
                <a:lumMod val="110000"/>
                <a:satMod val="105000"/>
                <a:tint val="67000"/>
              </a:schemeClr>
            </a:gs>
            <a:gs pos="50000">
              <a:schemeClr val="dk1">
                <a:lumMod val="105000"/>
                <a:satMod val="103000"/>
                <a:tint val="73000"/>
              </a:schemeClr>
            </a:gs>
            <a:gs pos="100000">
              <a:schemeClr val="dk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dk1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500" kern="1200" dirty="0"/>
        </a:p>
      </dsp:txBody>
      <dsp:txXfrm>
        <a:off x="2124267" y="387925"/>
        <a:ext cx="258278" cy="255035"/>
      </dsp:txXfrm>
    </dsp:sp>
    <dsp:sp modelId="{F8E865F8-23AA-4AEE-9BE3-77B501046FBF}">
      <dsp:nvSpPr>
        <dsp:cNvPr id="0" name=""/>
        <dsp:cNvSpPr/>
      </dsp:nvSpPr>
      <dsp:spPr>
        <a:xfrm>
          <a:off x="2667279" y="1260"/>
          <a:ext cx="1713942" cy="1028365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LDA</a:t>
          </a:r>
          <a:endParaRPr lang="en-CA" sz="1900" kern="1200" dirty="0"/>
        </a:p>
      </dsp:txBody>
      <dsp:txXfrm>
        <a:off x="2697399" y="31380"/>
        <a:ext cx="1653702" cy="968125"/>
      </dsp:txXfrm>
    </dsp:sp>
    <dsp:sp modelId="{00409E32-772D-455D-92C7-140665790339}">
      <dsp:nvSpPr>
        <dsp:cNvPr id="0" name=""/>
        <dsp:cNvSpPr/>
      </dsp:nvSpPr>
      <dsp:spPr>
        <a:xfrm>
          <a:off x="4532048" y="302914"/>
          <a:ext cx="363355" cy="425057"/>
        </a:xfrm>
        <a:prstGeom prst="rightArrow">
          <a:avLst>
            <a:gd name="adj1" fmla="val 60000"/>
            <a:gd name="adj2" fmla="val 50000"/>
          </a:avLst>
        </a:prstGeom>
        <a:gradFill rotWithShape="1">
          <a:gsLst>
            <a:gs pos="0">
              <a:schemeClr val="dk1">
                <a:lumMod val="110000"/>
                <a:satMod val="105000"/>
                <a:tint val="67000"/>
              </a:schemeClr>
            </a:gs>
            <a:gs pos="50000">
              <a:schemeClr val="dk1">
                <a:lumMod val="105000"/>
                <a:satMod val="103000"/>
                <a:tint val="73000"/>
              </a:schemeClr>
            </a:gs>
            <a:gs pos="100000">
              <a:schemeClr val="dk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dk1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500" kern="1200" dirty="0"/>
        </a:p>
      </dsp:txBody>
      <dsp:txXfrm>
        <a:off x="4532048" y="387925"/>
        <a:ext cx="254349" cy="255035"/>
      </dsp:txXfrm>
    </dsp:sp>
    <dsp:sp modelId="{738533CC-EF0C-42DF-BDF2-F0DE2B01C7CF}">
      <dsp:nvSpPr>
        <dsp:cNvPr id="0" name=""/>
        <dsp:cNvSpPr/>
      </dsp:nvSpPr>
      <dsp:spPr>
        <a:xfrm>
          <a:off x="5066798" y="1260"/>
          <a:ext cx="1713942" cy="1028365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Overall Topic Models</a:t>
          </a:r>
          <a:endParaRPr lang="en-CA" sz="1900" kern="1200" dirty="0"/>
        </a:p>
      </dsp:txBody>
      <dsp:txXfrm>
        <a:off x="5096918" y="31380"/>
        <a:ext cx="1653702" cy="968125"/>
      </dsp:txXfrm>
    </dsp:sp>
    <dsp:sp modelId="{1CF70100-4797-4858-879B-A16DF159DA1A}">
      <dsp:nvSpPr>
        <dsp:cNvPr id="0" name=""/>
        <dsp:cNvSpPr/>
      </dsp:nvSpPr>
      <dsp:spPr>
        <a:xfrm rot="5400000">
          <a:off x="5742091" y="1149602"/>
          <a:ext cx="363355" cy="425057"/>
        </a:xfrm>
        <a:prstGeom prst="rightArrow">
          <a:avLst>
            <a:gd name="adj1" fmla="val 60000"/>
            <a:gd name="adj2" fmla="val 50000"/>
          </a:avLst>
        </a:prstGeom>
        <a:gradFill rotWithShape="1">
          <a:gsLst>
            <a:gs pos="0">
              <a:schemeClr val="dk1">
                <a:lumMod val="110000"/>
                <a:satMod val="105000"/>
                <a:tint val="67000"/>
              </a:schemeClr>
            </a:gs>
            <a:gs pos="50000">
              <a:schemeClr val="dk1">
                <a:lumMod val="105000"/>
                <a:satMod val="103000"/>
                <a:tint val="73000"/>
              </a:schemeClr>
            </a:gs>
            <a:gs pos="100000">
              <a:schemeClr val="dk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dk1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500" kern="1200" dirty="0"/>
        </a:p>
      </dsp:txBody>
      <dsp:txXfrm rot="-5400000">
        <a:off x="5796251" y="1180453"/>
        <a:ext cx="255035" cy="254349"/>
      </dsp:txXfrm>
    </dsp:sp>
    <dsp:sp modelId="{4FD23946-E526-4F24-A80A-94B35CCDBAD8}">
      <dsp:nvSpPr>
        <dsp:cNvPr id="0" name=""/>
        <dsp:cNvSpPr/>
      </dsp:nvSpPr>
      <dsp:spPr>
        <a:xfrm>
          <a:off x="5066798" y="1715202"/>
          <a:ext cx="1713942" cy="1028365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Books Topic Model</a:t>
          </a:r>
          <a:endParaRPr lang="en-CA" sz="1900" kern="1200" dirty="0"/>
        </a:p>
      </dsp:txBody>
      <dsp:txXfrm>
        <a:off x="5096918" y="1745322"/>
        <a:ext cx="1653702" cy="968125"/>
      </dsp:txXfrm>
    </dsp:sp>
    <dsp:sp modelId="{07719A74-FCAB-4271-B025-D30E739DEC9B}">
      <dsp:nvSpPr>
        <dsp:cNvPr id="0" name=""/>
        <dsp:cNvSpPr/>
      </dsp:nvSpPr>
      <dsp:spPr>
        <a:xfrm rot="10800000">
          <a:off x="4552615" y="2016856"/>
          <a:ext cx="363355" cy="425057"/>
        </a:xfrm>
        <a:prstGeom prst="rightArrow">
          <a:avLst>
            <a:gd name="adj1" fmla="val 60000"/>
            <a:gd name="adj2" fmla="val 50000"/>
          </a:avLst>
        </a:prstGeom>
        <a:gradFill rotWithShape="1">
          <a:gsLst>
            <a:gs pos="0">
              <a:schemeClr val="dk1">
                <a:lumMod val="110000"/>
                <a:satMod val="105000"/>
                <a:tint val="67000"/>
              </a:schemeClr>
            </a:gs>
            <a:gs pos="50000">
              <a:schemeClr val="dk1">
                <a:lumMod val="105000"/>
                <a:satMod val="103000"/>
                <a:tint val="73000"/>
              </a:schemeClr>
            </a:gs>
            <a:gs pos="100000">
              <a:schemeClr val="dk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dk1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500" kern="1200" dirty="0"/>
        </a:p>
      </dsp:txBody>
      <dsp:txXfrm rot="10800000">
        <a:off x="4661621" y="2101867"/>
        <a:ext cx="254349" cy="255035"/>
      </dsp:txXfrm>
    </dsp:sp>
    <dsp:sp modelId="{916F1A97-9771-4FE7-B0D1-0A35B77A2780}">
      <dsp:nvSpPr>
        <dsp:cNvPr id="0" name=""/>
        <dsp:cNvSpPr/>
      </dsp:nvSpPr>
      <dsp:spPr>
        <a:xfrm>
          <a:off x="2667279" y="1715202"/>
          <a:ext cx="1713942" cy="1028365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Home &amp; Kitchen Topic Model</a:t>
          </a:r>
          <a:endParaRPr lang="en-CA" sz="1900" kern="1200" dirty="0"/>
        </a:p>
      </dsp:txBody>
      <dsp:txXfrm>
        <a:off x="2697399" y="1745322"/>
        <a:ext cx="1653702" cy="968125"/>
      </dsp:txXfrm>
    </dsp:sp>
    <dsp:sp modelId="{76EEEA15-2130-44B8-80E0-F53014AF6F1B}">
      <dsp:nvSpPr>
        <dsp:cNvPr id="0" name=""/>
        <dsp:cNvSpPr/>
      </dsp:nvSpPr>
      <dsp:spPr>
        <a:xfrm rot="10800000">
          <a:off x="2153096" y="2016856"/>
          <a:ext cx="363355" cy="425057"/>
        </a:xfrm>
        <a:prstGeom prst="rightArrow">
          <a:avLst>
            <a:gd name="adj1" fmla="val 60000"/>
            <a:gd name="adj2" fmla="val 50000"/>
          </a:avLst>
        </a:prstGeom>
        <a:gradFill rotWithShape="1">
          <a:gsLst>
            <a:gs pos="0">
              <a:schemeClr val="dk1">
                <a:lumMod val="110000"/>
                <a:satMod val="105000"/>
                <a:tint val="67000"/>
              </a:schemeClr>
            </a:gs>
            <a:gs pos="50000">
              <a:schemeClr val="dk1">
                <a:lumMod val="105000"/>
                <a:satMod val="103000"/>
                <a:tint val="73000"/>
              </a:schemeClr>
            </a:gs>
            <a:gs pos="100000">
              <a:schemeClr val="dk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dk1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500" kern="1200" dirty="0"/>
        </a:p>
      </dsp:txBody>
      <dsp:txXfrm rot="10800000">
        <a:off x="2262102" y="2101867"/>
        <a:ext cx="254349" cy="255035"/>
      </dsp:txXfrm>
    </dsp:sp>
    <dsp:sp modelId="{D255F2C7-33B2-41A2-9A76-8D244C112315}">
      <dsp:nvSpPr>
        <dsp:cNvPr id="0" name=""/>
        <dsp:cNvSpPr/>
      </dsp:nvSpPr>
      <dsp:spPr>
        <a:xfrm>
          <a:off x="267760" y="1715202"/>
          <a:ext cx="1713942" cy="1028365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Video Games Topic Models</a:t>
          </a:r>
          <a:endParaRPr lang="en-CA" sz="1900" kern="1200" dirty="0"/>
        </a:p>
      </dsp:txBody>
      <dsp:txXfrm>
        <a:off x="297880" y="1745322"/>
        <a:ext cx="1653702" cy="9681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0BB6F0-2C6B-4163-9414-DE0524D67424}" type="datetimeFigureOut">
              <a:rPr lang="en-US" smtClean="0"/>
              <a:t>10/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CE7F9A-AC6C-48EE-8EBB-25456C25F59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1707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g33e13d9a7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9" name="Google Shape;139;g33e13d9a7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3C4043"/>
              </a:solidFill>
              <a:highlight>
                <a:srgbClr val="FFFFFF"/>
              </a:highlight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lvl="3">
              <a:lnSpc>
                <a:spcPct val="100000"/>
              </a:lnSpc>
              <a:spcBef>
                <a:spcPts val="1000"/>
              </a:spcBef>
            </a:pPr>
            <a:r>
              <a:rPr lang="en-US" sz="1000" dirty="0"/>
              <a:t>Cost estimators (1 slide): 1 min (Lillian)</a:t>
            </a:r>
          </a:p>
          <a:p>
            <a:pPr marL="685800" lvl="4">
              <a:lnSpc>
                <a:spcPct val="100000"/>
              </a:lnSpc>
              <a:spcBef>
                <a:spcPts val="1000"/>
              </a:spcBef>
            </a:pPr>
            <a:r>
              <a:rPr lang="en-US" sz="1000" dirty="0"/>
              <a:t>Time to run (cost implication: can do sample or actual runtime: TBD)</a:t>
            </a:r>
          </a:p>
          <a:p>
            <a:pPr marL="685800" lvl="4">
              <a:lnSpc>
                <a:spcPct val="100000"/>
              </a:lnSpc>
              <a:spcBef>
                <a:spcPts val="1000"/>
              </a:spcBef>
            </a:pPr>
            <a:r>
              <a:rPr lang="en-US" sz="1000" dirty="0"/>
              <a:t>Actual cost estimat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E7F9A-AC6C-48EE-8EBB-25456C25F594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5642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lvl="3">
              <a:lnSpc>
                <a:spcPct val="100000"/>
              </a:lnSpc>
              <a:spcBef>
                <a:spcPts val="1000"/>
              </a:spcBef>
            </a:pPr>
            <a:r>
              <a:rPr lang="en-US" sz="1000" dirty="0"/>
              <a:t>Conclusion: (1 slide) 1 mins (Lillian)</a:t>
            </a:r>
          </a:p>
          <a:p>
            <a:pPr marL="685800" lvl="4">
              <a:lnSpc>
                <a:spcPct val="100000"/>
              </a:lnSpc>
              <a:spcBef>
                <a:spcPts val="1000"/>
              </a:spcBef>
            </a:pPr>
            <a:r>
              <a:rPr lang="en-US" sz="1000" dirty="0"/>
              <a:t>Re-visit the problem statement and business implication</a:t>
            </a:r>
          </a:p>
          <a:p>
            <a:pPr marL="685800" lvl="4">
              <a:lnSpc>
                <a:spcPct val="100000"/>
              </a:lnSpc>
              <a:spcBef>
                <a:spcPts val="1000"/>
              </a:spcBef>
            </a:pPr>
            <a:r>
              <a:rPr lang="en-US" sz="1000" dirty="0"/>
              <a:t>Recommendatio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CE7F9A-AC6C-48EE-8EBB-25456C25F594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4287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g33e13d9a7e_0_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7" name="Google Shape;187;g33e13d9a7e_0_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050" dirty="0">
              <a:solidFill>
                <a:srgbClr val="3C4043"/>
              </a:solidFill>
              <a:highlight>
                <a:srgbClr val="FFFFFF"/>
              </a:highlight>
              <a:latin typeface="Roboto"/>
              <a:ea typeface="Roboto"/>
              <a:cs typeface="Roboto"/>
              <a:sym typeface="Roboto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829F1D-F2CD-42D6-B2CA-957CC22B8E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22993A-09EB-41E2-9B9F-C50E237695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1D15C2-7558-4744-A634-BADB5EE4CB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4E2672-8FDC-461F-A2E7-8E8890803383}" type="datetime1">
              <a:rPr lang="en-US" smtClean="0"/>
              <a:t>10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156852-5041-4BDE-BE74-DAE7F82658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14A26E-BE76-46AB-A2B9-3B63DF367F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461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7FB147-1671-491E-95CC-E1C3786BF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127FF0A-63D2-46DA-AA2C-BD8B7F9F03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1B7882-6E2C-4C03-80C1-E3A3CFD368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687D6-3732-4DFB-BDD1-93FFC0747B1E}" type="datetime1">
              <a:rPr lang="en-US" smtClean="0"/>
              <a:t>10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5596A6-BC69-4428-8ACA-DC53CEFD47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2C5AA8-A93B-40D3-88D5-BBE9D042FC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667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F4FC17F-14BE-4125-B2F9-51B4DB01136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10DC43E-E66D-4A33-970C-C11F8DB97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8E17A2-E4DD-43E6-82E7-8442DE575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3D8E06-256C-46E3-AE6E-FA67E2A83910}" type="datetime1">
              <a:rPr lang="en-US" smtClean="0"/>
              <a:t>10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7294AA-8B89-4367-81A0-B748C0CC0E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731C3-32AA-49D3-BE92-9228A6CE2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7325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Table of contents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ctrTitle"/>
          </p:nvPr>
        </p:nvSpPr>
        <p:spPr>
          <a:xfrm>
            <a:off x="4565203" y="516631"/>
            <a:ext cx="30024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subTitle" idx="1"/>
          </p:nvPr>
        </p:nvSpPr>
        <p:spPr>
          <a:xfrm>
            <a:off x="4565200" y="1070028"/>
            <a:ext cx="25420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title" idx="2" hasCustomPrompt="1"/>
          </p:nvPr>
        </p:nvSpPr>
        <p:spPr>
          <a:xfrm>
            <a:off x="2697343" y="872151"/>
            <a:ext cx="23188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15" name="Google Shape;15;p3"/>
          <p:cNvSpPr txBox="1">
            <a:spLocks noGrp="1"/>
          </p:cNvSpPr>
          <p:nvPr>
            <p:ph type="ctrTitle" idx="3"/>
          </p:nvPr>
        </p:nvSpPr>
        <p:spPr>
          <a:xfrm>
            <a:off x="4567019" y="1632381"/>
            <a:ext cx="30024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16" name="Google Shape;16;p3"/>
          <p:cNvSpPr txBox="1">
            <a:spLocks noGrp="1"/>
          </p:cNvSpPr>
          <p:nvPr>
            <p:ph type="subTitle" idx="4"/>
          </p:nvPr>
        </p:nvSpPr>
        <p:spPr>
          <a:xfrm>
            <a:off x="4567012" y="2185145"/>
            <a:ext cx="26356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9pPr>
          </a:lstStyle>
          <a:p>
            <a:endParaRPr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 idx="5" hasCustomPrompt="1"/>
          </p:nvPr>
        </p:nvSpPr>
        <p:spPr>
          <a:xfrm>
            <a:off x="2697343" y="1985051"/>
            <a:ext cx="21536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18" name="Google Shape;18;p3"/>
          <p:cNvSpPr txBox="1">
            <a:spLocks noGrp="1"/>
          </p:cNvSpPr>
          <p:nvPr>
            <p:ph type="ctrTitle" idx="6"/>
          </p:nvPr>
        </p:nvSpPr>
        <p:spPr>
          <a:xfrm>
            <a:off x="4570665" y="2748131"/>
            <a:ext cx="30024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subTitle" idx="7"/>
          </p:nvPr>
        </p:nvSpPr>
        <p:spPr>
          <a:xfrm>
            <a:off x="4570663" y="3300263"/>
            <a:ext cx="25420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title" idx="8" hasCustomPrompt="1"/>
          </p:nvPr>
        </p:nvSpPr>
        <p:spPr>
          <a:xfrm>
            <a:off x="2697343" y="3097951"/>
            <a:ext cx="20980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1" name="Google Shape;21;p3"/>
          <p:cNvSpPr txBox="1">
            <a:spLocks noGrp="1"/>
          </p:cNvSpPr>
          <p:nvPr>
            <p:ph type="ctrTitle" idx="9"/>
          </p:nvPr>
        </p:nvSpPr>
        <p:spPr>
          <a:xfrm rot="5400000">
            <a:off x="8802172" y="2195027"/>
            <a:ext cx="3884400" cy="65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endParaRPr/>
          </a:p>
        </p:txBody>
      </p:sp>
      <p:sp>
        <p:nvSpPr>
          <p:cNvPr id="22" name="Google Shape;22;p3"/>
          <p:cNvSpPr txBox="1">
            <a:spLocks noGrp="1"/>
          </p:cNvSpPr>
          <p:nvPr>
            <p:ph type="ctrTitle" idx="13"/>
          </p:nvPr>
        </p:nvSpPr>
        <p:spPr>
          <a:xfrm>
            <a:off x="4570665" y="3863881"/>
            <a:ext cx="30024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23" name="Google Shape;23;p3"/>
          <p:cNvSpPr txBox="1">
            <a:spLocks noGrp="1"/>
          </p:cNvSpPr>
          <p:nvPr>
            <p:ph type="subTitle" idx="14"/>
          </p:nvPr>
        </p:nvSpPr>
        <p:spPr>
          <a:xfrm>
            <a:off x="4570663" y="4415379"/>
            <a:ext cx="25420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9pPr>
          </a:lstStyle>
          <a:p>
            <a:endParaRPr/>
          </a:p>
        </p:txBody>
      </p:sp>
      <p:sp>
        <p:nvSpPr>
          <p:cNvPr id="24" name="Google Shape;24;p3"/>
          <p:cNvSpPr txBox="1">
            <a:spLocks noGrp="1"/>
          </p:cNvSpPr>
          <p:nvPr>
            <p:ph type="title" idx="15" hasCustomPrompt="1"/>
          </p:nvPr>
        </p:nvSpPr>
        <p:spPr>
          <a:xfrm>
            <a:off x="2697343" y="4210851"/>
            <a:ext cx="20980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5" name="Google Shape;25;p3"/>
          <p:cNvSpPr txBox="1">
            <a:spLocks noGrp="1"/>
          </p:cNvSpPr>
          <p:nvPr>
            <p:ph type="ctrTitle" idx="16"/>
          </p:nvPr>
        </p:nvSpPr>
        <p:spPr>
          <a:xfrm>
            <a:off x="4570665" y="4979631"/>
            <a:ext cx="30024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subTitle" idx="17"/>
          </p:nvPr>
        </p:nvSpPr>
        <p:spPr>
          <a:xfrm>
            <a:off x="4570663" y="5530496"/>
            <a:ext cx="25420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title" idx="18" hasCustomPrompt="1"/>
          </p:nvPr>
        </p:nvSpPr>
        <p:spPr>
          <a:xfrm>
            <a:off x="2697343" y="5323751"/>
            <a:ext cx="20980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42876876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1">
  <p:cSld name="Three columns 1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6"/>
          <p:cNvSpPr txBox="1">
            <a:spLocks noGrp="1"/>
          </p:cNvSpPr>
          <p:nvPr>
            <p:ph type="ctrTitle"/>
          </p:nvPr>
        </p:nvSpPr>
        <p:spPr>
          <a:xfrm>
            <a:off x="6562100" y="3990713"/>
            <a:ext cx="24376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9pPr>
          </a:lstStyle>
          <a:p>
            <a:endParaRPr/>
          </a:p>
        </p:txBody>
      </p:sp>
      <p:sp>
        <p:nvSpPr>
          <p:cNvPr id="43" name="Google Shape;43;p6"/>
          <p:cNvSpPr txBox="1">
            <a:spLocks noGrp="1"/>
          </p:cNvSpPr>
          <p:nvPr>
            <p:ph type="subTitle" idx="1"/>
          </p:nvPr>
        </p:nvSpPr>
        <p:spPr>
          <a:xfrm>
            <a:off x="6562100" y="4738413"/>
            <a:ext cx="2029600" cy="126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>
                <a:solidFill>
                  <a:srgbClr val="000000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9pPr>
          </a:lstStyle>
          <a:p>
            <a:endParaRPr/>
          </a:p>
        </p:txBody>
      </p:sp>
      <p:sp>
        <p:nvSpPr>
          <p:cNvPr id="44" name="Google Shape;44;p6"/>
          <p:cNvSpPr txBox="1">
            <a:spLocks noGrp="1"/>
          </p:cNvSpPr>
          <p:nvPr>
            <p:ph type="ctrTitle" idx="2"/>
          </p:nvPr>
        </p:nvSpPr>
        <p:spPr>
          <a:xfrm>
            <a:off x="1208185" y="3990713"/>
            <a:ext cx="24376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9pPr>
          </a:lstStyle>
          <a:p>
            <a:endParaRPr/>
          </a:p>
        </p:txBody>
      </p:sp>
      <p:sp>
        <p:nvSpPr>
          <p:cNvPr id="45" name="Google Shape;45;p6"/>
          <p:cNvSpPr txBox="1">
            <a:spLocks noGrp="1"/>
          </p:cNvSpPr>
          <p:nvPr>
            <p:ph type="subTitle" idx="3"/>
          </p:nvPr>
        </p:nvSpPr>
        <p:spPr>
          <a:xfrm>
            <a:off x="1208185" y="4738413"/>
            <a:ext cx="2029600" cy="126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>
                <a:solidFill>
                  <a:srgbClr val="000000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9pPr>
          </a:lstStyle>
          <a:p>
            <a:endParaRPr/>
          </a:p>
        </p:txBody>
      </p:sp>
      <p:sp>
        <p:nvSpPr>
          <p:cNvPr id="46" name="Google Shape;46;p6"/>
          <p:cNvSpPr txBox="1">
            <a:spLocks noGrp="1"/>
          </p:cNvSpPr>
          <p:nvPr>
            <p:ph type="ctrTitle" idx="4"/>
          </p:nvPr>
        </p:nvSpPr>
        <p:spPr>
          <a:xfrm rot="5400000">
            <a:off x="8913916" y="2195027"/>
            <a:ext cx="3884400" cy="65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endParaRPr/>
          </a:p>
        </p:txBody>
      </p:sp>
      <p:sp>
        <p:nvSpPr>
          <p:cNvPr id="47" name="Google Shape;47;p6"/>
          <p:cNvSpPr txBox="1">
            <a:spLocks noGrp="1"/>
          </p:cNvSpPr>
          <p:nvPr>
            <p:ph type="ctrTitle" idx="5"/>
          </p:nvPr>
        </p:nvSpPr>
        <p:spPr>
          <a:xfrm>
            <a:off x="3904743" y="3990713"/>
            <a:ext cx="2398400" cy="8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None/>
              <a:defRPr sz="2400">
                <a:solidFill>
                  <a:srgbClr val="F3F3F3"/>
                </a:solidFill>
              </a:defRPr>
            </a:lvl9pPr>
          </a:lstStyle>
          <a:p>
            <a:endParaRPr/>
          </a:p>
        </p:txBody>
      </p:sp>
      <p:sp>
        <p:nvSpPr>
          <p:cNvPr id="48" name="Google Shape;48;p6"/>
          <p:cNvSpPr txBox="1">
            <a:spLocks noGrp="1"/>
          </p:cNvSpPr>
          <p:nvPr>
            <p:ph type="subTitle" idx="6"/>
          </p:nvPr>
        </p:nvSpPr>
        <p:spPr>
          <a:xfrm>
            <a:off x="3904733" y="4738413"/>
            <a:ext cx="1968400" cy="126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>
                <a:solidFill>
                  <a:srgbClr val="000000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584154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B2101B-CFCB-4259-AD8B-4F8F54300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4BD1BD-409F-4FC2-AACB-53CFAD2B24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263150-EE32-42D2-A79D-C37139DDBC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7CFAA4-F3EA-411A-A7B4-084072FE28FF}" type="datetime1">
              <a:rPr lang="en-US" smtClean="0"/>
              <a:t>10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C74080-5D96-40CF-8ED6-FEE70E498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6A8462-9A3B-4D2A-9332-A87827DAA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5790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A58C82-C30D-45F8-8ABF-69B09FFE6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AD6861-464F-4BCB-8B77-1828D01C92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72B2D7-5003-4284-96F1-2377865539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DE231-DE76-4500-8FB4-DCABE8681EE0}" type="datetime1">
              <a:rPr lang="en-US" smtClean="0"/>
              <a:t>10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E9EE42-57EC-4923-B949-B93970BC6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C5D3A8-9389-49CF-9ABE-8A3017CA3C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8538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CF6714-8FED-4B42-BBF4-BCB58B19D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C21C3F-F224-4CE2-95E2-6BD8531DC8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7FAB65-3133-42E6-98CC-20656B9798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78B97D-4997-427D-8312-F2972A2450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F6D0D-8438-47E1-8859-806407DB5A61}" type="datetime1">
              <a:rPr lang="en-US" smtClean="0"/>
              <a:t>10/7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BF4BB8-5DB2-4845-8786-FEF2D1406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0E2CE6-CF79-421F-B3DA-69E81A3DE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4246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614C4B-426F-4024-BEEB-8F87AFF04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8EEF7F-F95C-43D6-A567-BAE0701E13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5721D5-C875-4E35-B0FB-B5E779422C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7BB5BB-2063-4916-ABA5-F3D418B461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C13E6A-BB7E-467A-8032-AA019DD41A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E95990-5AC5-46DD-AEEE-922C30210E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225522-93E3-48B1-B2F5-FABFB46AC22F}" type="datetime1">
              <a:rPr lang="en-US" smtClean="0"/>
              <a:t>10/7/2020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A303979-EDC4-4F3F-B282-D33271EC6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E43A9F-1A0E-484B-A943-90E8F6BAB4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130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B294BD-21A6-4E52-9A0B-A7051A42E6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9DCB61-6969-4492-B10F-943819AA77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7567D-63A0-4EE0-91B9-4112A11F5572}" type="datetime1">
              <a:rPr lang="en-US" smtClean="0"/>
              <a:t>10/7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69751F-5FBA-4780-9338-B4EA3BFFFA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1A69B9-C597-4499-ADDF-DEDE00719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503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96876B5-FAC7-40C1-9DF2-91B159DB7A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91D60-07F0-4C52-BDD3-639C58472719}" type="datetime1">
              <a:rPr lang="en-US" smtClean="0"/>
              <a:t>10/7/20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EABE36-E31C-45A6-B75D-98B540F4F4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4D0D09-3793-42D5-8E0B-21D5527F2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3820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215AA0-D378-4306-9A55-A99A41515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150E78-F418-4995-893F-532ACFA1BF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3FADA-B57B-4EA5-AE53-94E822A8FA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063289-B074-4408-BD94-18878C179D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CFA82-86DD-4824-A3D9-78476FE3CD6C}" type="datetime1">
              <a:rPr lang="en-US" smtClean="0"/>
              <a:t>10/7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7E59D4-5876-4F0F-A02E-8193085716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A3E71D-A4D5-4B90-A036-B676C0A66D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2586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6B02A-15D0-4285-B61F-FD788EC54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A50590-83FE-40E8-8C04-6A4C860A953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9A00BE-6881-4B8E-A81A-4CC578E31D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DA122D-C9CC-426D-886B-95D0ABCDD1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DAB015-72CF-410D-B8D4-3EC52C8D686E}" type="datetime1">
              <a:rPr lang="en-US" smtClean="0"/>
              <a:t>10/7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3E91D4-B448-4CA9-859D-896CBA4EA9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E960D3-8989-41F2-92F1-D60853CBF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362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E11A11-581A-4573-AE77-1DCEBA6E75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344720-07CB-43B1-9B73-7175DD9F0A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6644B7-A235-4D5B-9E55-E64EEE2794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5139F6-D729-4CF3-AC0D-52A32A5E65BA}" type="datetime1">
              <a:rPr lang="en-US" smtClean="0"/>
              <a:t>10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215F2B-F872-477F-9225-11270BA52D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77E0C1-C509-445F-9E9B-7DD2EA8751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5729A4-FE25-4C7A-A98B-1CBE1D27D1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111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0" r:id="rId12"/>
    <p:sldLayoutId id="2147483671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emf"/><Relationship Id="rId15" Type="http://schemas.openxmlformats.org/officeDocument/2006/relationships/image" Target="../media/image9.png"/><Relationship Id="rId10" Type="http://schemas.openxmlformats.org/officeDocument/2006/relationships/image" Target="../media/image33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png"/><Relationship Id="rId5" Type="http://schemas.openxmlformats.org/officeDocument/2006/relationships/image" Target="../media/image45.png"/><Relationship Id="rId4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png"/><Relationship Id="rId5" Type="http://schemas.openxmlformats.org/officeDocument/2006/relationships/image" Target="../media/image46.png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png"/><Relationship Id="rId5" Type="http://schemas.openxmlformats.org/officeDocument/2006/relationships/image" Target="../media/image47.png"/><Relationship Id="rId4" Type="http://schemas.openxmlformats.org/officeDocument/2006/relationships/image" Target="../media/image4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3" Type="http://schemas.openxmlformats.org/officeDocument/2006/relationships/image" Target="../media/image53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microsoft.com/office/2007/relationships/hdphoto" Target="../media/hdphoto2.wdp"/><Relationship Id="rId9" Type="http://schemas.openxmlformats.org/officeDocument/2006/relationships/image" Target="../media/image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7.JPG"/><Relationship Id="rId4" Type="http://schemas.openxmlformats.org/officeDocument/2006/relationships/image" Target="../media/image66.JP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4.sv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image" Target="../media/image69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1.JP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hyperlink" Target="https://medium.com/trustyou-engineering/topic-modelling-with-pyspark-and-spark-nlp-a99d063f1a6e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10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Relationship Id="rId1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microsoft.com/office/2007/relationships/diagramDrawing" Target="../diagrams/drawing4.xml"/><Relationship Id="rId18" Type="http://schemas.openxmlformats.org/officeDocument/2006/relationships/diagramQuickStyle" Target="../diagrams/quickStyle5.xml"/><Relationship Id="rId26" Type="http://schemas.openxmlformats.org/officeDocument/2006/relationships/image" Target="../media/image16.png"/><Relationship Id="rId3" Type="http://schemas.openxmlformats.org/officeDocument/2006/relationships/diagramLayout" Target="../diagrams/layout3.xml"/><Relationship Id="rId21" Type="http://schemas.openxmlformats.org/officeDocument/2006/relationships/diagramData" Target="../diagrams/data6.xml"/><Relationship Id="rId7" Type="http://schemas.openxmlformats.org/officeDocument/2006/relationships/image" Target="../media/image12.png"/><Relationship Id="rId12" Type="http://schemas.openxmlformats.org/officeDocument/2006/relationships/diagramColors" Target="../diagrams/colors4.xml"/><Relationship Id="rId17" Type="http://schemas.openxmlformats.org/officeDocument/2006/relationships/diagramLayout" Target="../diagrams/layout5.xml"/><Relationship Id="rId25" Type="http://schemas.microsoft.com/office/2007/relationships/diagramDrawing" Target="../diagrams/drawing6.xml"/><Relationship Id="rId2" Type="http://schemas.openxmlformats.org/officeDocument/2006/relationships/diagramData" Target="../diagrams/data3.xml"/><Relationship Id="rId16" Type="http://schemas.openxmlformats.org/officeDocument/2006/relationships/diagramData" Target="../diagrams/data5.xml"/><Relationship Id="rId20" Type="http://schemas.microsoft.com/office/2007/relationships/diagramDrawing" Target="../diagrams/drawing5.xml"/><Relationship Id="rId29" Type="http://schemas.openxmlformats.org/officeDocument/2006/relationships/diagramLayout" Target="../diagrams/layout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11" Type="http://schemas.openxmlformats.org/officeDocument/2006/relationships/diagramQuickStyle" Target="../diagrams/quickStyle4.xml"/><Relationship Id="rId24" Type="http://schemas.openxmlformats.org/officeDocument/2006/relationships/diagramColors" Target="../diagrams/colors6.xml"/><Relationship Id="rId32" Type="http://schemas.microsoft.com/office/2007/relationships/diagramDrawing" Target="../diagrams/drawing7.xml"/><Relationship Id="rId5" Type="http://schemas.openxmlformats.org/officeDocument/2006/relationships/diagramColors" Target="../diagrams/colors3.xml"/><Relationship Id="rId15" Type="http://schemas.openxmlformats.org/officeDocument/2006/relationships/image" Target="../media/image15.svg"/><Relationship Id="rId23" Type="http://schemas.openxmlformats.org/officeDocument/2006/relationships/diagramQuickStyle" Target="../diagrams/quickStyle6.xml"/><Relationship Id="rId28" Type="http://schemas.openxmlformats.org/officeDocument/2006/relationships/diagramData" Target="../diagrams/data7.xml"/><Relationship Id="rId10" Type="http://schemas.openxmlformats.org/officeDocument/2006/relationships/diagramLayout" Target="../diagrams/layout4.xml"/><Relationship Id="rId19" Type="http://schemas.openxmlformats.org/officeDocument/2006/relationships/diagramColors" Target="../diagrams/colors5.xml"/><Relationship Id="rId31" Type="http://schemas.openxmlformats.org/officeDocument/2006/relationships/diagramColors" Target="../diagrams/colors7.xml"/><Relationship Id="rId4" Type="http://schemas.openxmlformats.org/officeDocument/2006/relationships/diagramQuickStyle" Target="../diagrams/quickStyle3.xml"/><Relationship Id="rId9" Type="http://schemas.openxmlformats.org/officeDocument/2006/relationships/diagramData" Target="../diagrams/data4.xml"/><Relationship Id="rId14" Type="http://schemas.openxmlformats.org/officeDocument/2006/relationships/image" Target="../media/image14.png"/><Relationship Id="rId22" Type="http://schemas.openxmlformats.org/officeDocument/2006/relationships/diagramLayout" Target="../diagrams/layout6.xml"/><Relationship Id="rId27" Type="http://schemas.openxmlformats.org/officeDocument/2006/relationships/image" Target="../media/image17.svg"/><Relationship Id="rId30" Type="http://schemas.openxmlformats.org/officeDocument/2006/relationships/diagramQuickStyle" Target="../diagrams/quickStyle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13" Type="http://schemas.openxmlformats.org/officeDocument/2006/relationships/image" Target="../media/image19.svg"/><Relationship Id="rId3" Type="http://schemas.openxmlformats.org/officeDocument/2006/relationships/diagramLayout" Target="../diagrams/layout8.xml"/><Relationship Id="rId7" Type="http://schemas.openxmlformats.org/officeDocument/2006/relationships/diagramData" Target="../diagrams/data9.xml"/><Relationship Id="rId12" Type="http://schemas.openxmlformats.org/officeDocument/2006/relationships/image" Target="../media/image18.pn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11" Type="http://schemas.microsoft.com/office/2007/relationships/diagramDrawing" Target="../diagrams/drawing9.xml"/><Relationship Id="rId5" Type="http://schemas.openxmlformats.org/officeDocument/2006/relationships/diagramColors" Target="../diagrams/colors8.xml"/><Relationship Id="rId10" Type="http://schemas.openxmlformats.org/officeDocument/2006/relationships/diagramColors" Target="../diagrams/colors9.xml"/><Relationship Id="rId4" Type="http://schemas.openxmlformats.org/officeDocument/2006/relationships/diagramQuickStyle" Target="../diagrams/quickStyle8.xml"/><Relationship Id="rId9" Type="http://schemas.openxmlformats.org/officeDocument/2006/relationships/diagramQuickStyle" Target="../diagrams/quickStyle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10" Type="http://schemas.openxmlformats.org/officeDocument/2006/relationships/image" Target="../media/image27.png"/><Relationship Id="rId4" Type="http://schemas.openxmlformats.org/officeDocument/2006/relationships/image" Target="../media/image22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emf"/><Relationship Id="rId15" Type="http://schemas.openxmlformats.org/officeDocument/2006/relationships/image" Target="../media/image9.png"/><Relationship Id="rId10" Type="http://schemas.openxmlformats.org/officeDocument/2006/relationships/image" Target="../media/image33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emf"/><Relationship Id="rId15" Type="http://schemas.openxmlformats.org/officeDocument/2006/relationships/image" Target="../media/image9.png"/><Relationship Id="rId10" Type="http://schemas.openxmlformats.org/officeDocument/2006/relationships/image" Target="../media/image33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33C05EF-5620-488F-9983-75430F497E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E7022838-40C2-498F-B030-1F12DB5FD1D8}"/>
              </a:ext>
            </a:extLst>
          </p:cNvPr>
          <p:cNvSpPr/>
          <p:nvPr/>
        </p:nvSpPr>
        <p:spPr>
          <a:xfrm>
            <a:off x="0" y="423512"/>
            <a:ext cx="12020550" cy="5841292"/>
          </a:xfrm>
          <a:custGeom>
            <a:avLst/>
            <a:gdLst>
              <a:gd name="connsiteX0" fmla="*/ 0 w 10901938"/>
              <a:gd name="connsiteY0" fmla="*/ 0 h 6341806"/>
              <a:gd name="connsiteX1" fmla="*/ 8593710 w 10901938"/>
              <a:gd name="connsiteY1" fmla="*/ 0 h 6341806"/>
              <a:gd name="connsiteX2" fmla="*/ 10901938 w 10901938"/>
              <a:gd name="connsiteY2" fmla="*/ 6341806 h 6341806"/>
              <a:gd name="connsiteX3" fmla="*/ 0 w 10901938"/>
              <a:gd name="connsiteY3" fmla="*/ 6341806 h 6341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01938" h="6341806">
                <a:moveTo>
                  <a:pt x="0" y="0"/>
                </a:moveTo>
                <a:lnTo>
                  <a:pt x="8593710" y="0"/>
                </a:lnTo>
                <a:lnTo>
                  <a:pt x="10901938" y="6341806"/>
                </a:lnTo>
                <a:lnTo>
                  <a:pt x="0" y="6341806"/>
                </a:lnTo>
                <a:close/>
              </a:path>
            </a:pathLst>
          </a:custGeom>
          <a:gradFill>
            <a:gsLst>
              <a:gs pos="76000">
                <a:schemeClr val="tx2">
                  <a:alpha val="37000"/>
                  <a:lumMod val="80000"/>
                </a:schemeClr>
              </a:gs>
              <a:gs pos="100000">
                <a:srgbClr val="12161C">
                  <a:alpha val="76000"/>
                </a:srgbClr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Parallelogram 17">
            <a:extLst>
              <a:ext uri="{FF2B5EF4-FFF2-40B4-BE49-F238E27FC236}">
                <a16:creationId xmlns:a16="http://schemas.microsoft.com/office/drawing/2014/main" id="{D2B11A60-C678-437F-A2D1-647B8F48BEB7}"/>
              </a:ext>
            </a:extLst>
          </p:cNvPr>
          <p:cNvSpPr/>
          <p:nvPr/>
        </p:nvSpPr>
        <p:spPr>
          <a:xfrm flipH="1">
            <a:off x="0" y="0"/>
            <a:ext cx="4724400" cy="6858000"/>
          </a:xfrm>
          <a:prstGeom prst="parallelogram">
            <a:avLst>
              <a:gd name="adj" fmla="val 53226"/>
            </a:avLst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Parallelogram 18">
            <a:extLst>
              <a:ext uri="{FF2B5EF4-FFF2-40B4-BE49-F238E27FC236}">
                <a16:creationId xmlns:a16="http://schemas.microsoft.com/office/drawing/2014/main" id="{649A6429-18C0-4310-8801-11A47D683704}"/>
              </a:ext>
            </a:extLst>
          </p:cNvPr>
          <p:cNvSpPr/>
          <p:nvPr/>
        </p:nvSpPr>
        <p:spPr>
          <a:xfrm flipH="1">
            <a:off x="5047284" y="-57752"/>
            <a:ext cx="6066764" cy="6858000"/>
          </a:xfrm>
          <a:prstGeom prst="parallelogram">
            <a:avLst>
              <a:gd name="adj" fmla="val 42236"/>
            </a:avLst>
          </a:prstGeom>
          <a:solidFill>
            <a:schemeClr val="bg1">
              <a:alpha val="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E56B5FD-1503-4D54-82B6-0B8BDBD2F1FF}"/>
              </a:ext>
            </a:extLst>
          </p:cNvPr>
          <p:cNvGrpSpPr/>
          <p:nvPr/>
        </p:nvGrpSpPr>
        <p:grpSpPr>
          <a:xfrm>
            <a:off x="0" y="1827558"/>
            <a:ext cx="2834483" cy="5088194"/>
            <a:chOff x="0" y="1769806"/>
            <a:chExt cx="2834483" cy="5088194"/>
          </a:xfrm>
          <a:gradFill>
            <a:gsLst>
              <a:gs pos="0">
                <a:schemeClr val="tx2">
                  <a:lumMod val="50000"/>
                  <a:alpha val="69000"/>
                </a:schemeClr>
              </a:gs>
              <a:gs pos="100000">
                <a:srgbClr val="12161C">
                  <a:alpha val="92000"/>
                </a:srgbClr>
              </a:gs>
            </a:gsLst>
            <a:path path="circle">
              <a:fillToRect r="100000" b="100000"/>
            </a:path>
          </a:gra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743C87F-99A0-45CB-A9D9-6B190914D3F2}"/>
                </a:ext>
              </a:extLst>
            </p:cNvPr>
            <p:cNvSpPr/>
            <p:nvPr/>
          </p:nvSpPr>
          <p:spPr>
            <a:xfrm>
              <a:off x="0" y="1769806"/>
              <a:ext cx="2834483" cy="5088194"/>
            </a:xfrm>
            <a:custGeom>
              <a:avLst/>
              <a:gdLst>
                <a:gd name="connsiteX0" fmla="*/ 0 w 2834483"/>
                <a:gd name="connsiteY0" fmla="*/ 0 h 5088194"/>
                <a:gd name="connsiteX1" fmla="*/ 982532 w 2834483"/>
                <a:gd name="connsiteY1" fmla="*/ 0 h 5088194"/>
                <a:gd name="connsiteX2" fmla="*/ 2834483 w 2834483"/>
                <a:gd name="connsiteY2" fmla="*/ 5088194 h 5088194"/>
                <a:gd name="connsiteX3" fmla="*/ 0 w 2834483"/>
                <a:gd name="connsiteY3" fmla="*/ 5088194 h 5088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4483" h="5088194">
                  <a:moveTo>
                    <a:pt x="0" y="0"/>
                  </a:moveTo>
                  <a:lnTo>
                    <a:pt x="982532" y="0"/>
                  </a:lnTo>
                  <a:lnTo>
                    <a:pt x="2834483" y="5088194"/>
                  </a:lnTo>
                  <a:lnTo>
                    <a:pt x="0" y="50881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FD3B841-5661-4BBF-AC54-54DE521871A8}"/>
                </a:ext>
              </a:extLst>
            </p:cNvPr>
            <p:cNvSpPr/>
            <p:nvPr/>
          </p:nvSpPr>
          <p:spPr>
            <a:xfrm rot="20400000">
              <a:off x="1873042" y="1874105"/>
              <a:ext cx="176981" cy="42180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dirty="0"/>
            </a:p>
          </p:txBody>
        </p:sp>
      </p:grp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12B4E512-B72E-423C-86CD-7B2E215E992D}"/>
              </a:ext>
            </a:extLst>
          </p:cNvPr>
          <p:cNvSpPr/>
          <p:nvPr/>
        </p:nvSpPr>
        <p:spPr>
          <a:xfrm flipH="1" flipV="1">
            <a:off x="9113181" y="1420423"/>
            <a:ext cx="3083538" cy="5429250"/>
          </a:xfrm>
          <a:custGeom>
            <a:avLst/>
            <a:gdLst>
              <a:gd name="connsiteX0" fmla="*/ 0 w 2834483"/>
              <a:gd name="connsiteY0" fmla="*/ 0 h 5088194"/>
              <a:gd name="connsiteX1" fmla="*/ 982532 w 2834483"/>
              <a:gd name="connsiteY1" fmla="*/ 0 h 5088194"/>
              <a:gd name="connsiteX2" fmla="*/ 2834483 w 2834483"/>
              <a:gd name="connsiteY2" fmla="*/ 5088194 h 5088194"/>
              <a:gd name="connsiteX3" fmla="*/ 0 w 2834483"/>
              <a:gd name="connsiteY3" fmla="*/ 5088194 h 5088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4483" h="5088194">
                <a:moveTo>
                  <a:pt x="0" y="0"/>
                </a:moveTo>
                <a:lnTo>
                  <a:pt x="982532" y="0"/>
                </a:lnTo>
                <a:lnTo>
                  <a:pt x="2834483" y="5088194"/>
                </a:lnTo>
                <a:lnTo>
                  <a:pt x="0" y="5088194"/>
                </a:lnTo>
                <a:close/>
              </a:path>
            </a:pathLst>
          </a:custGeom>
          <a:solidFill>
            <a:srgbClr val="FFB618">
              <a:alpha val="77000"/>
            </a:srgbClr>
          </a:solidFill>
          <a:ln>
            <a:solidFill>
              <a:srgbClr val="FFB6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81C7D01-88AC-4A38-BC72-220D678AF951}"/>
              </a:ext>
            </a:extLst>
          </p:cNvPr>
          <p:cNvSpPr txBox="1"/>
          <p:nvPr/>
        </p:nvSpPr>
        <p:spPr>
          <a:xfrm>
            <a:off x="171448" y="4487570"/>
            <a:ext cx="922655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5400" b="1" dirty="0">
                <a:solidFill>
                  <a:schemeClr val="bg1">
                    <a:lumMod val="95000"/>
                  </a:schemeClr>
                </a:solidFill>
                <a:latin typeface="Calibri (Headings)"/>
              </a:rPr>
              <a:t>AMAZON REVIEWS ANALYSIS:</a:t>
            </a:r>
          </a:p>
          <a:p>
            <a:r>
              <a:rPr lang="en-IN" sz="3600" b="1" dirty="0">
                <a:solidFill>
                  <a:schemeClr val="bg1">
                    <a:lumMod val="95000"/>
                  </a:schemeClr>
                </a:solidFill>
                <a:latin typeface="Calibri (Headings)"/>
              </a:rPr>
              <a:t>WHICH ONE IS USEFUL?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98FEE45-D4D7-4F9C-9CEA-858F551AF62B}"/>
              </a:ext>
            </a:extLst>
          </p:cNvPr>
          <p:cNvSpPr txBox="1"/>
          <p:nvPr/>
        </p:nvSpPr>
        <p:spPr>
          <a:xfrm>
            <a:off x="210899" y="6162341"/>
            <a:ext cx="30835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N" sz="2400" b="1" dirty="0">
                <a:solidFill>
                  <a:schemeClr val="bg1">
                    <a:lumMod val="95000"/>
                  </a:schemeClr>
                </a:solidFill>
              </a:rPr>
              <a:t>TEAM CARLTON</a:t>
            </a:r>
          </a:p>
        </p:txBody>
      </p:sp>
      <p:pic>
        <p:nvPicPr>
          <p:cNvPr id="1028" name="Picture 4" descr="See the source image">
            <a:extLst>
              <a:ext uri="{FF2B5EF4-FFF2-40B4-BE49-F238E27FC236}">
                <a16:creationId xmlns:a16="http://schemas.microsoft.com/office/drawing/2014/main" id="{FFFBB8E3-6F3F-462F-ADEE-DC01B341BA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8611" y="172057"/>
            <a:ext cx="1368139" cy="521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AAE9E84-B9A2-4078-9B41-9E2AA6F55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4417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3" name="Object 44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43" name="Object 44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11" name="Group 510">
            <a:extLst>
              <a:ext uri="{FF2B5EF4-FFF2-40B4-BE49-F238E27FC236}">
                <a16:creationId xmlns:a16="http://schemas.microsoft.com/office/drawing/2014/main" id="{2C65F58B-A446-48CC-A121-C0F536EC0066}"/>
              </a:ext>
            </a:extLst>
          </p:cNvPr>
          <p:cNvGrpSpPr/>
          <p:nvPr/>
        </p:nvGrpSpPr>
        <p:grpSpPr>
          <a:xfrm>
            <a:off x="460802" y="878261"/>
            <a:ext cx="2908746" cy="1634260"/>
            <a:chOff x="449830" y="782349"/>
            <a:chExt cx="2908746" cy="1634260"/>
          </a:xfrm>
        </p:grpSpPr>
        <p:sp>
          <p:nvSpPr>
            <p:cNvPr id="88" name="object 88"/>
            <p:cNvSpPr txBox="1"/>
            <p:nvPr/>
          </p:nvSpPr>
          <p:spPr>
            <a:xfrm>
              <a:off x="1060670" y="782349"/>
              <a:ext cx="2118424" cy="215896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marL="11206">
                <a:spcBef>
                  <a:spcPts val="124"/>
                </a:spcBef>
              </a:pPr>
              <a:r>
                <a:rPr sz="1300" b="1" spc="-3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Average </a:t>
              </a:r>
              <a:r>
                <a:rPr sz="1300" b="1" spc="-13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Usefulness </a:t>
              </a:r>
              <a:r>
                <a:rPr sz="1300" b="1" spc="-40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by</a:t>
              </a:r>
              <a:r>
                <a:rPr sz="1300" b="1" spc="-18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300" b="1" spc="-3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ategory</a:t>
              </a:r>
              <a:endParaRPr sz="1300" b="1" dirty="0">
                <a:latin typeface="Arial Narrow" panose="020B0606020202030204" pitchFamily="34" charset="0"/>
                <a:cs typeface="Trebuchet MS"/>
              </a:endParaRPr>
            </a:p>
          </p:txBody>
        </p:sp>
        <p:grpSp>
          <p:nvGrpSpPr>
            <p:cNvPr id="448" name="Group 447">
              <a:extLst>
                <a:ext uri="{FF2B5EF4-FFF2-40B4-BE49-F238E27FC236}">
                  <a16:creationId xmlns:a16="http://schemas.microsoft.com/office/drawing/2014/main" id="{BC44D5A1-9F3B-4C6D-B6CA-0AB8CA1542E2}"/>
                </a:ext>
              </a:extLst>
            </p:cNvPr>
            <p:cNvGrpSpPr/>
            <p:nvPr/>
          </p:nvGrpSpPr>
          <p:grpSpPr>
            <a:xfrm>
              <a:off x="449830" y="1102989"/>
              <a:ext cx="2908746" cy="1313620"/>
              <a:chOff x="334140" y="1075445"/>
              <a:chExt cx="2908746" cy="1313620"/>
            </a:xfrm>
          </p:grpSpPr>
          <p:sp>
            <p:nvSpPr>
              <p:cNvPr id="89" name="object 89"/>
              <p:cNvSpPr/>
              <p:nvPr/>
            </p:nvSpPr>
            <p:spPr>
              <a:xfrm>
                <a:off x="737108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90" name="object 90"/>
              <p:cNvSpPr/>
              <p:nvPr/>
            </p:nvSpPr>
            <p:spPr>
              <a:xfrm>
                <a:off x="791374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91" name="object 91"/>
              <p:cNvSpPr/>
              <p:nvPr/>
            </p:nvSpPr>
            <p:spPr>
              <a:xfrm>
                <a:off x="845640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92" name="object 92"/>
              <p:cNvSpPr/>
              <p:nvPr/>
            </p:nvSpPr>
            <p:spPr>
              <a:xfrm>
                <a:off x="899906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93" name="object 93"/>
              <p:cNvSpPr/>
              <p:nvPr/>
            </p:nvSpPr>
            <p:spPr>
              <a:xfrm>
                <a:off x="954173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grpSp>
            <p:nvGrpSpPr>
              <p:cNvPr id="94" name="object 94"/>
              <p:cNvGrpSpPr/>
              <p:nvPr/>
            </p:nvGrpSpPr>
            <p:grpSpPr>
              <a:xfrm>
                <a:off x="1008439" y="1267179"/>
                <a:ext cx="551890" cy="633132"/>
                <a:chOff x="787297" y="1436136"/>
                <a:chExt cx="625475" cy="717550"/>
              </a:xfrm>
            </p:grpSpPr>
            <p:sp>
              <p:nvSpPr>
                <p:cNvPr id="95" name="object 95"/>
                <p:cNvSpPr/>
                <p:nvPr/>
              </p:nvSpPr>
              <p:spPr>
                <a:xfrm>
                  <a:off x="787285" y="1439557"/>
                  <a:ext cx="625475" cy="714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5475" h="714375">
                      <a:moveTo>
                        <a:pt x="10261" y="703821"/>
                      </a:moveTo>
                      <a:lnTo>
                        <a:pt x="0" y="703821"/>
                      </a:lnTo>
                      <a:lnTo>
                        <a:pt x="0" y="714057"/>
                      </a:lnTo>
                      <a:lnTo>
                        <a:pt x="10261" y="714057"/>
                      </a:lnTo>
                      <a:lnTo>
                        <a:pt x="10261" y="703821"/>
                      </a:lnTo>
                      <a:close/>
                    </a:path>
                    <a:path w="625475" h="714375">
                      <a:moveTo>
                        <a:pt x="10261" y="0"/>
                      </a:moveTo>
                      <a:lnTo>
                        <a:pt x="0" y="0"/>
                      </a:lnTo>
                      <a:lnTo>
                        <a:pt x="0" y="10223"/>
                      </a:lnTo>
                      <a:lnTo>
                        <a:pt x="10261" y="10223"/>
                      </a:lnTo>
                      <a:lnTo>
                        <a:pt x="10261" y="0"/>
                      </a:lnTo>
                      <a:close/>
                    </a:path>
                    <a:path w="625475" h="714375">
                      <a:moveTo>
                        <a:pt x="71755" y="708939"/>
                      </a:moveTo>
                      <a:lnTo>
                        <a:pt x="61506" y="708939"/>
                      </a:lnTo>
                      <a:lnTo>
                        <a:pt x="61506" y="714057"/>
                      </a:lnTo>
                      <a:lnTo>
                        <a:pt x="71755" y="714057"/>
                      </a:lnTo>
                      <a:lnTo>
                        <a:pt x="71755" y="708939"/>
                      </a:lnTo>
                      <a:close/>
                    </a:path>
                    <a:path w="625475" h="714375">
                      <a:moveTo>
                        <a:pt x="133261" y="708939"/>
                      </a:moveTo>
                      <a:lnTo>
                        <a:pt x="123012" y="708939"/>
                      </a:lnTo>
                      <a:lnTo>
                        <a:pt x="123012" y="714057"/>
                      </a:lnTo>
                      <a:lnTo>
                        <a:pt x="133261" y="714057"/>
                      </a:lnTo>
                      <a:lnTo>
                        <a:pt x="133261" y="708939"/>
                      </a:lnTo>
                      <a:close/>
                    </a:path>
                    <a:path w="625475" h="714375">
                      <a:moveTo>
                        <a:pt x="194767" y="708939"/>
                      </a:moveTo>
                      <a:lnTo>
                        <a:pt x="184505" y="708939"/>
                      </a:lnTo>
                      <a:lnTo>
                        <a:pt x="184505" y="714057"/>
                      </a:lnTo>
                      <a:lnTo>
                        <a:pt x="194767" y="714057"/>
                      </a:lnTo>
                      <a:lnTo>
                        <a:pt x="194767" y="708939"/>
                      </a:lnTo>
                      <a:close/>
                    </a:path>
                    <a:path w="625475" h="714375">
                      <a:moveTo>
                        <a:pt x="256260" y="708939"/>
                      </a:moveTo>
                      <a:lnTo>
                        <a:pt x="246011" y="708939"/>
                      </a:lnTo>
                      <a:lnTo>
                        <a:pt x="246011" y="714057"/>
                      </a:lnTo>
                      <a:lnTo>
                        <a:pt x="256260" y="714057"/>
                      </a:lnTo>
                      <a:lnTo>
                        <a:pt x="256260" y="708939"/>
                      </a:lnTo>
                      <a:close/>
                    </a:path>
                    <a:path w="625475" h="714375">
                      <a:moveTo>
                        <a:pt x="317766" y="708939"/>
                      </a:moveTo>
                      <a:lnTo>
                        <a:pt x="307517" y="708939"/>
                      </a:lnTo>
                      <a:lnTo>
                        <a:pt x="307517" y="714057"/>
                      </a:lnTo>
                      <a:lnTo>
                        <a:pt x="317766" y="714057"/>
                      </a:lnTo>
                      <a:lnTo>
                        <a:pt x="317766" y="708939"/>
                      </a:lnTo>
                      <a:close/>
                    </a:path>
                    <a:path w="625475" h="714375">
                      <a:moveTo>
                        <a:pt x="379272" y="708939"/>
                      </a:moveTo>
                      <a:lnTo>
                        <a:pt x="369011" y="708939"/>
                      </a:lnTo>
                      <a:lnTo>
                        <a:pt x="369011" y="714057"/>
                      </a:lnTo>
                      <a:lnTo>
                        <a:pt x="379272" y="714057"/>
                      </a:lnTo>
                      <a:lnTo>
                        <a:pt x="379272" y="708939"/>
                      </a:lnTo>
                      <a:close/>
                    </a:path>
                    <a:path w="625475" h="714375">
                      <a:moveTo>
                        <a:pt x="440766" y="708939"/>
                      </a:moveTo>
                      <a:lnTo>
                        <a:pt x="430517" y="708939"/>
                      </a:lnTo>
                      <a:lnTo>
                        <a:pt x="430517" y="714057"/>
                      </a:lnTo>
                      <a:lnTo>
                        <a:pt x="440766" y="714057"/>
                      </a:lnTo>
                      <a:lnTo>
                        <a:pt x="440766" y="708939"/>
                      </a:lnTo>
                      <a:close/>
                    </a:path>
                    <a:path w="625475" h="714375">
                      <a:moveTo>
                        <a:pt x="502272" y="708939"/>
                      </a:moveTo>
                      <a:lnTo>
                        <a:pt x="492023" y="708939"/>
                      </a:lnTo>
                      <a:lnTo>
                        <a:pt x="492023" y="714057"/>
                      </a:lnTo>
                      <a:lnTo>
                        <a:pt x="502272" y="714057"/>
                      </a:lnTo>
                      <a:lnTo>
                        <a:pt x="502272" y="708939"/>
                      </a:lnTo>
                      <a:close/>
                    </a:path>
                    <a:path w="625475" h="714375">
                      <a:moveTo>
                        <a:pt x="563778" y="708939"/>
                      </a:moveTo>
                      <a:lnTo>
                        <a:pt x="553516" y="708939"/>
                      </a:lnTo>
                      <a:lnTo>
                        <a:pt x="553516" y="714057"/>
                      </a:lnTo>
                      <a:lnTo>
                        <a:pt x="563778" y="714057"/>
                      </a:lnTo>
                      <a:lnTo>
                        <a:pt x="563778" y="708939"/>
                      </a:lnTo>
                      <a:close/>
                    </a:path>
                    <a:path w="625475" h="714375">
                      <a:moveTo>
                        <a:pt x="625271" y="703821"/>
                      </a:moveTo>
                      <a:lnTo>
                        <a:pt x="615022" y="703821"/>
                      </a:lnTo>
                      <a:lnTo>
                        <a:pt x="615022" y="708939"/>
                      </a:lnTo>
                      <a:lnTo>
                        <a:pt x="615022" y="714057"/>
                      </a:lnTo>
                      <a:lnTo>
                        <a:pt x="625271" y="714057"/>
                      </a:lnTo>
                      <a:lnTo>
                        <a:pt x="625271" y="708939"/>
                      </a:lnTo>
                      <a:lnTo>
                        <a:pt x="625271" y="703821"/>
                      </a:lnTo>
                      <a:close/>
                    </a:path>
                    <a:path w="625475" h="714375">
                      <a:moveTo>
                        <a:pt x="625271" y="0"/>
                      </a:moveTo>
                      <a:lnTo>
                        <a:pt x="615162" y="0"/>
                      </a:lnTo>
                      <a:lnTo>
                        <a:pt x="615162" y="10223"/>
                      </a:lnTo>
                      <a:lnTo>
                        <a:pt x="625271" y="10223"/>
                      </a:lnTo>
                      <a:lnTo>
                        <a:pt x="625271" y="0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96" name="object 96"/>
                <p:cNvSpPr/>
                <p:nvPr/>
              </p:nvSpPr>
              <p:spPr>
                <a:xfrm>
                  <a:off x="798526" y="1436136"/>
                  <a:ext cx="604520" cy="7124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4519" h="712469">
                      <a:moveTo>
                        <a:pt x="603925" y="712355"/>
                      </a:moveTo>
                      <a:lnTo>
                        <a:pt x="0" y="712355"/>
                      </a:lnTo>
                      <a:lnTo>
                        <a:pt x="0" y="0"/>
                      </a:lnTo>
                      <a:lnTo>
                        <a:pt x="603925" y="0"/>
                      </a:lnTo>
                      <a:lnTo>
                        <a:pt x="603925" y="712355"/>
                      </a:lnTo>
                      <a:close/>
                    </a:path>
                  </a:pathLst>
                </a:custGeom>
                <a:solidFill>
                  <a:srgbClr val="118CFF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</p:grpSp>
          <p:sp>
            <p:nvSpPr>
              <p:cNvPr id="97" name="object 97"/>
              <p:cNvSpPr/>
              <p:nvPr/>
            </p:nvSpPr>
            <p:spPr>
              <a:xfrm>
                <a:off x="1605369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98" name="object 98"/>
              <p:cNvSpPr/>
              <p:nvPr/>
            </p:nvSpPr>
            <p:spPr>
              <a:xfrm>
                <a:off x="1659636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grpSp>
            <p:nvGrpSpPr>
              <p:cNvPr id="99" name="object 99"/>
              <p:cNvGrpSpPr/>
              <p:nvPr/>
            </p:nvGrpSpPr>
            <p:grpSpPr>
              <a:xfrm>
                <a:off x="1713902" y="1270191"/>
                <a:ext cx="551890" cy="630331"/>
                <a:chOff x="1586822" y="1439549"/>
                <a:chExt cx="625475" cy="714375"/>
              </a:xfrm>
            </p:grpSpPr>
            <p:sp>
              <p:nvSpPr>
                <p:cNvPr id="100" name="object 100"/>
                <p:cNvSpPr/>
                <p:nvPr/>
              </p:nvSpPr>
              <p:spPr>
                <a:xfrm>
                  <a:off x="1586814" y="1439557"/>
                  <a:ext cx="625475" cy="714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5475" h="714375">
                      <a:moveTo>
                        <a:pt x="10248" y="703821"/>
                      </a:moveTo>
                      <a:lnTo>
                        <a:pt x="0" y="703821"/>
                      </a:lnTo>
                      <a:lnTo>
                        <a:pt x="0" y="708939"/>
                      </a:lnTo>
                      <a:lnTo>
                        <a:pt x="0" y="714057"/>
                      </a:lnTo>
                      <a:lnTo>
                        <a:pt x="10248" y="714057"/>
                      </a:lnTo>
                      <a:lnTo>
                        <a:pt x="10248" y="708939"/>
                      </a:lnTo>
                      <a:lnTo>
                        <a:pt x="10248" y="703821"/>
                      </a:lnTo>
                      <a:close/>
                    </a:path>
                    <a:path w="625475" h="714375">
                      <a:moveTo>
                        <a:pt x="10248" y="0"/>
                      </a:moveTo>
                      <a:lnTo>
                        <a:pt x="0" y="0"/>
                      </a:lnTo>
                      <a:lnTo>
                        <a:pt x="0" y="10223"/>
                      </a:lnTo>
                      <a:lnTo>
                        <a:pt x="10248" y="10223"/>
                      </a:lnTo>
                      <a:lnTo>
                        <a:pt x="10248" y="0"/>
                      </a:lnTo>
                      <a:close/>
                    </a:path>
                    <a:path w="625475" h="714375">
                      <a:moveTo>
                        <a:pt x="71755" y="708939"/>
                      </a:moveTo>
                      <a:lnTo>
                        <a:pt x="61506" y="708939"/>
                      </a:lnTo>
                      <a:lnTo>
                        <a:pt x="61506" y="714057"/>
                      </a:lnTo>
                      <a:lnTo>
                        <a:pt x="71755" y="714057"/>
                      </a:lnTo>
                      <a:lnTo>
                        <a:pt x="71755" y="708939"/>
                      </a:lnTo>
                      <a:close/>
                    </a:path>
                    <a:path w="625475" h="714375">
                      <a:moveTo>
                        <a:pt x="71755" y="0"/>
                      </a:moveTo>
                      <a:lnTo>
                        <a:pt x="61506" y="0"/>
                      </a:lnTo>
                      <a:lnTo>
                        <a:pt x="61506" y="10223"/>
                      </a:lnTo>
                      <a:lnTo>
                        <a:pt x="71755" y="10223"/>
                      </a:lnTo>
                      <a:lnTo>
                        <a:pt x="71755" y="0"/>
                      </a:lnTo>
                      <a:close/>
                    </a:path>
                    <a:path w="625475" h="714375">
                      <a:moveTo>
                        <a:pt x="133261" y="708939"/>
                      </a:moveTo>
                      <a:lnTo>
                        <a:pt x="122999" y="708939"/>
                      </a:lnTo>
                      <a:lnTo>
                        <a:pt x="122999" y="714057"/>
                      </a:lnTo>
                      <a:lnTo>
                        <a:pt x="133261" y="714057"/>
                      </a:lnTo>
                      <a:lnTo>
                        <a:pt x="133261" y="708939"/>
                      </a:lnTo>
                      <a:close/>
                    </a:path>
                    <a:path w="625475" h="714375">
                      <a:moveTo>
                        <a:pt x="133261" y="0"/>
                      </a:moveTo>
                      <a:lnTo>
                        <a:pt x="122999" y="0"/>
                      </a:lnTo>
                      <a:lnTo>
                        <a:pt x="122999" y="10223"/>
                      </a:lnTo>
                      <a:lnTo>
                        <a:pt x="133261" y="10223"/>
                      </a:lnTo>
                      <a:lnTo>
                        <a:pt x="133261" y="0"/>
                      </a:lnTo>
                      <a:close/>
                    </a:path>
                    <a:path w="625475" h="714375">
                      <a:moveTo>
                        <a:pt x="194754" y="708939"/>
                      </a:moveTo>
                      <a:lnTo>
                        <a:pt x="184505" y="708939"/>
                      </a:lnTo>
                      <a:lnTo>
                        <a:pt x="184505" y="714057"/>
                      </a:lnTo>
                      <a:lnTo>
                        <a:pt x="194754" y="714057"/>
                      </a:lnTo>
                      <a:lnTo>
                        <a:pt x="194754" y="708939"/>
                      </a:lnTo>
                      <a:close/>
                    </a:path>
                    <a:path w="625475" h="714375">
                      <a:moveTo>
                        <a:pt x="194754" y="0"/>
                      </a:moveTo>
                      <a:lnTo>
                        <a:pt x="184505" y="0"/>
                      </a:lnTo>
                      <a:lnTo>
                        <a:pt x="184505" y="10223"/>
                      </a:lnTo>
                      <a:lnTo>
                        <a:pt x="194754" y="10223"/>
                      </a:lnTo>
                      <a:lnTo>
                        <a:pt x="194754" y="0"/>
                      </a:lnTo>
                      <a:close/>
                    </a:path>
                    <a:path w="625475" h="714375">
                      <a:moveTo>
                        <a:pt x="256260" y="708939"/>
                      </a:moveTo>
                      <a:lnTo>
                        <a:pt x="246011" y="708939"/>
                      </a:lnTo>
                      <a:lnTo>
                        <a:pt x="246011" y="714057"/>
                      </a:lnTo>
                      <a:lnTo>
                        <a:pt x="256260" y="714057"/>
                      </a:lnTo>
                      <a:lnTo>
                        <a:pt x="256260" y="708939"/>
                      </a:lnTo>
                      <a:close/>
                    </a:path>
                    <a:path w="625475" h="714375">
                      <a:moveTo>
                        <a:pt x="256260" y="0"/>
                      </a:moveTo>
                      <a:lnTo>
                        <a:pt x="246011" y="0"/>
                      </a:lnTo>
                      <a:lnTo>
                        <a:pt x="246011" y="10223"/>
                      </a:lnTo>
                      <a:lnTo>
                        <a:pt x="256260" y="10223"/>
                      </a:lnTo>
                      <a:lnTo>
                        <a:pt x="256260" y="0"/>
                      </a:lnTo>
                      <a:close/>
                    </a:path>
                    <a:path w="625475" h="714375">
                      <a:moveTo>
                        <a:pt x="317766" y="708939"/>
                      </a:moveTo>
                      <a:lnTo>
                        <a:pt x="307517" y="708939"/>
                      </a:lnTo>
                      <a:lnTo>
                        <a:pt x="307517" y="714057"/>
                      </a:lnTo>
                      <a:lnTo>
                        <a:pt x="317766" y="714057"/>
                      </a:lnTo>
                      <a:lnTo>
                        <a:pt x="317766" y="708939"/>
                      </a:lnTo>
                      <a:close/>
                    </a:path>
                    <a:path w="625475" h="714375">
                      <a:moveTo>
                        <a:pt x="317766" y="0"/>
                      </a:moveTo>
                      <a:lnTo>
                        <a:pt x="307517" y="0"/>
                      </a:lnTo>
                      <a:lnTo>
                        <a:pt x="307517" y="10223"/>
                      </a:lnTo>
                      <a:lnTo>
                        <a:pt x="317766" y="10223"/>
                      </a:lnTo>
                      <a:lnTo>
                        <a:pt x="317766" y="0"/>
                      </a:lnTo>
                      <a:close/>
                    </a:path>
                    <a:path w="625475" h="714375">
                      <a:moveTo>
                        <a:pt x="379260" y="708939"/>
                      </a:moveTo>
                      <a:lnTo>
                        <a:pt x="369011" y="708939"/>
                      </a:lnTo>
                      <a:lnTo>
                        <a:pt x="369011" y="714057"/>
                      </a:lnTo>
                      <a:lnTo>
                        <a:pt x="379260" y="714057"/>
                      </a:lnTo>
                      <a:lnTo>
                        <a:pt x="379260" y="708939"/>
                      </a:lnTo>
                      <a:close/>
                    </a:path>
                    <a:path w="625475" h="714375">
                      <a:moveTo>
                        <a:pt x="379260" y="0"/>
                      </a:moveTo>
                      <a:lnTo>
                        <a:pt x="369011" y="0"/>
                      </a:lnTo>
                      <a:lnTo>
                        <a:pt x="369011" y="10223"/>
                      </a:lnTo>
                      <a:lnTo>
                        <a:pt x="379260" y="10223"/>
                      </a:lnTo>
                      <a:lnTo>
                        <a:pt x="379260" y="0"/>
                      </a:lnTo>
                      <a:close/>
                    </a:path>
                    <a:path w="625475" h="714375">
                      <a:moveTo>
                        <a:pt x="440766" y="708939"/>
                      </a:moveTo>
                      <a:lnTo>
                        <a:pt x="430517" y="708939"/>
                      </a:lnTo>
                      <a:lnTo>
                        <a:pt x="430517" y="714057"/>
                      </a:lnTo>
                      <a:lnTo>
                        <a:pt x="440766" y="714057"/>
                      </a:lnTo>
                      <a:lnTo>
                        <a:pt x="440766" y="708939"/>
                      </a:lnTo>
                      <a:close/>
                    </a:path>
                    <a:path w="625475" h="714375">
                      <a:moveTo>
                        <a:pt x="440766" y="0"/>
                      </a:moveTo>
                      <a:lnTo>
                        <a:pt x="430517" y="0"/>
                      </a:lnTo>
                      <a:lnTo>
                        <a:pt x="430517" y="10223"/>
                      </a:lnTo>
                      <a:lnTo>
                        <a:pt x="440766" y="10223"/>
                      </a:lnTo>
                      <a:lnTo>
                        <a:pt x="440766" y="0"/>
                      </a:lnTo>
                      <a:close/>
                    </a:path>
                    <a:path w="625475" h="714375">
                      <a:moveTo>
                        <a:pt x="502272" y="708939"/>
                      </a:moveTo>
                      <a:lnTo>
                        <a:pt x="492023" y="708939"/>
                      </a:lnTo>
                      <a:lnTo>
                        <a:pt x="492023" y="714057"/>
                      </a:lnTo>
                      <a:lnTo>
                        <a:pt x="502272" y="714057"/>
                      </a:lnTo>
                      <a:lnTo>
                        <a:pt x="502272" y="708939"/>
                      </a:lnTo>
                      <a:close/>
                    </a:path>
                    <a:path w="625475" h="714375">
                      <a:moveTo>
                        <a:pt x="502272" y="0"/>
                      </a:moveTo>
                      <a:lnTo>
                        <a:pt x="492023" y="0"/>
                      </a:lnTo>
                      <a:lnTo>
                        <a:pt x="492023" y="10223"/>
                      </a:lnTo>
                      <a:lnTo>
                        <a:pt x="502272" y="10223"/>
                      </a:lnTo>
                      <a:lnTo>
                        <a:pt x="502272" y="0"/>
                      </a:lnTo>
                      <a:close/>
                    </a:path>
                    <a:path w="625475" h="714375">
                      <a:moveTo>
                        <a:pt x="563765" y="708939"/>
                      </a:moveTo>
                      <a:lnTo>
                        <a:pt x="553516" y="708939"/>
                      </a:lnTo>
                      <a:lnTo>
                        <a:pt x="553516" y="714057"/>
                      </a:lnTo>
                      <a:lnTo>
                        <a:pt x="563765" y="714057"/>
                      </a:lnTo>
                      <a:lnTo>
                        <a:pt x="563765" y="708939"/>
                      </a:lnTo>
                      <a:close/>
                    </a:path>
                    <a:path w="625475" h="714375">
                      <a:moveTo>
                        <a:pt x="563765" y="0"/>
                      </a:moveTo>
                      <a:lnTo>
                        <a:pt x="553516" y="0"/>
                      </a:lnTo>
                      <a:lnTo>
                        <a:pt x="553516" y="10223"/>
                      </a:lnTo>
                      <a:lnTo>
                        <a:pt x="563765" y="10223"/>
                      </a:lnTo>
                      <a:lnTo>
                        <a:pt x="563765" y="0"/>
                      </a:lnTo>
                      <a:close/>
                    </a:path>
                    <a:path w="625475" h="714375">
                      <a:moveTo>
                        <a:pt x="625271" y="703821"/>
                      </a:moveTo>
                      <a:lnTo>
                        <a:pt x="615022" y="703821"/>
                      </a:lnTo>
                      <a:lnTo>
                        <a:pt x="615022" y="714057"/>
                      </a:lnTo>
                      <a:lnTo>
                        <a:pt x="625271" y="714057"/>
                      </a:lnTo>
                      <a:lnTo>
                        <a:pt x="625271" y="703821"/>
                      </a:lnTo>
                      <a:close/>
                    </a:path>
                    <a:path w="625475" h="714375">
                      <a:moveTo>
                        <a:pt x="625271" y="0"/>
                      </a:moveTo>
                      <a:lnTo>
                        <a:pt x="615022" y="0"/>
                      </a:lnTo>
                      <a:lnTo>
                        <a:pt x="615022" y="10223"/>
                      </a:lnTo>
                      <a:lnTo>
                        <a:pt x="625271" y="10223"/>
                      </a:lnTo>
                      <a:lnTo>
                        <a:pt x="625271" y="0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101" name="object 101"/>
                <p:cNvSpPr/>
                <p:nvPr/>
              </p:nvSpPr>
              <p:spPr>
                <a:xfrm>
                  <a:off x="1595372" y="1483824"/>
                  <a:ext cx="604520" cy="6648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4519" h="664844">
                      <a:moveTo>
                        <a:pt x="603925" y="664666"/>
                      </a:moveTo>
                      <a:lnTo>
                        <a:pt x="0" y="664666"/>
                      </a:lnTo>
                      <a:lnTo>
                        <a:pt x="0" y="0"/>
                      </a:lnTo>
                      <a:lnTo>
                        <a:pt x="603925" y="0"/>
                      </a:lnTo>
                      <a:lnTo>
                        <a:pt x="603925" y="664666"/>
                      </a:lnTo>
                      <a:close/>
                    </a:path>
                  </a:pathLst>
                </a:custGeom>
                <a:solidFill>
                  <a:srgbClr val="118CFF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</p:grpSp>
          <p:sp>
            <p:nvSpPr>
              <p:cNvPr id="102" name="object 102"/>
              <p:cNvSpPr/>
              <p:nvPr/>
            </p:nvSpPr>
            <p:spPr>
              <a:xfrm>
                <a:off x="2310833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03" name="object 103"/>
              <p:cNvSpPr/>
              <p:nvPr/>
            </p:nvSpPr>
            <p:spPr>
              <a:xfrm>
                <a:off x="2365099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grpSp>
            <p:nvGrpSpPr>
              <p:cNvPr id="104" name="object 104"/>
              <p:cNvGrpSpPr/>
              <p:nvPr/>
            </p:nvGrpSpPr>
            <p:grpSpPr>
              <a:xfrm>
                <a:off x="2419365" y="1391744"/>
                <a:ext cx="551890" cy="508747"/>
                <a:chOff x="2386347" y="1577310"/>
                <a:chExt cx="625475" cy="576580"/>
              </a:xfrm>
            </p:grpSpPr>
            <p:sp>
              <p:nvSpPr>
                <p:cNvPr id="105" name="object 105"/>
                <p:cNvSpPr/>
                <p:nvPr/>
              </p:nvSpPr>
              <p:spPr>
                <a:xfrm>
                  <a:off x="2386342" y="2143378"/>
                  <a:ext cx="625475" cy="10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5475" h="10794">
                      <a:moveTo>
                        <a:pt x="10248" y="0"/>
                      </a:moveTo>
                      <a:lnTo>
                        <a:pt x="0" y="0"/>
                      </a:lnTo>
                      <a:lnTo>
                        <a:pt x="0" y="5118"/>
                      </a:lnTo>
                      <a:lnTo>
                        <a:pt x="0" y="10236"/>
                      </a:lnTo>
                      <a:lnTo>
                        <a:pt x="10248" y="10236"/>
                      </a:lnTo>
                      <a:lnTo>
                        <a:pt x="10248" y="5118"/>
                      </a:lnTo>
                      <a:lnTo>
                        <a:pt x="10248" y="0"/>
                      </a:lnTo>
                      <a:close/>
                    </a:path>
                    <a:path w="625475" h="10794">
                      <a:moveTo>
                        <a:pt x="71755" y="5118"/>
                      </a:moveTo>
                      <a:lnTo>
                        <a:pt x="61506" y="5118"/>
                      </a:lnTo>
                      <a:lnTo>
                        <a:pt x="61506" y="10236"/>
                      </a:lnTo>
                      <a:lnTo>
                        <a:pt x="71755" y="10236"/>
                      </a:lnTo>
                      <a:lnTo>
                        <a:pt x="71755" y="5118"/>
                      </a:lnTo>
                      <a:close/>
                    </a:path>
                    <a:path w="625475" h="10794">
                      <a:moveTo>
                        <a:pt x="133248" y="5118"/>
                      </a:moveTo>
                      <a:lnTo>
                        <a:pt x="122999" y="5118"/>
                      </a:lnTo>
                      <a:lnTo>
                        <a:pt x="122999" y="10236"/>
                      </a:lnTo>
                      <a:lnTo>
                        <a:pt x="133248" y="10236"/>
                      </a:lnTo>
                      <a:lnTo>
                        <a:pt x="133248" y="5118"/>
                      </a:lnTo>
                      <a:close/>
                    </a:path>
                    <a:path w="625475" h="10794">
                      <a:moveTo>
                        <a:pt x="194754" y="5118"/>
                      </a:moveTo>
                      <a:lnTo>
                        <a:pt x="184505" y="5118"/>
                      </a:lnTo>
                      <a:lnTo>
                        <a:pt x="184505" y="10236"/>
                      </a:lnTo>
                      <a:lnTo>
                        <a:pt x="194754" y="10236"/>
                      </a:lnTo>
                      <a:lnTo>
                        <a:pt x="194754" y="5118"/>
                      </a:lnTo>
                      <a:close/>
                    </a:path>
                    <a:path w="625475" h="10794">
                      <a:moveTo>
                        <a:pt x="256260" y="5118"/>
                      </a:moveTo>
                      <a:lnTo>
                        <a:pt x="246011" y="5118"/>
                      </a:lnTo>
                      <a:lnTo>
                        <a:pt x="246011" y="10236"/>
                      </a:lnTo>
                      <a:lnTo>
                        <a:pt x="256260" y="10236"/>
                      </a:lnTo>
                      <a:lnTo>
                        <a:pt x="256260" y="5118"/>
                      </a:lnTo>
                      <a:close/>
                    </a:path>
                    <a:path w="625475" h="10794">
                      <a:moveTo>
                        <a:pt x="317754" y="5118"/>
                      </a:moveTo>
                      <a:lnTo>
                        <a:pt x="307505" y="5118"/>
                      </a:lnTo>
                      <a:lnTo>
                        <a:pt x="307505" y="10236"/>
                      </a:lnTo>
                      <a:lnTo>
                        <a:pt x="317754" y="10236"/>
                      </a:lnTo>
                      <a:lnTo>
                        <a:pt x="317754" y="5118"/>
                      </a:lnTo>
                      <a:close/>
                    </a:path>
                    <a:path w="625475" h="10794">
                      <a:moveTo>
                        <a:pt x="379260" y="5118"/>
                      </a:moveTo>
                      <a:lnTo>
                        <a:pt x="369011" y="5118"/>
                      </a:lnTo>
                      <a:lnTo>
                        <a:pt x="369011" y="10236"/>
                      </a:lnTo>
                      <a:lnTo>
                        <a:pt x="379260" y="10236"/>
                      </a:lnTo>
                      <a:lnTo>
                        <a:pt x="379260" y="5118"/>
                      </a:lnTo>
                      <a:close/>
                    </a:path>
                    <a:path w="625475" h="10794">
                      <a:moveTo>
                        <a:pt x="440766" y="5118"/>
                      </a:moveTo>
                      <a:lnTo>
                        <a:pt x="430517" y="5118"/>
                      </a:lnTo>
                      <a:lnTo>
                        <a:pt x="430517" y="10236"/>
                      </a:lnTo>
                      <a:lnTo>
                        <a:pt x="440766" y="10236"/>
                      </a:lnTo>
                      <a:lnTo>
                        <a:pt x="440766" y="5118"/>
                      </a:lnTo>
                      <a:close/>
                    </a:path>
                    <a:path w="625475" h="10794">
                      <a:moveTo>
                        <a:pt x="502259" y="5118"/>
                      </a:moveTo>
                      <a:lnTo>
                        <a:pt x="492010" y="5118"/>
                      </a:lnTo>
                      <a:lnTo>
                        <a:pt x="492010" y="10236"/>
                      </a:lnTo>
                      <a:lnTo>
                        <a:pt x="502259" y="10236"/>
                      </a:lnTo>
                      <a:lnTo>
                        <a:pt x="502259" y="5118"/>
                      </a:lnTo>
                      <a:close/>
                    </a:path>
                    <a:path w="625475" h="10794">
                      <a:moveTo>
                        <a:pt x="563765" y="5118"/>
                      </a:moveTo>
                      <a:lnTo>
                        <a:pt x="553516" y="5118"/>
                      </a:lnTo>
                      <a:lnTo>
                        <a:pt x="553516" y="10236"/>
                      </a:lnTo>
                      <a:lnTo>
                        <a:pt x="563765" y="10236"/>
                      </a:lnTo>
                      <a:lnTo>
                        <a:pt x="563765" y="5118"/>
                      </a:lnTo>
                      <a:close/>
                    </a:path>
                    <a:path w="625475" h="10794">
                      <a:moveTo>
                        <a:pt x="625271" y="0"/>
                      </a:moveTo>
                      <a:lnTo>
                        <a:pt x="615022" y="0"/>
                      </a:lnTo>
                      <a:lnTo>
                        <a:pt x="615022" y="10236"/>
                      </a:lnTo>
                      <a:lnTo>
                        <a:pt x="625271" y="10236"/>
                      </a:lnTo>
                      <a:lnTo>
                        <a:pt x="625271" y="0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106" name="object 106"/>
                <p:cNvSpPr/>
                <p:nvPr/>
              </p:nvSpPr>
              <p:spPr>
                <a:xfrm>
                  <a:off x="2392218" y="1577310"/>
                  <a:ext cx="604520" cy="571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4519" h="571500">
                      <a:moveTo>
                        <a:pt x="603925" y="571180"/>
                      </a:moveTo>
                      <a:lnTo>
                        <a:pt x="0" y="571180"/>
                      </a:lnTo>
                      <a:lnTo>
                        <a:pt x="0" y="0"/>
                      </a:lnTo>
                      <a:lnTo>
                        <a:pt x="603925" y="0"/>
                      </a:lnTo>
                      <a:lnTo>
                        <a:pt x="603925" y="571180"/>
                      </a:lnTo>
                      <a:close/>
                    </a:path>
                  </a:pathLst>
                </a:custGeom>
                <a:solidFill>
                  <a:srgbClr val="118CFF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</p:grpSp>
          <p:sp>
            <p:nvSpPr>
              <p:cNvPr id="107" name="object 107"/>
              <p:cNvSpPr/>
              <p:nvPr/>
            </p:nvSpPr>
            <p:spPr>
              <a:xfrm>
                <a:off x="3016296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08" name="object 108"/>
              <p:cNvSpPr/>
              <p:nvPr/>
            </p:nvSpPr>
            <p:spPr>
              <a:xfrm>
                <a:off x="3070562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09" name="object 109"/>
              <p:cNvSpPr/>
              <p:nvPr/>
            </p:nvSpPr>
            <p:spPr>
              <a:xfrm>
                <a:off x="3124829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0" name="object 110"/>
              <p:cNvSpPr/>
              <p:nvPr/>
            </p:nvSpPr>
            <p:spPr>
              <a:xfrm>
                <a:off x="3179094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1" name="object 111"/>
              <p:cNvSpPr/>
              <p:nvPr/>
            </p:nvSpPr>
            <p:spPr>
              <a:xfrm>
                <a:off x="3233361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2" name="object 112"/>
              <p:cNvSpPr txBox="1"/>
              <p:nvPr/>
            </p:nvSpPr>
            <p:spPr>
              <a:xfrm>
                <a:off x="510610" y="1819110"/>
                <a:ext cx="147357" cy="127297"/>
              </a:xfrm>
              <a:prstGeom prst="rect">
                <a:avLst/>
              </a:prstGeom>
            </p:spPr>
            <p:txBody>
              <a:bodyPr vert="horz" wrap="square" lIns="0" tIns="11766" rIns="0" bIns="0" rtlCol="0">
                <a:spAutoFit/>
              </a:bodyPr>
              <a:lstStyle/>
              <a:p>
                <a:pPr marL="11206">
                  <a:spcBef>
                    <a:spcPts val="93"/>
                  </a:spcBef>
                </a:pPr>
                <a:r>
                  <a:rPr sz="750" dirty="0">
                    <a:solidFill>
                      <a:srgbClr val="605D5C"/>
                    </a:solidFill>
                    <a:latin typeface="Segoe UI"/>
                    <a:cs typeface="Segoe UI"/>
                  </a:rPr>
                  <a:t>0.0</a:t>
                </a:r>
                <a:endParaRPr sz="750" dirty="0">
                  <a:latin typeface="Segoe UI"/>
                  <a:cs typeface="Segoe UI"/>
                </a:endParaRPr>
              </a:p>
            </p:txBody>
          </p:sp>
          <p:sp>
            <p:nvSpPr>
              <p:cNvPr id="113" name="object 113"/>
              <p:cNvSpPr/>
              <p:nvPr/>
            </p:nvSpPr>
            <p:spPr>
              <a:xfrm>
                <a:off x="737108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4" name="object 114"/>
              <p:cNvSpPr/>
              <p:nvPr/>
            </p:nvSpPr>
            <p:spPr>
              <a:xfrm>
                <a:off x="791374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5" name="object 115"/>
              <p:cNvSpPr/>
              <p:nvPr/>
            </p:nvSpPr>
            <p:spPr>
              <a:xfrm>
                <a:off x="845640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6" name="object 116"/>
              <p:cNvSpPr/>
              <p:nvPr/>
            </p:nvSpPr>
            <p:spPr>
              <a:xfrm>
                <a:off x="899906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7" name="object 117"/>
              <p:cNvSpPr/>
              <p:nvPr/>
            </p:nvSpPr>
            <p:spPr>
              <a:xfrm>
                <a:off x="954173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8" name="object 118"/>
              <p:cNvSpPr/>
              <p:nvPr/>
            </p:nvSpPr>
            <p:spPr>
              <a:xfrm>
                <a:off x="1605369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9" name="object 119"/>
              <p:cNvSpPr/>
              <p:nvPr/>
            </p:nvSpPr>
            <p:spPr>
              <a:xfrm>
                <a:off x="1659636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0" name="object 120"/>
              <p:cNvSpPr/>
              <p:nvPr/>
            </p:nvSpPr>
            <p:spPr>
              <a:xfrm>
                <a:off x="2310833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1" name="object 121"/>
              <p:cNvSpPr/>
              <p:nvPr/>
            </p:nvSpPr>
            <p:spPr>
              <a:xfrm>
                <a:off x="2365099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2" name="object 122"/>
              <p:cNvSpPr/>
              <p:nvPr/>
            </p:nvSpPr>
            <p:spPr>
              <a:xfrm>
                <a:off x="2419365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3" name="object 123"/>
              <p:cNvSpPr/>
              <p:nvPr/>
            </p:nvSpPr>
            <p:spPr>
              <a:xfrm>
                <a:off x="2473632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4" name="object 124"/>
              <p:cNvSpPr/>
              <p:nvPr/>
            </p:nvSpPr>
            <p:spPr>
              <a:xfrm>
                <a:off x="2527898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5" name="object 125"/>
              <p:cNvSpPr/>
              <p:nvPr/>
            </p:nvSpPr>
            <p:spPr>
              <a:xfrm>
                <a:off x="2582164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6" name="object 126"/>
              <p:cNvSpPr/>
              <p:nvPr/>
            </p:nvSpPr>
            <p:spPr>
              <a:xfrm>
                <a:off x="2636430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7" name="object 127"/>
              <p:cNvSpPr/>
              <p:nvPr/>
            </p:nvSpPr>
            <p:spPr>
              <a:xfrm>
                <a:off x="2690697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8" name="object 128"/>
              <p:cNvSpPr/>
              <p:nvPr/>
            </p:nvSpPr>
            <p:spPr>
              <a:xfrm>
                <a:off x="2744963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9" name="object 129"/>
              <p:cNvSpPr/>
              <p:nvPr/>
            </p:nvSpPr>
            <p:spPr>
              <a:xfrm>
                <a:off x="2799230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0" name="object 130"/>
              <p:cNvSpPr/>
              <p:nvPr/>
            </p:nvSpPr>
            <p:spPr>
              <a:xfrm>
                <a:off x="2853496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1" name="object 131"/>
              <p:cNvSpPr/>
              <p:nvPr/>
            </p:nvSpPr>
            <p:spPr>
              <a:xfrm>
                <a:off x="2907763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2" name="object 132"/>
              <p:cNvSpPr/>
              <p:nvPr/>
            </p:nvSpPr>
            <p:spPr>
              <a:xfrm>
                <a:off x="2962029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3" name="object 133"/>
              <p:cNvSpPr/>
              <p:nvPr/>
            </p:nvSpPr>
            <p:spPr>
              <a:xfrm>
                <a:off x="3016296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4" name="object 134"/>
              <p:cNvSpPr/>
              <p:nvPr/>
            </p:nvSpPr>
            <p:spPr>
              <a:xfrm>
                <a:off x="3070562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5" name="object 135"/>
              <p:cNvSpPr/>
              <p:nvPr/>
            </p:nvSpPr>
            <p:spPr>
              <a:xfrm>
                <a:off x="3124829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6" name="object 136"/>
              <p:cNvSpPr/>
              <p:nvPr/>
            </p:nvSpPr>
            <p:spPr>
              <a:xfrm>
                <a:off x="3179094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7" name="object 137"/>
              <p:cNvSpPr/>
              <p:nvPr/>
            </p:nvSpPr>
            <p:spPr>
              <a:xfrm>
                <a:off x="3233361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8" name="object 138"/>
              <p:cNvSpPr txBox="1"/>
              <p:nvPr/>
            </p:nvSpPr>
            <p:spPr>
              <a:xfrm>
                <a:off x="510610" y="1198087"/>
                <a:ext cx="147357" cy="127297"/>
              </a:xfrm>
              <a:prstGeom prst="rect">
                <a:avLst/>
              </a:prstGeom>
            </p:spPr>
            <p:txBody>
              <a:bodyPr vert="horz" wrap="square" lIns="0" tIns="11766" rIns="0" bIns="0" rtlCol="0">
                <a:spAutoFit/>
              </a:bodyPr>
              <a:lstStyle/>
              <a:p>
                <a:pPr marL="11206">
                  <a:spcBef>
                    <a:spcPts val="93"/>
                  </a:spcBef>
                </a:pPr>
                <a:r>
                  <a:rPr sz="750" dirty="0">
                    <a:solidFill>
                      <a:srgbClr val="605D5C"/>
                    </a:solidFill>
                    <a:latin typeface="Segoe UI"/>
                    <a:cs typeface="Segoe UI"/>
                  </a:rPr>
                  <a:t>0.5</a:t>
                </a:r>
                <a:endParaRPr sz="750" dirty="0">
                  <a:latin typeface="Segoe UI"/>
                  <a:cs typeface="Segoe UI"/>
                </a:endParaRPr>
              </a:p>
            </p:txBody>
          </p:sp>
          <p:sp>
            <p:nvSpPr>
              <p:cNvPr id="139" name="object 139"/>
              <p:cNvSpPr txBox="1"/>
              <p:nvPr/>
            </p:nvSpPr>
            <p:spPr>
              <a:xfrm>
                <a:off x="1622797" y="2222165"/>
                <a:ext cx="760318" cy="166900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1000" spc="-31" dirty="0">
                    <a:solidFill>
                      <a:srgbClr val="252423"/>
                    </a:solidFill>
                    <a:latin typeface="Arial Narrow" panose="020B0606020202030204" pitchFamily="34" charset="0"/>
                    <a:cs typeface="Trebuchet MS"/>
                  </a:rPr>
                  <a:t>Review</a:t>
                </a:r>
                <a:r>
                  <a:rPr sz="1000" spc="-101" dirty="0">
                    <a:solidFill>
                      <a:srgbClr val="252423"/>
                    </a:solidFill>
                    <a:latin typeface="Arial Narrow" panose="020B0606020202030204" pitchFamily="34" charset="0"/>
                    <a:cs typeface="Trebuchet MS"/>
                  </a:rPr>
                  <a:t> </a:t>
                </a:r>
                <a:r>
                  <a:rPr sz="1000" spc="-31" dirty="0">
                    <a:solidFill>
                      <a:srgbClr val="252423"/>
                    </a:solidFill>
                    <a:latin typeface="Arial Narrow" panose="020B0606020202030204" pitchFamily="34" charset="0"/>
                    <a:cs typeface="Trebuchet MS"/>
                  </a:rPr>
                  <a:t>Category</a:t>
                </a:r>
                <a:endParaRPr sz="1000" dirty="0">
                  <a:latin typeface="Arial Narrow" panose="020B0606020202030204" pitchFamily="34" charset="0"/>
                  <a:cs typeface="Trebuchet MS"/>
                </a:endParaRPr>
              </a:p>
            </p:txBody>
          </p:sp>
          <p:sp>
            <p:nvSpPr>
              <p:cNvPr id="140" name="object 140"/>
              <p:cNvSpPr txBox="1"/>
              <p:nvPr/>
            </p:nvSpPr>
            <p:spPr>
              <a:xfrm>
                <a:off x="334140" y="1146424"/>
                <a:ext cx="116570" cy="696199"/>
              </a:xfrm>
              <a:prstGeom prst="rect">
                <a:avLst/>
              </a:prstGeom>
            </p:spPr>
            <p:txBody>
              <a:bodyPr vert="vert270" wrap="square" lIns="0" tIns="0" rIns="0" bIns="0" rtlCol="0">
                <a:spAutoFit/>
              </a:bodyPr>
              <a:lstStyle/>
              <a:p>
                <a:pPr marL="11206">
                  <a:lnSpc>
                    <a:spcPts val="922"/>
                  </a:lnSpc>
                </a:pPr>
                <a:r>
                  <a:rPr sz="1050" dirty="0">
                    <a:solidFill>
                      <a:srgbClr val="252423"/>
                    </a:solidFill>
                    <a:latin typeface="Arial Narrow" panose="020B0606020202030204" pitchFamily="34" charset="0"/>
                    <a:cs typeface="Trebuchet MS"/>
                  </a:rPr>
                  <a:t>Usefulness</a:t>
                </a:r>
                <a:endParaRPr sz="1050" dirty="0">
                  <a:latin typeface="Arial Narrow" panose="020B0606020202030204" pitchFamily="34" charset="0"/>
                  <a:cs typeface="Trebuchet MS"/>
                </a:endParaRPr>
              </a:p>
            </p:txBody>
          </p:sp>
          <p:sp>
            <p:nvSpPr>
              <p:cNvPr id="141" name="object 141"/>
              <p:cNvSpPr txBox="1"/>
              <p:nvPr/>
            </p:nvSpPr>
            <p:spPr>
              <a:xfrm>
                <a:off x="1159837" y="1988714"/>
                <a:ext cx="279587" cy="127297"/>
              </a:xfrm>
              <a:prstGeom prst="rect">
                <a:avLst/>
              </a:prstGeom>
            </p:spPr>
            <p:txBody>
              <a:bodyPr vert="horz" wrap="square" lIns="0" tIns="11766" rIns="0" bIns="0" rtlCol="0">
                <a:spAutoFit/>
              </a:bodyPr>
              <a:lstStyle/>
              <a:p>
                <a:pPr marL="11206">
                  <a:spcBef>
                    <a:spcPts val="93"/>
                  </a:spcBef>
                </a:pPr>
                <a:r>
                  <a:rPr sz="750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Books</a:t>
                </a:r>
                <a:endParaRPr sz="750" dirty="0">
                  <a:latin typeface="Segoe UI"/>
                  <a:cs typeface="Segoe UI"/>
                </a:endParaRPr>
              </a:p>
            </p:txBody>
          </p:sp>
          <p:sp>
            <p:nvSpPr>
              <p:cNvPr id="142" name="object 142"/>
              <p:cNvSpPr txBox="1"/>
              <p:nvPr/>
            </p:nvSpPr>
            <p:spPr>
              <a:xfrm>
                <a:off x="1710032" y="1988714"/>
                <a:ext cx="585507" cy="127297"/>
              </a:xfrm>
              <a:prstGeom prst="rect">
                <a:avLst/>
              </a:prstGeom>
            </p:spPr>
            <p:txBody>
              <a:bodyPr vert="horz" wrap="square" lIns="0" tIns="11766" rIns="0" bIns="0" rtlCol="0">
                <a:spAutoFit/>
              </a:bodyPr>
              <a:lstStyle/>
              <a:p>
                <a:pPr marL="11206">
                  <a:spcBef>
                    <a:spcPts val="93"/>
                  </a:spcBef>
                </a:pPr>
                <a:r>
                  <a:rPr sz="750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Video</a:t>
                </a:r>
                <a:r>
                  <a:rPr sz="750" spc="-57" dirty="0">
                    <a:solidFill>
                      <a:srgbClr val="605D5C"/>
                    </a:solidFill>
                    <a:latin typeface="Segoe UI"/>
                    <a:cs typeface="Segoe UI"/>
                  </a:rPr>
                  <a:t> </a:t>
                </a:r>
                <a:r>
                  <a:rPr sz="750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Games</a:t>
                </a:r>
                <a:endParaRPr sz="750" dirty="0">
                  <a:latin typeface="Segoe UI"/>
                  <a:cs typeface="Segoe UI"/>
                </a:endParaRPr>
              </a:p>
            </p:txBody>
          </p:sp>
          <p:sp>
            <p:nvSpPr>
              <p:cNvPr id="143" name="object 143"/>
              <p:cNvSpPr txBox="1"/>
              <p:nvPr/>
            </p:nvSpPr>
            <p:spPr>
              <a:xfrm>
                <a:off x="2471977" y="1981336"/>
                <a:ext cx="467846" cy="260049"/>
              </a:xfrm>
              <a:prstGeom prst="rect">
                <a:avLst/>
              </a:prstGeom>
            </p:spPr>
            <p:txBody>
              <a:bodyPr vert="horz" wrap="square" lIns="0" tIns="10646" rIns="0" bIns="0" rtlCol="0">
                <a:spAutoFit/>
              </a:bodyPr>
              <a:lstStyle/>
              <a:p>
                <a:pPr marL="75644" marR="4483" indent="-64998">
                  <a:lnSpc>
                    <a:spcPct val="107500"/>
                  </a:lnSpc>
                  <a:spcBef>
                    <a:spcPts val="84"/>
                  </a:spcBef>
                </a:pPr>
                <a:r>
                  <a:rPr sz="750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Home</a:t>
                </a:r>
                <a:r>
                  <a:rPr sz="750" spc="-75" dirty="0">
                    <a:solidFill>
                      <a:srgbClr val="605D5C"/>
                    </a:solidFill>
                    <a:latin typeface="Segoe UI"/>
                    <a:cs typeface="Segoe UI"/>
                  </a:rPr>
                  <a:t> </a:t>
                </a:r>
                <a:r>
                  <a:rPr sz="750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and  </a:t>
                </a:r>
                <a:r>
                  <a:rPr sz="750" dirty="0">
                    <a:solidFill>
                      <a:srgbClr val="605D5C"/>
                    </a:solidFill>
                    <a:latin typeface="Segoe UI"/>
                    <a:cs typeface="Segoe UI"/>
                  </a:rPr>
                  <a:t>Kitchen</a:t>
                </a:r>
                <a:endParaRPr sz="750" dirty="0">
                  <a:latin typeface="Segoe UI"/>
                  <a:cs typeface="Segoe UI"/>
                </a:endParaRPr>
              </a:p>
            </p:txBody>
          </p:sp>
          <p:sp>
            <p:nvSpPr>
              <p:cNvPr id="144" name="object 144"/>
              <p:cNvSpPr txBox="1"/>
              <p:nvPr/>
            </p:nvSpPr>
            <p:spPr>
              <a:xfrm>
                <a:off x="1174055" y="1075445"/>
                <a:ext cx="221876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0.51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145" name="object 145"/>
              <p:cNvSpPr txBox="1"/>
              <p:nvPr/>
            </p:nvSpPr>
            <p:spPr>
              <a:xfrm>
                <a:off x="1877154" y="1117523"/>
                <a:ext cx="221876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0.47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146" name="object 146"/>
              <p:cNvSpPr txBox="1"/>
              <p:nvPr/>
            </p:nvSpPr>
            <p:spPr>
              <a:xfrm>
                <a:off x="2580253" y="1200011"/>
                <a:ext cx="221876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0.41</a:t>
                </a:r>
                <a:endParaRPr sz="838" dirty="0">
                  <a:latin typeface="Segoe UI"/>
                  <a:cs typeface="Segoe UI"/>
                </a:endParaRPr>
              </a:p>
            </p:txBody>
          </p:sp>
        </p:grpSp>
      </p:grpSp>
      <p:grpSp>
        <p:nvGrpSpPr>
          <p:cNvPr id="447" name="Group 446">
            <a:extLst>
              <a:ext uri="{FF2B5EF4-FFF2-40B4-BE49-F238E27FC236}">
                <a16:creationId xmlns:a16="http://schemas.microsoft.com/office/drawing/2014/main" id="{2154F9FF-A4C9-4E99-B92B-6B68F8FE7260}"/>
              </a:ext>
            </a:extLst>
          </p:cNvPr>
          <p:cNvGrpSpPr/>
          <p:nvPr/>
        </p:nvGrpSpPr>
        <p:grpSpPr>
          <a:xfrm>
            <a:off x="3870711" y="3844219"/>
            <a:ext cx="3066208" cy="2668997"/>
            <a:chOff x="3484415" y="3992354"/>
            <a:chExt cx="3066208" cy="2668997"/>
          </a:xfrm>
        </p:grpSpPr>
        <p:sp>
          <p:nvSpPr>
            <p:cNvPr id="147" name="object 147"/>
            <p:cNvSpPr txBox="1"/>
            <p:nvPr/>
          </p:nvSpPr>
          <p:spPr>
            <a:xfrm>
              <a:off x="4943202" y="3992354"/>
              <a:ext cx="753035" cy="226194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11206">
                <a:spcBef>
                  <a:spcPts val="84"/>
                </a:spcBef>
              </a:pPr>
              <a:r>
                <a:rPr sz="1400" b="1" spc="-7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Word</a:t>
              </a:r>
              <a:r>
                <a:rPr sz="1400" b="1" spc="-146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400" b="1" spc="-7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ount</a:t>
              </a:r>
              <a:endParaRPr sz="1400" b="1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148" name="object 148"/>
            <p:cNvSpPr/>
            <p:nvPr/>
          </p:nvSpPr>
          <p:spPr>
            <a:xfrm>
              <a:off x="3935832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49" name="object 149"/>
            <p:cNvSpPr/>
            <p:nvPr/>
          </p:nvSpPr>
          <p:spPr>
            <a:xfrm>
              <a:off x="3990108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50" name="object 150"/>
            <p:cNvSpPr/>
            <p:nvPr/>
          </p:nvSpPr>
          <p:spPr>
            <a:xfrm>
              <a:off x="4044384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51" name="object 151"/>
            <p:cNvSpPr/>
            <p:nvPr/>
          </p:nvSpPr>
          <p:spPr>
            <a:xfrm>
              <a:off x="4098661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52" name="object 152"/>
            <p:cNvSpPr/>
            <p:nvPr/>
          </p:nvSpPr>
          <p:spPr>
            <a:xfrm>
              <a:off x="4152937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153" name="object 153"/>
            <p:cNvGrpSpPr/>
            <p:nvPr/>
          </p:nvGrpSpPr>
          <p:grpSpPr>
            <a:xfrm>
              <a:off x="4207214" y="4509205"/>
              <a:ext cx="660587" cy="1596277"/>
              <a:chOff x="4412575" y="5110432"/>
              <a:chExt cx="748665" cy="1809114"/>
            </a:xfrm>
          </p:grpSpPr>
          <p:sp>
            <p:nvSpPr>
              <p:cNvPr id="154" name="object 154"/>
              <p:cNvSpPr/>
              <p:nvPr/>
            </p:nvSpPr>
            <p:spPr>
              <a:xfrm>
                <a:off x="4412564" y="5264188"/>
                <a:ext cx="748665" cy="1655445"/>
              </a:xfrm>
              <a:custGeom>
                <a:avLst/>
                <a:gdLst/>
                <a:ahLst/>
                <a:cxnLst/>
                <a:rect l="l" t="t" r="r" b="b"/>
                <a:pathLst>
                  <a:path w="748664" h="1655445">
                    <a:moveTo>
                      <a:pt x="10261" y="1634617"/>
                    </a:moveTo>
                    <a:lnTo>
                      <a:pt x="0" y="1634617"/>
                    </a:lnTo>
                    <a:lnTo>
                      <a:pt x="0" y="1655089"/>
                    </a:lnTo>
                    <a:lnTo>
                      <a:pt x="10261" y="1655089"/>
                    </a:lnTo>
                    <a:lnTo>
                      <a:pt x="10261" y="1634617"/>
                    </a:lnTo>
                    <a:close/>
                  </a:path>
                  <a:path w="748664" h="1655445">
                    <a:moveTo>
                      <a:pt x="10261" y="1089748"/>
                    </a:moveTo>
                    <a:lnTo>
                      <a:pt x="0" y="1089748"/>
                    </a:lnTo>
                    <a:lnTo>
                      <a:pt x="0" y="1110221"/>
                    </a:lnTo>
                    <a:lnTo>
                      <a:pt x="10261" y="1110221"/>
                    </a:lnTo>
                    <a:lnTo>
                      <a:pt x="10261" y="1089748"/>
                    </a:lnTo>
                    <a:close/>
                  </a:path>
                  <a:path w="748664" h="1655445">
                    <a:moveTo>
                      <a:pt x="10261" y="544880"/>
                    </a:moveTo>
                    <a:lnTo>
                      <a:pt x="0" y="544880"/>
                    </a:lnTo>
                    <a:lnTo>
                      <a:pt x="0" y="565353"/>
                    </a:lnTo>
                    <a:lnTo>
                      <a:pt x="10261" y="565353"/>
                    </a:lnTo>
                    <a:lnTo>
                      <a:pt x="10261" y="544880"/>
                    </a:lnTo>
                    <a:close/>
                  </a:path>
                  <a:path w="748664" h="1655445">
                    <a:moveTo>
                      <a:pt x="10261" y="0"/>
                    </a:moveTo>
                    <a:lnTo>
                      <a:pt x="0" y="0"/>
                    </a:lnTo>
                    <a:lnTo>
                      <a:pt x="0" y="20485"/>
                    </a:lnTo>
                    <a:lnTo>
                      <a:pt x="10261" y="20485"/>
                    </a:lnTo>
                    <a:lnTo>
                      <a:pt x="10261" y="0"/>
                    </a:lnTo>
                    <a:close/>
                  </a:path>
                  <a:path w="748664" h="1655445">
                    <a:moveTo>
                      <a:pt x="71767" y="1644853"/>
                    </a:moveTo>
                    <a:lnTo>
                      <a:pt x="61518" y="1644853"/>
                    </a:lnTo>
                    <a:lnTo>
                      <a:pt x="61518" y="1655089"/>
                    </a:lnTo>
                    <a:lnTo>
                      <a:pt x="71767" y="1655089"/>
                    </a:lnTo>
                    <a:lnTo>
                      <a:pt x="71767" y="1644853"/>
                    </a:lnTo>
                    <a:close/>
                  </a:path>
                  <a:path w="748664" h="1655445">
                    <a:moveTo>
                      <a:pt x="133286" y="1644853"/>
                    </a:moveTo>
                    <a:lnTo>
                      <a:pt x="123037" y="1644853"/>
                    </a:lnTo>
                    <a:lnTo>
                      <a:pt x="123037" y="1655089"/>
                    </a:lnTo>
                    <a:lnTo>
                      <a:pt x="133286" y="1655089"/>
                    </a:lnTo>
                    <a:lnTo>
                      <a:pt x="133286" y="1644853"/>
                    </a:lnTo>
                    <a:close/>
                  </a:path>
                  <a:path w="748664" h="1655445">
                    <a:moveTo>
                      <a:pt x="194792" y="1644853"/>
                    </a:moveTo>
                    <a:lnTo>
                      <a:pt x="184543" y="1644853"/>
                    </a:lnTo>
                    <a:lnTo>
                      <a:pt x="184543" y="1655089"/>
                    </a:lnTo>
                    <a:lnTo>
                      <a:pt x="194792" y="1655089"/>
                    </a:lnTo>
                    <a:lnTo>
                      <a:pt x="194792" y="1644853"/>
                    </a:lnTo>
                    <a:close/>
                  </a:path>
                  <a:path w="748664" h="1655445">
                    <a:moveTo>
                      <a:pt x="256311" y="1644853"/>
                    </a:moveTo>
                    <a:lnTo>
                      <a:pt x="246062" y="1644853"/>
                    </a:lnTo>
                    <a:lnTo>
                      <a:pt x="246062" y="1655089"/>
                    </a:lnTo>
                    <a:lnTo>
                      <a:pt x="256311" y="1655089"/>
                    </a:lnTo>
                    <a:lnTo>
                      <a:pt x="256311" y="1644853"/>
                    </a:lnTo>
                    <a:close/>
                  </a:path>
                  <a:path w="748664" h="1655445">
                    <a:moveTo>
                      <a:pt x="317817" y="1644853"/>
                    </a:moveTo>
                    <a:lnTo>
                      <a:pt x="307568" y="1644853"/>
                    </a:lnTo>
                    <a:lnTo>
                      <a:pt x="307568" y="1655089"/>
                    </a:lnTo>
                    <a:lnTo>
                      <a:pt x="317817" y="1655089"/>
                    </a:lnTo>
                    <a:lnTo>
                      <a:pt x="317817" y="1644853"/>
                    </a:lnTo>
                    <a:close/>
                  </a:path>
                  <a:path w="748664" h="1655445">
                    <a:moveTo>
                      <a:pt x="379336" y="1644853"/>
                    </a:moveTo>
                    <a:lnTo>
                      <a:pt x="369087" y="1644853"/>
                    </a:lnTo>
                    <a:lnTo>
                      <a:pt x="369087" y="1655089"/>
                    </a:lnTo>
                    <a:lnTo>
                      <a:pt x="379336" y="1655089"/>
                    </a:lnTo>
                    <a:lnTo>
                      <a:pt x="379336" y="1644853"/>
                    </a:lnTo>
                    <a:close/>
                  </a:path>
                  <a:path w="748664" h="1655445">
                    <a:moveTo>
                      <a:pt x="440855" y="1644853"/>
                    </a:moveTo>
                    <a:lnTo>
                      <a:pt x="430593" y="1644853"/>
                    </a:lnTo>
                    <a:lnTo>
                      <a:pt x="430593" y="1655089"/>
                    </a:lnTo>
                    <a:lnTo>
                      <a:pt x="440855" y="1655089"/>
                    </a:lnTo>
                    <a:lnTo>
                      <a:pt x="440855" y="1644853"/>
                    </a:lnTo>
                    <a:close/>
                  </a:path>
                  <a:path w="748664" h="1655445">
                    <a:moveTo>
                      <a:pt x="502361" y="1644853"/>
                    </a:moveTo>
                    <a:lnTo>
                      <a:pt x="492112" y="1644853"/>
                    </a:lnTo>
                    <a:lnTo>
                      <a:pt x="492112" y="1655089"/>
                    </a:lnTo>
                    <a:lnTo>
                      <a:pt x="502361" y="1655089"/>
                    </a:lnTo>
                    <a:lnTo>
                      <a:pt x="502361" y="1644853"/>
                    </a:lnTo>
                    <a:close/>
                  </a:path>
                  <a:path w="748664" h="1655445">
                    <a:moveTo>
                      <a:pt x="563880" y="1644853"/>
                    </a:moveTo>
                    <a:lnTo>
                      <a:pt x="553618" y="1644853"/>
                    </a:lnTo>
                    <a:lnTo>
                      <a:pt x="553618" y="1655089"/>
                    </a:lnTo>
                    <a:lnTo>
                      <a:pt x="563880" y="1655089"/>
                    </a:lnTo>
                    <a:lnTo>
                      <a:pt x="563880" y="1644853"/>
                    </a:lnTo>
                    <a:close/>
                  </a:path>
                  <a:path w="748664" h="1655445">
                    <a:moveTo>
                      <a:pt x="625386" y="1644853"/>
                    </a:moveTo>
                    <a:lnTo>
                      <a:pt x="615137" y="1644853"/>
                    </a:lnTo>
                    <a:lnTo>
                      <a:pt x="615137" y="1655089"/>
                    </a:lnTo>
                    <a:lnTo>
                      <a:pt x="625386" y="1655089"/>
                    </a:lnTo>
                    <a:lnTo>
                      <a:pt x="625386" y="1644853"/>
                    </a:lnTo>
                    <a:close/>
                  </a:path>
                  <a:path w="748664" h="1655445">
                    <a:moveTo>
                      <a:pt x="686904" y="1644853"/>
                    </a:moveTo>
                    <a:lnTo>
                      <a:pt x="676656" y="1644853"/>
                    </a:lnTo>
                    <a:lnTo>
                      <a:pt x="676656" y="1655089"/>
                    </a:lnTo>
                    <a:lnTo>
                      <a:pt x="686904" y="1655089"/>
                    </a:lnTo>
                    <a:lnTo>
                      <a:pt x="686904" y="1644853"/>
                    </a:lnTo>
                    <a:close/>
                  </a:path>
                  <a:path w="748664" h="1655445">
                    <a:moveTo>
                      <a:pt x="748411" y="1634617"/>
                    </a:moveTo>
                    <a:lnTo>
                      <a:pt x="738162" y="1634617"/>
                    </a:lnTo>
                    <a:lnTo>
                      <a:pt x="738162" y="1655089"/>
                    </a:lnTo>
                    <a:lnTo>
                      <a:pt x="748411" y="1655089"/>
                    </a:lnTo>
                    <a:lnTo>
                      <a:pt x="748411" y="1634617"/>
                    </a:lnTo>
                    <a:close/>
                  </a:path>
                  <a:path w="748664" h="1655445">
                    <a:moveTo>
                      <a:pt x="748411" y="1089748"/>
                    </a:moveTo>
                    <a:lnTo>
                      <a:pt x="738162" y="1089748"/>
                    </a:lnTo>
                    <a:lnTo>
                      <a:pt x="738162" y="1110221"/>
                    </a:lnTo>
                    <a:lnTo>
                      <a:pt x="748411" y="1110221"/>
                    </a:lnTo>
                    <a:lnTo>
                      <a:pt x="748411" y="1089748"/>
                    </a:lnTo>
                    <a:close/>
                  </a:path>
                  <a:path w="748664" h="1655445">
                    <a:moveTo>
                      <a:pt x="748411" y="544880"/>
                    </a:moveTo>
                    <a:lnTo>
                      <a:pt x="738162" y="544880"/>
                    </a:lnTo>
                    <a:lnTo>
                      <a:pt x="738162" y="565353"/>
                    </a:lnTo>
                    <a:lnTo>
                      <a:pt x="748411" y="565353"/>
                    </a:lnTo>
                    <a:lnTo>
                      <a:pt x="748411" y="544880"/>
                    </a:lnTo>
                    <a:close/>
                  </a:path>
                  <a:path w="748664" h="1655445">
                    <a:moveTo>
                      <a:pt x="748411" y="0"/>
                    </a:moveTo>
                    <a:lnTo>
                      <a:pt x="738162" y="0"/>
                    </a:lnTo>
                    <a:lnTo>
                      <a:pt x="738162" y="20485"/>
                    </a:lnTo>
                    <a:lnTo>
                      <a:pt x="748411" y="20485"/>
                    </a:lnTo>
                    <a:lnTo>
                      <a:pt x="748411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55" name="object 155"/>
              <p:cNvSpPr/>
              <p:nvPr/>
            </p:nvSpPr>
            <p:spPr>
              <a:xfrm>
                <a:off x="4461490" y="5110432"/>
                <a:ext cx="675640" cy="1798955"/>
              </a:xfrm>
              <a:custGeom>
                <a:avLst/>
                <a:gdLst/>
                <a:ahLst/>
                <a:cxnLst/>
                <a:rect l="l" t="t" r="r" b="b"/>
                <a:pathLst>
                  <a:path w="675639" h="1798954">
                    <a:moveTo>
                      <a:pt x="675438" y="1798603"/>
                    </a:moveTo>
                    <a:lnTo>
                      <a:pt x="0" y="1798603"/>
                    </a:lnTo>
                    <a:lnTo>
                      <a:pt x="0" y="0"/>
                    </a:lnTo>
                    <a:lnTo>
                      <a:pt x="675438" y="0"/>
                    </a:lnTo>
                    <a:lnTo>
                      <a:pt x="675438" y="1798603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156" name="object 156"/>
            <p:cNvSpPr/>
            <p:nvPr/>
          </p:nvSpPr>
          <p:spPr>
            <a:xfrm>
              <a:off x="4912807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57" name="object 157"/>
            <p:cNvSpPr/>
            <p:nvPr/>
          </p:nvSpPr>
          <p:spPr>
            <a:xfrm>
              <a:off x="4967083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158" name="object 158"/>
            <p:cNvGrpSpPr/>
            <p:nvPr/>
          </p:nvGrpSpPr>
          <p:grpSpPr>
            <a:xfrm>
              <a:off x="5021359" y="4955994"/>
              <a:ext cx="611841" cy="1149724"/>
              <a:chOff x="5335273" y="5616793"/>
              <a:chExt cx="693420" cy="1303020"/>
            </a:xfrm>
          </p:grpSpPr>
          <p:sp>
            <p:nvSpPr>
              <p:cNvPr id="159" name="object 159"/>
              <p:cNvSpPr/>
              <p:nvPr/>
            </p:nvSpPr>
            <p:spPr>
              <a:xfrm>
                <a:off x="5335270" y="5809068"/>
                <a:ext cx="687070" cy="1110615"/>
              </a:xfrm>
              <a:custGeom>
                <a:avLst/>
                <a:gdLst/>
                <a:ahLst/>
                <a:cxnLst/>
                <a:rect l="l" t="t" r="r" b="b"/>
                <a:pathLst>
                  <a:path w="687070" h="1110615">
                    <a:moveTo>
                      <a:pt x="10248" y="1089736"/>
                    </a:moveTo>
                    <a:lnTo>
                      <a:pt x="0" y="1089736"/>
                    </a:lnTo>
                    <a:lnTo>
                      <a:pt x="0" y="1110208"/>
                    </a:lnTo>
                    <a:lnTo>
                      <a:pt x="10248" y="1110208"/>
                    </a:lnTo>
                    <a:lnTo>
                      <a:pt x="10248" y="1089736"/>
                    </a:lnTo>
                    <a:close/>
                  </a:path>
                  <a:path w="687070" h="1110615">
                    <a:moveTo>
                      <a:pt x="10248" y="544868"/>
                    </a:moveTo>
                    <a:lnTo>
                      <a:pt x="0" y="544868"/>
                    </a:lnTo>
                    <a:lnTo>
                      <a:pt x="0" y="565340"/>
                    </a:lnTo>
                    <a:lnTo>
                      <a:pt x="10248" y="565340"/>
                    </a:lnTo>
                    <a:lnTo>
                      <a:pt x="10248" y="544868"/>
                    </a:lnTo>
                    <a:close/>
                  </a:path>
                  <a:path w="687070" h="111061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20472"/>
                    </a:lnTo>
                    <a:lnTo>
                      <a:pt x="10248" y="20472"/>
                    </a:lnTo>
                    <a:lnTo>
                      <a:pt x="10248" y="0"/>
                    </a:lnTo>
                    <a:close/>
                  </a:path>
                  <a:path w="687070" h="1110615">
                    <a:moveTo>
                      <a:pt x="71767" y="1099972"/>
                    </a:moveTo>
                    <a:lnTo>
                      <a:pt x="61506" y="1099972"/>
                    </a:lnTo>
                    <a:lnTo>
                      <a:pt x="61506" y="1110208"/>
                    </a:lnTo>
                    <a:lnTo>
                      <a:pt x="71767" y="1110208"/>
                    </a:lnTo>
                    <a:lnTo>
                      <a:pt x="71767" y="1099972"/>
                    </a:lnTo>
                    <a:close/>
                  </a:path>
                  <a:path w="687070" h="1110615">
                    <a:moveTo>
                      <a:pt x="133273" y="1099972"/>
                    </a:moveTo>
                    <a:lnTo>
                      <a:pt x="123024" y="1099972"/>
                    </a:lnTo>
                    <a:lnTo>
                      <a:pt x="123024" y="1110208"/>
                    </a:lnTo>
                    <a:lnTo>
                      <a:pt x="133273" y="1110208"/>
                    </a:lnTo>
                    <a:lnTo>
                      <a:pt x="133273" y="1099972"/>
                    </a:lnTo>
                    <a:close/>
                  </a:path>
                  <a:path w="687070" h="1110615">
                    <a:moveTo>
                      <a:pt x="194792" y="1099972"/>
                    </a:moveTo>
                    <a:lnTo>
                      <a:pt x="184531" y="1099972"/>
                    </a:lnTo>
                    <a:lnTo>
                      <a:pt x="184531" y="1110208"/>
                    </a:lnTo>
                    <a:lnTo>
                      <a:pt x="194792" y="1110208"/>
                    </a:lnTo>
                    <a:lnTo>
                      <a:pt x="194792" y="1099972"/>
                    </a:lnTo>
                    <a:close/>
                  </a:path>
                  <a:path w="687070" h="1110615">
                    <a:moveTo>
                      <a:pt x="256298" y="1099972"/>
                    </a:moveTo>
                    <a:lnTo>
                      <a:pt x="246049" y="1099972"/>
                    </a:lnTo>
                    <a:lnTo>
                      <a:pt x="246049" y="1110208"/>
                    </a:lnTo>
                    <a:lnTo>
                      <a:pt x="256298" y="1110208"/>
                    </a:lnTo>
                    <a:lnTo>
                      <a:pt x="256298" y="1099972"/>
                    </a:lnTo>
                    <a:close/>
                  </a:path>
                  <a:path w="687070" h="1110615">
                    <a:moveTo>
                      <a:pt x="317817" y="1099972"/>
                    </a:moveTo>
                    <a:lnTo>
                      <a:pt x="307568" y="1099972"/>
                    </a:lnTo>
                    <a:lnTo>
                      <a:pt x="307568" y="1110208"/>
                    </a:lnTo>
                    <a:lnTo>
                      <a:pt x="317817" y="1110208"/>
                    </a:lnTo>
                    <a:lnTo>
                      <a:pt x="317817" y="1099972"/>
                    </a:lnTo>
                    <a:close/>
                  </a:path>
                  <a:path w="687070" h="1110615">
                    <a:moveTo>
                      <a:pt x="379323" y="1099972"/>
                    </a:moveTo>
                    <a:lnTo>
                      <a:pt x="369074" y="1099972"/>
                    </a:lnTo>
                    <a:lnTo>
                      <a:pt x="369074" y="1110208"/>
                    </a:lnTo>
                    <a:lnTo>
                      <a:pt x="379323" y="1110208"/>
                    </a:lnTo>
                    <a:lnTo>
                      <a:pt x="379323" y="1099972"/>
                    </a:lnTo>
                    <a:close/>
                  </a:path>
                  <a:path w="687070" h="1110615">
                    <a:moveTo>
                      <a:pt x="440842" y="1099972"/>
                    </a:moveTo>
                    <a:lnTo>
                      <a:pt x="430593" y="1099972"/>
                    </a:lnTo>
                    <a:lnTo>
                      <a:pt x="430593" y="1110208"/>
                    </a:lnTo>
                    <a:lnTo>
                      <a:pt x="440842" y="1110208"/>
                    </a:lnTo>
                    <a:lnTo>
                      <a:pt x="440842" y="1099972"/>
                    </a:lnTo>
                    <a:close/>
                  </a:path>
                  <a:path w="687070" h="1110615">
                    <a:moveTo>
                      <a:pt x="502361" y="1099972"/>
                    </a:moveTo>
                    <a:lnTo>
                      <a:pt x="492099" y="1099972"/>
                    </a:lnTo>
                    <a:lnTo>
                      <a:pt x="492099" y="1110208"/>
                    </a:lnTo>
                    <a:lnTo>
                      <a:pt x="502361" y="1110208"/>
                    </a:lnTo>
                    <a:lnTo>
                      <a:pt x="502361" y="1099972"/>
                    </a:lnTo>
                    <a:close/>
                  </a:path>
                  <a:path w="687070" h="1110615">
                    <a:moveTo>
                      <a:pt x="563867" y="1099972"/>
                    </a:moveTo>
                    <a:lnTo>
                      <a:pt x="553618" y="1099972"/>
                    </a:lnTo>
                    <a:lnTo>
                      <a:pt x="553618" y="1110208"/>
                    </a:lnTo>
                    <a:lnTo>
                      <a:pt x="563867" y="1110208"/>
                    </a:lnTo>
                    <a:lnTo>
                      <a:pt x="563867" y="1099972"/>
                    </a:lnTo>
                    <a:close/>
                  </a:path>
                  <a:path w="687070" h="1110615">
                    <a:moveTo>
                      <a:pt x="625386" y="1099972"/>
                    </a:moveTo>
                    <a:lnTo>
                      <a:pt x="615124" y="1099972"/>
                    </a:lnTo>
                    <a:lnTo>
                      <a:pt x="615124" y="1110208"/>
                    </a:lnTo>
                    <a:lnTo>
                      <a:pt x="625386" y="1110208"/>
                    </a:lnTo>
                    <a:lnTo>
                      <a:pt x="625386" y="1099972"/>
                    </a:lnTo>
                    <a:close/>
                  </a:path>
                  <a:path w="687070" h="1110615">
                    <a:moveTo>
                      <a:pt x="686892" y="1099972"/>
                    </a:moveTo>
                    <a:lnTo>
                      <a:pt x="676643" y="1099972"/>
                    </a:lnTo>
                    <a:lnTo>
                      <a:pt x="676643" y="1110208"/>
                    </a:lnTo>
                    <a:lnTo>
                      <a:pt x="686892" y="1110208"/>
                    </a:lnTo>
                    <a:lnTo>
                      <a:pt x="686892" y="1099972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0" name="object 160"/>
              <p:cNvSpPr/>
              <p:nvPr/>
            </p:nvSpPr>
            <p:spPr>
              <a:xfrm>
                <a:off x="5352694" y="5616793"/>
                <a:ext cx="675640" cy="1292860"/>
              </a:xfrm>
              <a:custGeom>
                <a:avLst/>
                <a:gdLst/>
                <a:ahLst/>
                <a:cxnLst/>
                <a:rect l="l" t="t" r="r" b="b"/>
                <a:pathLst>
                  <a:path w="675639" h="1292859">
                    <a:moveTo>
                      <a:pt x="675438" y="1292242"/>
                    </a:moveTo>
                    <a:lnTo>
                      <a:pt x="0" y="1292242"/>
                    </a:lnTo>
                    <a:lnTo>
                      <a:pt x="0" y="0"/>
                    </a:lnTo>
                    <a:lnTo>
                      <a:pt x="675438" y="0"/>
                    </a:lnTo>
                    <a:lnTo>
                      <a:pt x="675438" y="1292242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161" name="object 161"/>
            <p:cNvSpPr/>
            <p:nvPr/>
          </p:nvSpPr>
          <p:spPr>
            <a:xfrm>
              <a:off x="5672676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62" name="object 162"/>
            <p:cNvSpPr/>
            <p:nvPr/>
          </p:nvSpPr>
          <p:spPr>
            <a:xfrm>
              <a:off x="5726953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163" name="object 163"/>
            <p:cNvGrpSpPr/>
            <p:nvPr/>
          </p:nvGrpSpPr>
          <p:grpSpPr>
            <a:xfrm>
              <a:off x="5781229" y="5351598"/>
              <a:ext cx="660587" cy="754156"/>
              <a:chOff x="6196459" y="6065144"/>
              <a:chExt cx="748665" cy="854710"/>
            </a:xfrm>
          </p:grpSpPr>
          <p:sp>
            <p:nvSpPr>
              <p:cNvPr id="164" name="object 164"/>
              <p:cNvSpPr/>
              <p:nvPr/>
            </p:nvSpPr>
            <p:spPr>
              <a:xfrm>
                <a:off x="6196457" y="6353936"/>
                <a:ext cx="748665" cy="565785"/>
              </a:xfrm>
              <a:custGeom>
                <a:avLst/>
                <a:gdLst/>
                <a:ahLst/>
                <a:cxnLst/>
                <a:rect l="l" t="t" r="r" b="b"/>
                <a:pathLst>
                  <a:path w="748665" h="565784">
                    <a:moveTo>
                      <a:pt x="10248" y="544868"/>
                    </a:moveTo>
                    <a:lnTo>
                      <a:pt x="0" y="544868"/>
                    </a:lnTo>
                    <a:lnTo>
                      <a:pt x="0" y="565340"/>
                    </a:lnTo>
                    <a:lnTo>
                      <a:pt x="10248" y="565340"/>
                    </a:lnTo>
                    <a:lnTo>
                      <a:pt x="10248" y="544868"/>
                    </a:lnTo>
                    <a:close/>
                  </a:path>
                  <a:path w="748665" h="56578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20472"/>
                    </a:lnTo>
                    <a:lnTo>
                      <a:pt x="10248" y="20472"/>
                    </a:lnTo>
                    <a:lnTo>
                      <a:pt x="10248" y="0"/>
                    </a:lnTo>
                    <a:close/>
                  </a:path>
                  <a:path w="748665" h="565784">
                    <a:moveTo>
                      <a:pt x="71767" y="555104"/>
                    </a:moveTo>
                    <a:lnTo>
                      <a:pt x="61506" y="555104"/>
                    </a:lnTo>
                    <a:lnTo>
                      <a:pt x="61506" y="565340"/>
                    </a:lnTo>
                    <a:lnTo>
                      <a:pt x="71767" y="565340"/>
                    </a:lnTo>
                    <a:lnTo>
                      <a:pt x="71767" y="555104"/>
                    </a:lnTo>
                    <a:close/>
                  </a:path>
                  <a:path w="748665" h="565784">
                    <a:moveTo>
                      <a:pt x="133273" y="555104"/>
                    </a:moveTo>
                    <a:lnTo>
                      <a:pt x="123024" y="555104"/>
                    </a:lnTo>
                    <a:lnTo>
                      <a:pt x="123024" y="565340"/>
                    </a:lnTo>
                    <a:lnTo>
                      <a:pt x="133273" y="565340"/>
                    </a:lnTo>
                    <a:lnTo>
                      <a:pt x="133273" y="555104"/>
                    </a:lnTo>
                    <a:close/>
                  </a:path>
                  <a:path w="748665" h="565784">
                    <a:moveTo>
                      <a:pt x="194792" y="555104"/>
                    </a:moveTo>
                    <a:lnTo>
                      <a:pt x="184531" y="555104"/>
                    </a:lnTo>
                    <a:lnTo>
                      <a:pt x="184531" y="565340"/>
                    </a:lnTo>
                    <a:lnTo>
                      <a:pt x="194792" y="565340"/>
                    </a:lnTo>
                    <a:lnTo>
                      <a:pt x="194792" y="555104"/>
                    </a:lnTo>
                    <a:close/>
                  </a:path>
                  <a:path w="748665" h="565784">
                    <a:moveTo>
                      <a:pt x="256298" y="555104"/>
                    </a:moveTo>
                    <a:lnTo>
                      <a:pt x="246049" y="555104"/>
                    </a:lnTo>
                    <a:lnTo>
                      <a:pt x="246049" y="565340"/>
                    </a:lnTo>
                    <a:lnTo>
                      <a:pt x="256298" y="565340"/>
                    </a:lnTo>
                    <a:lnTo>
                      <a:pt x="256298" y="555104"/>
                    </a:lnTo>
                    <a:close/>
                  </a:path>
                  <a:path w="748665" h="565784">
                    <a:moveTo>
                      <a:pt x="317817" y="555104"/>
                    </a:moveTo>
                    <a:lnTo>
                      <a:pt x="307555" y="555104"/>
                    </a:lnTo>
                    <a:lnTo>
                      <a:pt x="307555" y="565340"/>
                    </a:lnTo>
                    <a:lnTo>
                      <a:pt x="317817" y="565340"/>
                    </a:lnTo>
                    <a:lnTo>
                      <a:pt x="317817" y="555104"/>
                    </a:lnTo>
                    <a:close/>
                  </a:path>
                  <a:path w="748665" h="565784">
                    <a:moveTo>
                      <a:pt x="379323" y="555104"/>
                    </a:moveTo>
                    <a:lnTo>
                      <a:pt x="369074" y="555104"/>
                    </a:lnTo>
                    <a:lnTo>
                      <a:pt x="369074" y="565340"/>
                    </a:lnTo>
                    <a:lnTo>
                      <a:pt x="379323" y="565340"/>
                    </a:lnTo>
                    <a:lnTo>
                      <a:pt x="379323" y="555104"/>
                    </a:lnTo>
                    <a:close/>
                  </a:path>
                  <a:path w="748665" h="565784">
                    <a:moveTo>
                      <a:pt x="440842" y="555104"/>
                    </a:moveTo>
                    <a:lnTo>
                      <a:pt x="430593" y="555104"/>
                    </a:lnTo>
                    <a:lnTo>
                      <a:pt x="430593" y="565340"/>
                    </a:lnTo>
                    <a:lnTo>
                      <a:pt x="440842" y="565340"/>
                    </a:lnTo>
                    <a:lnTo>
                      <a:pt x="440842" y="555104"/>
                    </a:lnTo>
                    <a:close/>
                  </a:path>
                  <a:path w="748665" h="565784">
                    <a:moveTo>
                      <a:pt x="502348" y="555104"/>
                    </a:moveTo>
                    <a:lnTo>
                      <a:pt x="492099" y="555104"/>
                    </a:lnTo>
                    <a:lnTo>
                      <a:pt x="492099" y="565340"/>
                    </a:lnTo>
                    <a:lnTo>
                      <a:pt x="502348" y="565340"/>
                    </a:lnTo>
                    <a:lnTo>
                      <a:pt x="502348" y="555104"/>
                    </a:lnTo>
                    <a:close/>
                  </a:path>
                  <a:path w="748665" h="565784">
                    <a:moveTo>
                      <a:pt x="563867" y="555104"/>
                    </a:moveTo>
                    <a:lnTo>
                      <a:pt x="553618" y="555104"/>
                    </a:lnTo>
                    <a:lnTo>
                      <a:pt x="553618" y="565340"/>
                    </a:lnTo>
                    <a:lnTo>
                      <a:pt x="563867" y="565340"/>
                    </a:lnTo>
                    <a:lnTo>
                      <a:pt x="563867" y="555104"/>
                    </a:lnTo>
                    <a:close/>
                  </a:path>
                  <a:path w="748665" h="565784">
                    <a:moveTo>
                      <a:pt x="625386" y="555104"/>
                    </a:moveTo>
                    <a:lnTo>
                      <a:pt x="615124" y="555104"/>
                    </a:lnTo>
                    <a:lnTo>
                      <a:pt x="615124" y="565340"/>
                    </a:lnTo>
                    <a:lnTo>
                      <a:pt x="625386" y="565340"/>
                    </a:lnTo>
                    <a:lnTo>
                      <a:pt x="625386" y="555104"/>
                    </a:lnTo>
                    <a:close/>
                  </a:path>
                  <a:path w="748665" h="565784">
                    <a:moveTo>
                      <a:pt x="686892" y="555104"/>
                    </a:moveTo>
                    <a:lnTo>
                      <a:pt x="676643" y="555104"/>
                    </a:lnTo>
                    <a:lnTo>
                      <a:pt x="676643" y="565340"/>
                    </a:lnTo>
                    <a:lnTo>
                      <a:pt x="686892" y="565340"/>
                    </a:lnTo>
                    <a:lnTo>
                      <a:pt x="686892" y="555104"/>
                    </a:lnTo>
                    <a:close/>
                  </a:path>
                  <a:path w="748665" h="565784">
                    <a:moveTo>
                      <a:pt x="748411" y="544868"/>
                    </a:moveTo>
                    <a:lnTo>
                      <a:pt x="738149" y="544868"/>
                    </a:lnTo>
                    <a:lnTo>
                      <a:pt x="738149" y="565340"/>
                    </a:lnTo>
                    <a:lnTo>
                      <a:pt x="748411" y="565340"/>
                    </a:lnTo>
                    <a:lnTo>
                      <a:pt x="748411" y="544868"/>
                    </a:lnTo>
                    <a:close/>
                  </a:path>
                  <a:path w="748665" h="565784">
                    <a:moveTo>
                      <a:pt x="748411" y="0"/>
                    </a:moveTo>
                    <a:lnTo>
                      <a:pt x="738149" y="0"/>
                    </a:lnTo>
                    <a:lnTo>
                      <a:pt x="738149" y="20472"/>
                    </a:lnTo>
                    <a:lnTo>
                      <a:pt x="748411" y="20472"/>
                    </a:lnTo>
                    <a:lnTo>
                      <a:pt x="748411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5" name="object 165"/>
              <p:cNvSpPr/>
              <p:nvPr/>
            </p:nvSpPr>
            <p:spPr>
              <a:xfrm>
                <a:off x="6243898" y="6065144"/>
                <a:ext cx="675640" cy="843915"/>
              </a:xfrm>
              <a:custGeom>
                <a:avLst/>
                <a:gdLst/>
                <a:ahLst/>
                <a:cxnLst/>
                <a:rect l="l" t="t" r="r" b="b"/>
                <a:pathLst>
                  <a:path w="675640" h="843915">
                    <a:moveTo>
                      <a:pt x="675438" y="843891"/>
                    </a:moveTo>
                    <a:lnTo>
                      <a:pt x="0" y="843891"/>
                    </a:lnTo>
                    <a:lnTo>
                      <a:pt x="0" y="0"/>
                    </a:lnTo>
                    <a:lnTo>
                      <a:pt x="675438" y="0"/>
                    </a:lnTo>
                    <a:lnTo>
                      <a:pt x="675438" y="843891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166" name="object 166"/>
            <p:cNvSpPr/>
            <p:nvPr/>
          </p:nvSpPr>
          <p:spPr>
            <a:xfrm>
              <a:off x="6486822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67" name="object 167"/>
            <p:cNvSpPr/>
            <p:nvPr/>
          </p:nvSpPr>
          <p:spPr>
            <a:xfrm>
              <a:off x="6541098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2" name="object 172"/>
            <p:cNvSpPr txBox="1"/>
            <p:nvPr/>
          </p:nvSpPr>
          <p:spPr>
            <a:xfrm>
              <a:off x="3775649" y="6011295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73" name="object 173"/>
            <p:cNvSpPr/>
            <p:nvPr/>
          </p:nvSpPr>
          <p:spPr>
            <a:xfrm>
              <a:off x="3935832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4" name="object 174"/>
            <p:cNvSpPr/>
            <p:nvPr/>
          </p:nvSpPr>
          <p:spPr>
            <a:xfrm>
              <a:off x="3990108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5" name="object 175"/>
            <p:cNvSpPr/>
            <p:nvPr/>
          </p:nvSpPr>
          <p:spPr>
            <a:xfrm>
              <a:off x="4044384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6" name="object 176"/>
            <p:cNvSpPr/>
            <p:nvPr/>
          </p:nvSpPr>
          <p:spPr>
            <a:xfrm>
              <a:off x="4098661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7" name="object 177"/>
            <p:cNvSpPr/>
            <p:nvPr/>
          </p:nvSpPr>
          <p:spPr>
            <a:xfrm>
              <a:off x="4152937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8" name="object 178"/>
            <p:cNvSpPr/>
            <p:nvPr/>
          </p:nvSpPr>
          <p:spPr>
            <a:xfrm>
              <a:off x="4912807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9" name="object 179"/>
            <p:cNvSpPr/>
            <p:nvPr/>
          </p:nvSpPr>
          <p:spPr>
            <a:xfrm>
              <a:off x="4967083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0" name="object 180"/>
            <p:cNvSpPr/>
            <p:nvPr/>
          </p:nvSpPr>
          <p:spPr>
            <a:xfrm>
              <a:off x="5672676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1" name="object 181"/>
            <p:cNvSpPr/>
            <p:nvPr/>
          </p:nvSpPr>
          <p:spPr>
            <a:xfrm>
              <a:off x="5726953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2" name="object 182"/>
            <p:cNvSpPr/>
            <p:nvPr/>
          </p:nvSpPr>
          <p:spPr>
            <a:xfrm>
              <a:off x="6486822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3" name="object 183"/>
            <p:cNvSpPr/>
            <p:nvPr/>
          </p:nvSpPr>
          <p:spPr>
            <a:xfrm>
              <a:off x="6541098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8" name="object 188"/>
            <p:cNvSpPr txBox="1"/>
            <p:nvPr/>
          </p:nvSpPr>
          <p:spPr>
            <a:xfrm>
              <a:off x="3658615" y="5530529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1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89" name="object 189"/>
            <p:cNvSpPr/>
            <p:nvPr/>
          </p:nvSpPr>
          <p:spPr>
            <a:xfrm>
              <a:off x="3935832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0" name="object 190"/>
            <p:cNvSpPr/>
            <p:nvPr/>
          </p:nvSpPr>
          <p:spPr>
            <a:xfrm>
              <a:off x="3990108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1" name="object 191"/>
            <p:cNvSpPr/>
            <p:nvPr/>
          </p:nvSpPr>
          <p:spPr>
            <a:xfrm>
              <a:off x="4044384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2" name="object 192"/>
            <p:cNvSpPr/>
            <p:nvPr/>
          </p:nvSpPr>
          <p:spPr>
            <a:xfrm>
              <a:off x="4098661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3" name="object 193"/>
            <p:cNvSpPr/>
            <p:nvPr/>
          </p:nvSpPr>
          <p:spPr>
            <a:xfrm>
              <a:off x="4152937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4" name="object 194"/>
            <p:cNvSpPr/>
            <p:nvPr/>
          </p:nvSpPr>
          <p:spPr>
            <a:xfrm>
              <a:off x="4912807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5" name="object 195"/>
            <p:cNvSpPr/>
            <p:nvPr/>
          </p:nvSpPr>
          <p:spPr>
            <a:xfrm>
              <a:off x="4967083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6" name="object 196"/>
            <p:cNvSpPr/>
            <p:nvPr/>
          </p:nvSpPr>
          <p:spPr>
            <a:xfrm>
              <a:off x="5672676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7" name="object 197"/>
            <p:cNvSpPr/>
            <p:nvPr/>
          </p:nvSpPr>
          <p:spPr>
            <a:xfrm>
              <a:off x="5726953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8" name="object 198"/>
            <p:cNvSpPr/>
            <p:nvPr/>
          </p:nvSpPr>
          <p:spPr>
            <a:xfrm>
              <a:off x="5781229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9" name="object 199"/>
            <p:cNvSpPr/>
            <p:nvPr/>
          </p:nvSpPr>
          <p:spPr>
            <a:xfrm>
              <a:off x="5835505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0" name="object 200"/>
            <p:cNvSpPr/>
            <p:nvPr/>
          </p:nvSpPr>
          <p:spPr>
            <a:xfrm>
              <a:off x="5889781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201" name="object 201"/>
            <p:cNvGrpSpPr/>
            <p:nvPr/>
          </p:nvGrpSpPr>
          <p:grpSpPr>
            <a:xfrm>
              <a:off x="5944057" y="5123877"/>
              <a:ext cx="337297" cy="173691"/>
              <a:chOff x="6380998" y="5807060"/>
              <a:chExt cx="382270" cy="196850"/>
            </a:xfrm>
          </p:grpSpPr>
          <p:sp>
            <p:nvSpPr>
              <p:cNvPr id="202" name="object 202"/>
              <p:cNvSpPr/>
              <p:nvPr/>
            </p:nvSpPr>
            <p:spPr>
              <a:xfrm>
                <a:off x="6380988" y="5809068"/>
                <a:ext cx="379730" cy="20955"/>
              </a:xfrm>
              <a:custGeom>
                <a:avLst/>
                <a:gdLst/>
                <a:ahLst/>
                <a:cxnLst/>
                <a:rect l="l" t="t" r="r" b="b"/>
                <a:pathLst>
                  <a:path w="379729" h="20954">
                    <a:moveTo>
                      <a:pt x="10261" y="0"/>
                    </a:moveTo>
                    <a:lnTo>
                      <a:pt x="0" y="0"/>
                    </a:lnTo>
                    <a:lnTo>
                      <a:pt x="0" y="20472"/>
                    </a:lnTo>
                    <a:lnTo>
                      <a:pt x="10261" y="20472"/>
                    </a:lnTo>
                    <a:lnTo>
                      <a:pt x="10261" y="0"/>
                    </a:lnTo>
                    <a:close/>
                  </a:path>
                  <a:path w="379729" h="20954">
                    <a:moveTo>
                      <a:pt x="71767" y="0"/>
                    </a:moveTo>
                    <a:lnTo>
                      <a:pt x="61518" y="0"/>
                    </a:lnTo>
                    <a:lnTo>
                      <a:pt x="61518" y="20472"/>
                    </a:lnTo>
                    <a:lnTo>
                      <a:pt x="71767" y="20472"/>
                    </a:lnTo>
                    <a:lnTo>
                      <a:pt x="71767" y="0"/>
                    </a:lnTo>
                    <a:close/>
                  </a:path>
                  <a:path w="379729" h="20954">
                    <a:moveTo>
                      <a:pt x="133286" y="0"/>
                    </a:moveTo>
                    <a:lnTo>
                      <a:pt x="123037" y="0"/>
                    </a:lnTo>
                    <a:lnTo>
                      <a:pt x="123037" y="20472"/>
                    </a:lnTo>
                    <a:lnTo>
                      <a:pt x="133286" y="20472"/>
                    </a:lnTo>
                    <a:lnTo>
                      <a:pt x="133286" y="0"/>
                    </a:lnTo>
                    <a:close/>
                  </a:path>
                  <a:path w="379729" h="20954">
                    <a:moveTo>
                      <a:pt x="194792" y="0"/>
                    </a:moveTo>
                    <a:lnTo>
                      <a:pt x="184543" y="0"/>
                    </a:lnTo>
                    <a:lnTo>
                      <a:pt x="184543" y="20472"/>
                    </a:lnTo>
                    <a:lnTo>
                      <a:pt x="194792" y="20472"/>
                    </a:lnTo>
                    <a:lnTo>
                      <a:pt x="194792" y="0"/>
                    </a:lnTo>
                    <a:close/>
                  </a:path>
                  <a:path w="379729" h="20954">
                    <a:moveTo>
                      <a:pt x="256311" y="0"/>
                    </a:moveTo>
                    <a:lnTo>
                      <a:pt x="246062" y="0"/>
                    </a:lnTo>
                    <a:lnTo>
                      <a:pt x="246062" y="20472"/>
                    </a:lnTo>
                    <a:lnTo>
                      <a:pt x="256311" y="20472"/>
                    </a:lnTo>
                    <a:lnTo>
                      <a:pt x="256311" y="0"/>
                    </a:lnTo>
                    <a:close/>
                  </a:path>
                  <a:path w="379729" h="20954">
                    <a:moveTo>
                      <a:pt x="317817" y="0"/>
                    </a:moveTo>
                    <a:lnTo>
                      <a:pt x="307568" y="0"/>
                    </a:lnTo>
                    <a:lnTo>
                      <a:pt x="307568" y="20472"/>
                    </a:lnTo>
                    <a:lnTo>
                      <a:pt x="317817" y="20472"/>
                    </a:lnTo>
                    <a:lnTo>
                      <a:pt x="317817" y="0"/>
                    </a:lnTo>
                    <a:close/>
                  </a:path>
                  <a:path w="379729" h="20954">
                    <a:moveTo>
                      <a:pt x="379336" y="0"/>
                    </a:moveTo>
                    <a:lnTo>
                      <a:pt x="369087" y="0"/>
                    </a:lnTo>
                    <a:lnTo>
                      <a:pt x="369087" y="20472"/>
                    </a:lnTo>
                    <a:lnTo>
                      <a:pt x="379336" y="20472"/>
                    </a:lnTo>
                    <a:lnTo>
                      <a:pt x="379336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3" name="object 203"/>
              <p:cNvSpPr/>
              <p:nvPr/>
            </p:nvSpPr>
            <p:spPr>
              <a:xfrm>
                <a:off x="6400121" y="5807060"/>
                <a:ext cx="363220" cy="196850"/>
              </a:xfrm>
              <a:custGeom>
                <a:avLst/>
                <a:gdLst/>
                <a:ahLst/>
                <a:cxnLst/>
                <a:rect l="l" t="t" r="r" b="b"/>
                <a:pathLst>
                  <a:path w="363220" h="196850">
                    <a:moveTo>
                      <a:pt x="327421" y="196662"/>
                    </a:moveTo>
                    <a:lnTo>
                      <a:pt x="35570" y="196662"/>
                    </a:lnTo>
                    <a:lnTo>
                      <a:pt x="30339" y="195622"/>
                    </a:lnTo>
                    <a:lnTo>
                      <a:pt x="1040" y="166367"/>
                    </a:lnTo>
                    <a:lnTo>
                      <a:pt x="0" y="161144"/>
                    </a:lnTo>
                    <a:lnTo>
                      <a:pt x="0" y="35517"/>
                    </a:lnTo>
                    <a:lnTo>
                      <a:pt x="30339" y="1038"/>
                    </a:lnTo>
                    <a:lnTo>
                      <a:pt x="35570" y="0"/>
                    </a:lnTo>
                    <a:lnTo>
                      <a:pt x="41009" y="0"/>
                    </a:lnTo>
                    <a:lnTo>
                      <a:pt x="327421" y="0"/>
                    </a:lnTo>
                    <a:lnTo>
                      <a:pt x="361951" y="30294"/>
                    </a:lnTo>
                    <a:lnTo>
                      <a:pt x="362991" y="35517"/>
                    </a:lnTo>
                    <a:lnTo>
                      <a:pt x="362991" y="161144"/>
                    </a:lnTo>
                    <a:lnTo>
                      <a:pt x="332652" y="195622"/>
                    </a:lnTo>
                    <a:lnTo>
                      <a:pt x="327421" y="196662"/>
                    </a:lnTo>
                    <a:close/>
                  </a:path>
                </a:pathLst>
              </a:custGeom>
              <a:solidFill>
                <a:srgbClr val="252423">
                  <a:alpha val="10198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204" name="object 204"/>
            <p:cNvSpPr/>
            <p:nvPr/>
          </p:nvSpPr>
          <p:spPr>
            <a:xfrm>
              <a:off x="6323993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5" name="object 205"/>
            <p:cNvSpPr/>
            <p:nvPr/>
          </p:nvSpPr>
          <p:spPr>
            <a:xfrm>
              <a:off x="6378270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6" name="object 206"/>
            <p:cNvSpPr/>
            <p:nvPr/>
          </p:nvSpPr>
          <p:spPr>
            <a:xfrm>
              <a:off x="6432545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7" name="object 207"/>
            <p:cNvSpPr/>
            <p:nvPr/>
          </p:nvSpPr>
          <p:spPr>
            <a:xfrm>
              <a:off x="6486822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8" name="object 208"/>
            <p:cNvSpPr/>
            <p:nvPr/>
          </p:nvSpPr>
          <p:spPr>
            <a:xfrm>
              <a:off x="6541098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3" name="object 213"/>
            <p:cNvSpPr txBox="1"/>
            <p:nvPr/>
          </p:nvSpPr>
          <p:spPr>
            <a:xfrm>
              <a:off x="3658615" y="5049760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2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14" name="object 214"/>
            <p:cNvSpPr/>
            <p:nvPr/>
          </p:nvSpPr>
          <p:spPr>
            <a:xfrm>
              <a:off x="3935832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5" name="object 215"/>
            <p:cNvSpPr/>
            <p:nvPr/>
          </p:nvSpPr>
          <p:spPr>
            <a:xfrm>
              <a:off x="3990108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6" name="object 216"/>
            <p:cNvSpPr/>
            <p:nvPr/>
          </p:nvSpPr>
          <p:spPr>
            <a:xfrm>
              <a:off x="4044384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7" name="object 217"/>
            <p:cNvSpPr/>
            <p:nvPr/>
          </p:nvSpPr>
          <p:spPr>
            <a:xfrm>
              <a:off x="4098661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8" name="object 218"/>
            <p:cNvSpPr/>
            <p:nvPr/>
          </p:nvSpPr>
          <p:spPr>
            <a:xfrm>
              <a:off x="4152937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9" name="object 219"/>
            <p:cNvSpPr/>
            <p:nvPr/>
          </p:nvSpPr>
          <p:spPr>
            <a:xfrm>
              <a:off x="4912807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0" name="object 220"/>
            <p:cNvSpPr/>
            <p:nvPr/>
          </p:nvSpPr>
          <p:spPr>
            <a:xfrm>
              <a:off x="4967083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1" name="object 221"/>
            <p:cNvSpPr/>
            <p:nvPr/>
          </p:nvSpPr>
          <p:spPr>
            <a:xfrm>
              <a:off x="5021359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2" name="object 222"/>
            <p:cNvSpPr/>
            <p:nvPr/>
          </p:nvSpPr>
          <p:spPr>
            <a:xfrm>
              <a:off x="5075636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3" name="object 223"/>
            <p:cNvSpPr/>
            <p:nvPr/>
          </p:nvSpPr>
          <p:spPr>
            <a:xfrm>
              <a:off x="5129912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4" name="object 224"/>
            <p:cNvSpPr/>
            <p:nvPr/>
          </p:nvSpPr>
          <p:spPr>
            <a:xfrm>
              <a:off x="5184188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5" name="object 225"/>
            <p:cNvSpPr/>
            <p:nvPr/>
          </p:nvSpPr>
          <p:spPr>
            <a:xfrm>
              <a:off x="5238465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6" name="object 226"/>
            <p:cNvSpPr/>
            <p:nvPr/>
          </p:nvSpPr>
          <p:spPr>
            <a:xfrm>
              <a:off x="5292742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7" name="object 227"/>
            <p:cNvSpPr/>
            <p:nvPr/>
          </p:nvSpPr>
          <p:spPr>
            <a:xfrm>
              <a:off x="5347018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8" name="object 228"/>
            <p:cNvSpPr/>
            <p:nvPr/>
          </p:nvSpPr>
          <p:spPr>
            <a:xfrm>
              <a:off x="5401294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9" name="object 229"/>
            <p:cNvSpPr/>
            <p:nvPr/>
          </p:nvSpPr>
          <p:spPr>
            <a:xfrm>
              <a:off x="5455570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0" name="object 230"/>
            <p:cNvSpPr/>
            <p:nvPr/>
          </p:nvSpPr>
          <p:spPr>
            <a:xfrm>
              <a:off x="5509847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1" name="object 231"/>
            <p:cNvSpPr/>
            <p:nvPr/>
          </p:nvSpPr>
          <p:spPr>
            <a:xfrm>
              <a:off x="5564123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2" name="object 232"/>
            <p:cNvSpPr/>
            <p:nvPr/>
          </p:nvSpPr>
          <p:spPr>
            <a:xfrm>
              <a:off x="5618400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3" name="object 233"/>
            <p:cNvSpPr/>
            <p:nvPr/>
          </p:nvSpPr>
          <p:spPr>
            <a:xfrm>
              <a:off x="5672676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4" name="object 234"/>
            <p:cNvSpPr/>
            <p:nvPr/>
          </p:nvSpPr>
          <p:spPr>
            <a:xfrm>
              <a:off x="5726953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5" name="object 235"/>
            <p:cNvSpPr/>
            <p:nvPr/>
          </p:nvSpPr>
          <p:spPr>
            <a:xfrm>
              <a:off x="5781229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6" name="object 236"/>
            <p:cNvSpPr/>
            <p:nvPr/>
          </p:nvSpPr>
          <p:spPr>
            <a:xfrm>
              <a:off x="5835505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7" name="object 237"/>
            <p:cNvSpPr/>
            <p:nvPr/>
          </p:nvSpPr>
          <p:spPr>
            <a:xfrm>
              <a:off x="5889781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8" name="object 238"/>
            <p:cNvSpPr/>
            <p:nvPr/>
          </p:nvSpPr>
          <p:spPr>
            <a:xfrm>
              <a:off x="5944058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9" name="object 239"/>
            <p:cNvSpPr/>
            <p:nvPr/>
          </p:nvSpPr>
          <p:spPr>
            <a:xfrm>
              <a:off x="5998335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0" name="object 240"/>
            <p:cNvSpPr/>
            <p:nvPr/>
          </p:nvSpPr>
          <p:spPr>
            <a:xfrm>
              <a:off x="6052611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1" name="object 241"/>
            <p:cNvSpPr/>
            <p:nvPr/>
          </p:nvSpPr>
          <p:spPr>
            <a:xfrm>
              <a:off x="6106887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2" name="object 242"/>
            <p:cNvSpPr/>
            <p:nvPr/>
          </p:nvSpPr>
          <p:spPr>
            <a:xfrm>
              <a:off x="6161164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3" name="object 243"/>
            <p:cNvSpPr/>
            <p:nvPr/>
          </p:nvSpPr>
          <p:spPr>
            <a:xfrm>
              <a:off x="6215440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4" name="object 244"/>
            <p:cNvSpPr/>
            <p:nvPr/>
          </p:nvSpPr>
          <p:spPr>
            <a:xfrm>
              <a:off x="6269716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5" name="object 245"/>
            <p:cNvSpPr/>
            <p:nvPr/>
          </p:nvSpPr>
          <p:spPr>
            <a:xfrm>
              <a:off x="6323993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6" name="object 246"/>
            <p:cNvSpPr/>
            <p:nvPr/>
          </p:nvSpPr>
          <p:spPr>
            <a:xfrm>
              <a:off x="6378270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7" name="object 247"/>
            <p:cNvSpPr/>
            <p:nvPr/>
          </p:nvSpPr>
          <p:spPr>
            <a:xfrm>
              <a:off x="6432545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8" name="object 248"/>
            <p:cNvSpPr/>
            <p:nvPr/>
          </p:nvSpPr>
          <p:spPr>
            <a:xfrm>
              <a:off x="6486822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9" name="object 249"/>
            <p:cNvSpPr/>
            <p:nvPr/>
          </p:nvSpPr>
          <p:spPr>
            <a:xfrm>
              <a:off x="6541098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4" name="object 254"/>
            <p:cNvSpPr txBox="1"/>
            <p:nvPr/>
          </p:nvSpPr>
          <p:spPr>
            <a:xfrm>
              <a:off x="3658615" y="4568992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3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55" name="object 255"/>
            <p:cNvSpPr txBox="1"/>
            <p:nvPr/>
          </p:nvSpPr>
          <p:spPr>
            <a:xfrm>
              <a:off x="4848399" y="6460844"/>
              <a:ext cx="1006288" cy="200507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marL="11206">
                <a:spcBef>
                  <a:spcPts val="124"/>
                </a:spcBef>
              </a:pPr>
              <a:r>
                <a:rPr sz="1200" spc="-31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Review</a:t>
              </a:r>
              <a:r>
                <a:rPr sz="1200" spc="-11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200" spc="-3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ategory</a:t>
              </a:r>
              <a:endParaRPr sz="1200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256" name="object 256"/>
            <p:cNvSpPr txBox="1"/>
            <p:nvPr/>
          </p:nvSpPr>
          <p:spPr>
            <a:xfrm>
              <a:off x="3484415" y="4637888"/>
              <a:ext cx="128240" cy="1126191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1015"/>
                </a:lnSpc>
              </a:pPr>
              <a:r>
                <a:rPr sz="1050" spc="-3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Average </a:t>
              </a:r>
              <a:r>
                <a:rPr sz="1050" spc="-62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of </a:t>
              </a:r>
              <a:r>
                <a:rPr sz="1050" spc="-49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Word</a:t>
              </a:r>
              <a:r>
                <a:rPr sz="1050" spc="-128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050" spc="-44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ount</a:t>
              </a:r>
              <a:endParaRPr sz="1050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257" name="object 257"/>
            <p:cNvSpPr txBox="1"/>
            <p:nvPr/>
          </p:nvSpPr>
          <p:spPr>
            <a:xfrm>
              <a:off x="4236824" y="6191700"/>
              <a:ext cx="65666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Video</a:t>
              </a:r>
              <a:r>
                <a:rPr sz="838" spc="-44" dirty="0">
                  <a:solidFill>
                    <a:srgbClr val="605D5C"/>
                  </a:solidFill>
                  <a:latin typeface="Segoe UI"/>
                  <a:cs typeface="Segoe UI"/>
                </a:rPr>
                <a:t> </a:t>
              </a: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Games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58" name="object 258"/>
            <p:cNvSpPr txBox="1"/>
            <p:nvPr/>
          </p:nvSpPr>
          <p:spPr>
            <a:xfrm>
              <a:off x="5195339" y="6191700"/>
              <a:ext cx="31208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Books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59" name="object 259"/>
            <p:cNvSpPr txBox="1"/>
            <p:nvPr/>
          </p:nvSpPr>
          <p:spPr>
            <a:xfrm>
              <a:off x="5875793" y="6177107"/>
              <a:ext cx="523875" cy="302112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83488" marR="4483" indent="-72842">
                <a:lnSpc>
                  <a:spcPct val="113199"/>
                </a:lnSpc>
                <a:spcBef>
                  <a:spcPts val="84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Home</a:t>
              </a:r>
              <a:r>
                <a:rPr sz="838" spc="-71" dirty="0">
                  <a:solidFill>
                    <a:srgbClr val="605D5C"/>
                  </a:solidFill>
                  <a:latin typeface="Segoe UI"/>
                  <a:cs typeface="Segoe UI"/>
                </a:rPr>
                <a:t> </a:t>
              </a: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and  </a:t>
              </a: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Kitchen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60" name="object 260"/>
            <p:cNvSpPr/>
            <p:nvPr/>
          </p:nvSpPr>
          <p:spPr>
            <a:xfrm>
              <a:off x="4388217" y="4281484"/>
              <a:ext cx="320488" cy="173691"/>
            </a:xfrm>
            <a:custGeom>
              <a:avLst/>
              <a:gdLst/>
              <a:ahLst/>
              <a:cxnLst/>
              <a:rect l="l" t="t" r="r" b="b"/>
              <a:pathLst>
                <a:path w="363220" h="196850">
                  <a:moveTo>
                    <a:pt x="327421" y="196662"/>
                  </a:moveTo>
                  <a:lnTo>
                    <a:pt x="35570" y="196662"/>
                  </a:lnTo>
                  <a:lnTo>
                    <a:pt x="30339" y="195623"/>
                  </a:lnTo>
                  <a:lnTo>
                    <a:pt x="1040" y="166367"/>
                  </a:lnTo>
                  <a:lnTo>
                    <a:pt x="0" y="161144"/>
                  </a:lnTo>
                  <a:lnTo>
                    <a:pt x="0" y="35517"/>
                  </a:lnTo>
                  <a:lnTo>
                    <a:pt x="30339" y="1038"/>
                  </a:lnTo>
                  <a:lnTo>
                    <a:pt x="41008" y="0"/>
                  </a:lnTo>
                  <a:lnTo>
                    <a:pt x="327421" y="0"/>
                  </a:lnTo>
                  <a:lnTo>
                    <a:pt x="361951" y="30294"/>
                  </a:lnTo>
                  <a:lnTo>
                    <a:pt x="362992" y="35517"/>
                  </a:lnTo>
                  <a:lnTo>
                    <a:pt x="362992" y="161144"/>
                  </a:lnTo>
                  <a:lnTo>
                    <a:pt x="332652" y="195623"/>
                  </a:lnTo>
                  <a:lnTo>
                    <a:pt x="327421" y="196662"/>
                  </a:lnTo>
                  <a:close/>
                </a:path>
              </a:pathLst>
            </a:custGeom>
            <a:solidFill>
              <a:srgbClr val="252423">
                <a:alpha val="10198"/>
              </a:srgbClr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1" name="object 261"/>
            <p:cNvSpPr/>
            <p:nvPr/>
          </p:nvSpPr>
          <p:spPr>
            <a:xfrm>
              <a:off x="5174574" y="4728273"/>
              <a:ext cx="320488" cy="173691"/>
            </a:xfrm>
            <a:custGeom>
              <a:avLst/>
              <a:gdLst/>
              <a:ahLst/>
              <a:cxnLst/>
              <a:rect l="l" t="t" r="r" b="b"/>
              <a:pathLst>
                <a:path w="363220" h="196850">
                  <a:moveTo>
                    <a:pt x="327421" y="196662"/>
                  </a:moveTo>
                  <a:lnTo>
                    <a:pt x="35570" y="196662"/>
                  </a:lnTo>
                  <a:lnTo>
                    <a:pt x="30339" y="195623"/>
                  </a:lnTo>
                  <a:lnTo>
                    <a:pt x="1040" y="166367"/>
                  </a:lnTo>
                  <a:lnTo>
                    <a:pt x="0" y="161144"/>
                  </a:lnTo>
                  <a:lnTo>
                    <a:pt x="0" y="35517"/>
                  </a:lnTo>
                  <a:lnTo>
                    <a:pt x="30339" y="1038"/>
                  </a:lnTo>
                  <a:lnTo>
                    <a:pt x="35570" y="0"/>
                  </a:lnTo>
                  <a:lnTo>
                    <a:pt x="41008" y="0"/>
                  </a:lnTo>
                  <a:lnTo>
                    <a:pt x="327421" y="0"/>
                  </a:lnTo>
                  <a:lnTo>
                    <a:pt x="361951" y="30294"/>
                  </a:lnTo>
                  <a:lnTo>
                    <a:pt x="362992" y="35517"/>
                  </a:lnTo>
                  <a:lnTo>
                    <a:pt x="362992" y="161144"/>
                  </a:lnTo>
                  <a:lnTo>
                    <a:pt x="332652" y="195623"/>
                  </a:lnTo>
                  <a:lnTo>
                    <a:pt x="327421" y="196662"/>
                  </a:lnTo>
                  <a:close/>
                </a:path>
              </a:pathLst>
            </a:custGeom>
            <a:solidFill>
              <a:srgbClr val="252423">
                <a:alpha val="10198"/>
              </a:srgbClr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2" name="object 262"/>
            <p:cNvSpPr txBox="1"/>
            <p:nvPr/>
          </p:nvSpPr>
          <p:spPr>
            <a:xfrm>
              <a:off x="4449381" y="4299281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33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63" name="object 263"/>
            <p:cNvSpPr txBox="1"/>
            <p:nvPr/>
          </p:nvSpPr>
          <p:spPr>
            <a:xfrm>
              <a:off x="5235737" y="4746070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237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64" name="object 264"/>
            <p:cNvSpPr txBox="1"/>
            <p:nvPr/>
          </p:nvSpPr>
          <p:spPr>
            <a:xfrm>
              <a:off x="6022093" y="5141675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155</a:t>
              </a:r>
              <a:endParaRPr sz="838" dirty="0">
                <a:latin typeface="Segoe UI"/>
                <a:cs typeface="Segoe UI"/>
              </a:endParaRPr>
            </a:p>
          </p:txBody>
        </p:sp>
      </p:grpSp>
      <p:sp>
        <p:nvSpPr>
          <p:cNvPr id="298" name="object 298"/>
          <p:cNvSpPr/>
          <p:nvPr/>
        </p:nvSpPr>
        <p:spPr>
          <a:xfrm>
            <a:off x="313765" y="237631"/>
            <a:ext cx="11564471" cy="488016"/>
          </a:xfrm>
          <a:custGeom>
            <a:avLst/>
            <a:gdLst/>
            <a:ahLst/>
            <a:cxnLst/>
            <a:rect l="l" t="t" r="r" b="b"/>
            <a:pathLst>
              <a:path w="13106400" h="553085">
                <a:moveTo>
                  <a:pt x="13106387" y="0"/>
                </a:moveTo>
                <a:lnTo>
                  <a:pt x="0" y="0"/>
                </a:lnTo>
                <a:lnTo>
                  <a:pt x="0" y="17208"/>
                </a:lnTo>
                <a:lnTo>
                  <a:pt x="0" y="552919"/>
                </a:lnTo>
                <a:lnTo>
                  <a:pt x="13106387" y="552919"/>
                </a:lnTo>
                <a:lnTo>
                  <a:pt x="13106387" y="17208"/>
                </a:lnTo>
                <a:lnTo>
                  <a:pt x="13106387" y="0"/>
                </a:lnTo>
                <a:close/>
              </a:path>
            </a:pathLst>
          </a:custGeom>
          <a:solidFill>
            <a:srgbClr val="FFB618"/>
          </a:solidFill>
          <a:ln>
            <a:solidFill>
              <a:srgbClr val="FFB618"/>
            </a:solidFill>
          </a:ln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299" name="object 299"/>
          <p:cNvSpPr txBox="1">
            <a:spLocks noGrp="1"/>
          </p:cNvSpPr>
          <p:nvPr>
            <p:ph type="title"/>
          </p:nvPr>
        </p:nvSpPr>
        <p:spPr>
          <a:xfrm>
            <a:off x="1216144" y="334305"/>
            <a:ext cx="4727904" cy="303703"/>
          </a:xfrm>
          <a:prstGeom prst="rect">
            <a:avLst/>
          </a:prstGeom>
        </p:spPr>
        <p:txBody>
          <a:bodyPr vert="horz" wrap="square" lIns="0" tIns="11206" rIns="0" bIns="0" rtlCol="0" anchor="ctr">
            <a:spAutoFit/>
          </a:bodyPr>
          <a:lstStyle/>
          <a:p>
            <a:pPr marL="11206">
              <a:lnSpc>
                <a:spcPct val="100000"/>
              </a:lnSpc>
              <a:spcBef>
                <a:spcPts val="88"/>
              </a:spcBef>
            </a:pPr>
            <a:r>
              <a:rPr lang="en-US" sz="1900" b="1" i="1" dirty="0">
                <a:latin typeface="+mn-lt"/>
              </a:rPr>
              <a:t>Reviewing Habits per</a:t>
            </a:r>
            <a:r>
              <a:rPr lang="en-US" sz="1900" b="1" i="1" spc="-110" dirty="0">
                <a:latin typeface="+mn-lt"/>
              </a:rPr>
              <a:t> </a:t>
            </a:r>
            <a:r>
              <a:rPr lang="en-US" sz="1900" b="1" i="1" dirty="0">
                <a:latin typeface="+mn-lt"/>
              </a:rPr>
              <a:t>Category: Video Games</a:t>
            </a:r>
            <a:endParaRPr sz="1900" b="1" i="1" dirty="0">
              <a:latin typeface="+mn-lt"/>
            </a:endParaRPr>
          </a:p>
        </p:txBody>
      </p: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E30763E7-04E4-49C3-986F-11B9013FF04B}"/>
              </a:ext>
            </a:extLst>
          </p:cNvPr>
          <p:cNvGrpSpPr/>
          <p:nvPr/>
        </p:nvGrpSpPr>
        <p:grpSpPr>
          <a:xfrm>
            <a:off x="3706664" y="1041586"/>
            <a:ext cx="3058146" cy="2676249"/>
            <a:chOff x="3483431" y="1041259"/>
            <a:chExt cx="3058146" cy="2676249"/>
          </a:xfrm>
        </p:grpSpPr>
        <p:sp>
          <p:nvSpPr>
            <p:cNvPr id="300" name="object 300"/>
            <p:cNvSpPr txBox="1"/>
            <p:nvPr/>
          </p:nvSpPr>
          <p:spPr>
            <a:xfrm>
              <a:off x="4690794" y="1041259"/>
              <a:ext cx="1009090" cy="226194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11206">
                <a:spcBef>
                  <a:spcPts val="84"/>
                </a:spcBef>
              </a:pPr>
              <a:r>
                <a:rPr sz="1400" b="1" spc="-62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Sentence</a:t>
              </a:r>
              <a:r>
                <a:rPr sz="1400" b="1" spc="-124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400" b="1" spc="-7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ount</a:t>
              </a:r>
              <a:endParaRPr sz="1400" b="1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301" name="object 301"/>
            <p:cNvSpPr/>
            <p:nvPr/>
          </p:nvSpPr>
          <p:spPr>
            <a:xfrm>
              <a:off x="3872509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2" name="object 302"/>
            <p:cNvSpPr/>
            <p:nvPr/>
          </p:nvSpPr>
          <p:spPr>
            <a:xfrm>
              <a:off x="3926786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3" name="object 303"/>
            <p:cNvSpPr/>
            <p:nvPr/>
          </p:nvSpPr>
          <p:spPr>
            <a:xfrm>
              <a:off x="3981062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4" name="object 304"/>
            <p:cNvSpPr/>
            <p:nvPr/>
          </p:nvSpPr>
          <p:spPr>
            <a:xfrm>
              <a:off x="4035338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5" name="object 305"/>
            <p:cNvSpPr/>
            <p:nvPr/>
          </p:nvSpPr>
          <p:spPr>
            <a:xfrm>
              <a:off x="4089615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6" name="object 306"/>
            <p:cNvSpPr/>
            <p:nvPr/>
          </p:nvSpPr>
          <p:spPr>
            <a:xfrm>
              <a:off x="4143892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307" name="object 307"/>
            <p:cNvGrpSpPr/>
            <p:nvPr/>
          </p:nvGrpSpPr>
          <p:grpSpPr>
            <a:xfrm>
              <a:off x="4194087" y="1583066"/>
              <a:ext cx="610721" cy="1578349"/>
              <a:chOff x="4397699" y="1794141"/>
              <a:chExt cx="692150" cy="1788795"/>
            </a:xfrm>
          </p:grpSpPr>
          <p:sp>
            <p:nvSpPr>
              <p:cNvPr id="308" name="object 308"/>
              <p:cNvSpPr/>
              <p:nvPr/>
            </p:nvSpPr>
            <p:spPr>
              <a:xfrm>
                <a:off x="4402315" y="1904301"/>
                <a:ext cx="687070" cy="1678939"/>
              </a:xfrm>
              <a:custGeom>
                <a:avLst/>
                <a:gdLst/>
                <a:ahLst/>
                <a:cxnLst/>
                <a:rect l="l" t="t" r="r" b="b"/>
                <a:pathLst>
                  <a:path w="687070" h="1678939">
                    <a:moveTo>
                      <a:pt x="10248" y="1668386"/>
                    </a:moveTo>
                    <a:lnTo>
                      <a:pt x="0" y="1668386"/>
                    </a:lnTo>
                    <a:lnTo>
                      <a:pt x="0" y="1678622"/>
                    </a:lnTo>
                    <a:lnTo>
                      <a:pt x="10248" y="1678622"/>
                    </a:lnTo>
                    <a:lnTo>
                      <a:pt x="10248" y="1668386"/>
                    </a:lnTo>
                    <a:close/>
                  </a:path>
                  <a:path w="687070" h="1678939">
                    <a:moveTo>
                      <a:pt x="71767" y="1668386"/>
                    </a:moveTo>
                    <a:lnTo>
                      <a:pt x="61518" y="1668386"/>
                    </a:lnTo>
                    <a:lnTo>
                      <a:pt x="61518" y="1678622"/>
                    </a:lnTo>
                    <a:lnTo>
                      <a:pt x="71767" y="1678622"/>
                    </a:lnTo>
                    <a:lnTo>
                      <a:pt x="71767" y="1668386"/>
                    </a:lnTo>
                    <a:close/>
                  </a:path>
                  <a:path w="687070" h="1678939">
                    <a:moveTo>
                      <a:pt x="133286" y="1668386"/>
                    </a:moveTo>
                    <a:lnTo>
                      <a:pt x="123024" y="1668386"/>
                    </a:lnTo>
                    <a:lnTo>
                      <a:pt x="123024" y="1678622"/>
                    </a:lnTo>
                    <a:lnTo>
                      <a:pt x="133286" y="1678622"/>
                    </a:lnTo>
                    <a:lnTo>
                      <a:pt x="133286" y="1668386"/>
                    </a:lnTo>
                    <a:close/>
                  </a:path>
                  <a:path w="687070" h="1678939">
                    <a:moveTo>
                      <a:pt x="194792" y="1668386"/>
                    </a:moveTo>
                    <a:lnTo>
                      <a:pt x="184543" y="1668386"/>
                    </a:lnTo>
                    <a:lnTo>
                      <a:pt x="184543" y="1678622"/>
                    </a:lnTo>
                    <a:lnTo>
                      <a:pt x="194792" y="1678622"/>
                    </a:lnTo>
                    <a:lnTo>
                      <a:pt x="194792" y="1668386"/>
                    </a:lnTo>
                    <a:close/>
                  </a:path>
                  <a:path w="687070" h="1678939">
                    <a:moveTo>
                      <a:pt x="256311" y="1668386"/>
                    </a:moveTo>
                    <a:lnTo>
                      <a:pt x="246049" y="1668386"/>
                    </a:lnTo>
                    <a:lnTo>
                      <a:pt x="246049" y="1678622"/>
                    </a:lnTo>
                    <a:lnTo>
                      <a:pt x="256311" y="1678622"/>
                    </a:lnTo>
                    <a:lnTo>
                      <a:pt x="256311" y="1668386"/>
                    </a:lnTo>
                    <a:close/>
                  </a:path>
                  <a:path w="687070" h="1678939">
                    <a:moveTo>
                      <a:pt x="317817" y="1668386"/>
                    </a:moveTo>
                    <a:lnTo>
                      <a:pt x="307568" y="1668386"/>
                    </a:lnTo>
                    <a:lnTo>
                      <a:pt x="307568" y="1678622"/>
                    </a:lnTo>
                    <a:lnTo>
                      <a:pt x="317817" y="1678622"/>
                    </a:lnTo>
                    <a:lnTo>
                      <a:pt x="317817" y="1668386"/>
                    </a:lnTo>
                    <a:close/>
                  </a:path>
                  <a:path w="687070" h="1678939">
                    <a:moveTo>
                      <a:pt x="379336" y="1668386"/>
                    </a:moveTo>
                    <a:lnTo>
                      <a:pt x="369087" y="1668386"/>
                    </a:lnTo>
                    <a:lnTo>
                      <a:pt x="369087" y="1678622"/>
                    </a:lnTo>
                    <a:lnTo>
                      <a:pt x="379336" y="1678622"/>
                    </a:lnTo>
                    <a:lnTo>
                      <a:pt x="379336" y="1668386"/>
                    </a:lnTo>
                    <a:close/>
                  </a:path>
                  <a:path w="687070" h="1678939">
                    <a:moveTo>
                      <a:pt x="440842" y="1668386"/>
                    </a:moveTo>
                    <a:lnTo>
                      <a:pt x="430593" y="1668386"/>
                    </a:lnTo>
                    <a:lnTo>
                      <a:pt x="430593" y="1678622"/>
                    </a:lnTo>
                    <a:lnTo>
                      <a:pt x="440842" y="1678622"/>
                    </a:lnTo>
                    <a:lnTo>
                      <a:pt x="440842" y="1668386"/>
                    </a:lnTo>
                    <a:close/>
                  </a:path>
                  <a:path w="687070" h="1678939">
                    <a:moveTo>
                      <a:pt x="502361" y="1668386"/>
                    </a:moveTo>
                    <a:lnTo>
                      <a:pt x="492112" y="1668386"/>
                    </a:lnTo>
                    <a:lnTo>
                      <a:pt x="492112" y="1678622"/>
                    </a:lnTo>
                    <a:lnTo>
                      <a:pt x="502361" y="1678622"/>
                    </a:lnTo>
                    <a:lnTo>
                      <a:pt x="502361" y="1668386"/>
                    </a:lnTo>
                    <a:close/>
                  </a:path>
                  <a:path w="687070" h="1678939">
                    <a:moveTo>
                      <a:pt x="563867" y="1668386"/>
                    </a:moveTo>
                    <a:lnTo>
                      <a:pt x="553618" y="1668386"/>
                    </a:lnTo>
                    <a:lnTo>
                      <a:pt x="553618" y="1678622"/>
                    </a:lnTo>
                    <a:lnTo>
                      <a:pt x="563867" y="1678622"/>
                    </a:lnTo>
                    <a:lnTo>
                      <a:pt x="563867" y="1668386"/>
                    </a:lnTo>
                    <a:close/>
                  </a:path>
                  <a:path w="687070" h="1678939">
                    <a:moveTo>
                      <a:pt x="625386" y="1668386"/>
                    </a:moveTo>
                    <a:lnTo>
                      <a:pt x="615137" y="1668386"/>
                    </a:lnTo>
                    <a:lnTo>
                      <a:pt x="615137" y="1678622"/>
                    </a:lnTo>
                    <a:lnTo>
                      <a:pt x="625386" y="1678622"/>
                    </a:lnTo>
                    <a:lnTo>
                      <a:pt x="625386" y="1668386"/>
                    </a:lnTo>
                    <a:close/>
                  </a:path>
                  <a:path w="687070" h="1678939">
                    <a:moveTo>
                      <a:pt x="686904" y="1658150"/>
                    </a:moveTo>
                    <a:lnTo>
                      <a:pt x="676643" y="1658150"/>
                    </a:lnTo>
                    <a:lnTo>
                      <a:pt x="676643" y="1668386"/>
                    </a:lnTo>
                    <a:lnTo>
                      <a:pt x="676643" y="1678622"/>
                    </a:lnTo>
                    <a:lnTo>
                      <a:pt x="686904" y="1678622"/>
                    </a:lnTo>
                    <a:lnTo>
                      <a:pt x="686904" y="1668386"/>
                    </a:lnTo>
                    <a:lnTo>
                      <a:pt x="686904" y="1658150"/>
                    </a:lnTo>
                    <a:close/>
                  </a:path>
                  <a:path w="687070" h="1678939">
                    <a:moveTo>
                      <a:pt x="686904" y="1243609"/>
                    </a:moveTo>
                    <a:lnTo>
                      <a:pt x="685927" y="1243609"/>
                    </a:lnTo>
                    <a:lnTo>
                      <a:pt x="685927" y="1264081"/>
                    </a:lnTo>
                    <a:lnTo>
                      <a:pt x="686904" y="1264081"/>
                    </a:lnTo>
                    <a:lnTo>
                      <a:pt x="686904" y="1243609"/>
                    </a:lnTo>
                    <a:close/>
                  </a:path>
                  <a:path w="687070" h="1678939">
                    <a:moveTo>
                      <a:pt x="686904" y="829068"/>
                    </a:moveTo>
                    <a:lnTo>
                      <a:pt x="685927" y="829068"/>
                    </a:lnTo>
                    <a:lnTo>
                      <a:pt x="685927" y="849541"/>
                    </a:lnTo>
                    <a:lnTo>
                      <a:pt x="686904" y="849541"/>
                    </a:lnTo>
                    <a:lnTo>
                      <a:pt x="686904" y="829068"/>
                    </a:lnTo>
                    <a:close/>
                  </a:path>
                  <a:path w="687070" h="1678939">
                    <a:moveTo>
                      <a:pt x="686904" y="414528"/>
                    </a:moveTo>
                    <a:lnTo>
                      <a:pt x="685927" y="414528"/>
                    </a:lnTo>
                    <a:lnTo>
                      <a:pt x="685927" y="435013"/>
                    </a:lnTo>
                    <a:lnTo>
                      <a:pt x="686904" y="435013"/>
                    </a:lnTo>
                    <a:lnTo>
                      <a:pt x="686904" y="414528"/>
                    </a:lnTo>
                    <a:close/>
                  </a:path>
                  <a:path w="687070" h="1678939">
                    <a:moveTo>
                      <a:pt x="686904" y="0"/>
                    </a:moveTo>
                    <a:lnTo>
                      <a:pt x="685927" y="0"/>
                    </a:lnTo>
                    <a:lnTo>
                      <a:pt x="685927" y="20472"/>
                    </a:lnTo>
                    <a:lnTo>
                      <a:pt x="686904" y="20472"/>
                    </a:lnTo>
                    <a:lnTo>
                      <a:pt x="68690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9" name="object 309"/>
              <p:cNvSpPr/>
              <p:nvPr/>
            </p:nvSpPr>
            <p:spPr>
              <a:xfrm>
                <a:off x="4397699" y="1794141"/>
                <a:ext cx="690880" cy="1778635"/>
              </a:xfrm>
              <a:custGeom>
                <a:avLst/>
                <a:gdLst/>
                <a:ahLst/>
                <a:cxnLst/>
                <a:rect l="l" t="t" r="r" b="b"/>
                <a:pathLst>
                  <a:path w="690879" h="1778635">
                    <a:moveTo>
                      <a:pt x="690547" y="1778539"/>
                    </a:moveTo>
                    <a:lnTo>
                      <a:pt x="0" y="1778539"/>
                    </a:lnTo>
                    <a:lnTo>
                      <a:pt x="0" y="0"/>
                    </a:lnTo>
                    <a:lnTo>
                      <a:pt x="690547" y="0"/>
                    </a:lnTo>
                    <a:lnTo>
                      <a:pt x="690547" y="1778539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310" name="object 310"/>
            <p:cNvSpPr/>
            <p:nvPr/>
          </p:nvSpPr>
          <p:spPr>
            <a:xfrm>
              <a:off x="4849485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1" name="object 311"/>
            <p:cNvSpPr/>
            <p:nvPr/>
          </p:nvSpPr>
          <p:spPr>
            <a:xfrm>
              <a:off x="4903761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312" name="object 312"/>
            <p:cNvGrpSpPr/>
            <p:nvPr/>
          </p:nvGrpSpPr>
          <p:grpSpPr>
            <a:xfrm>
              <a:off x="4958037" y="1969396"/>
              <a:ext cx="660587" cy="1192306"/>
              <a:chOff x="5263508" y="2231982"/>
              <a:chExt cx="748665" cy="1351280"/>
            </a:xfrm>
          </p:grpSpPr>
          <p:sp>
            <p:nvSpPr>
              <p:cNvPr id="313" name="object 313"/>
              <p:cNvSpPr/>
              <p:nvPr/>
            </p:nvSpPr>
            <p:spPr>
              <a:xfrm>
                <a:off x="5263502" y="2318829"/>
                <a:ext cx="748665" cy="1264285"/>
              </a:xfrm>
              <a:custGeom>
                <a:avLst/>
                <a:gdLst/>
                <a:ahLst/>
                <a:cxnLst/>
                <a:rect l="l" t="t" r="r" b="b"/>
                <a:pathLst>
                  <a:path w="748664" h="1264285">
                    <a:moveTo>
                      <a:pt x="10248" y="1243622"/>
                    </a:moveTo>
                    <a:lnTo>
                      <a:pt x="0" y="1243622"/>
                    </a:lnTo>
                    <a:lnTo>
                      <a:pt x="0" y="1264094"/>
                    </a:lnTo>
                    <a:lnTo>
                      <a:pt x="10248" y="1264094"/>
                    </a:lnTo>
                    <a:lnTo>
                      <a:pt x="10248" y="1243622"/>
                    </a:lnTo>
                    <a:close/>
                  </a:path>
                  <a:path w="748664" h="1264285">
                    <a:moveTo>
                      <a:pt x="10248" y="829081"/>
                    </a:moveTo>
                    <a:lnTo>
                      <a:pt x="0" y="829081"/>
                    </a:lnTo>
                    <a:lnTo>
                      <a:pt x="0" y="849553"/>
                    </a:lnTo>
                    <a:lnTo>
                      <a:pt x="10248" y="849553"/>
                    </a:lnTo>
                    <a:lnTo>
                      <a:pt x="10248" y="829081"/>
                    </a:lnTo>
                    <a:close/>
                  </a:path>
                  <a:path w="748664" h="1264285">
                    <a:moveTo>
                      <a:pt x="10248" y="414540"/>
                    </a:moveTo>
                    <a:lnTo>
                      <a:pt x="0" y="414540"/>
                    </a:lnTo>
                    <a:lnTo>
                      <a:pt x="0" y="435013"/>
                    </a:lnTo>
                    <a:lnTo>
                      <a:pt x="10248" y="435013"/>
                    </a:lnTo>
                    <a:lnTo>
                      <a:pt x="10248" y="414540"/>
                    </a:lnTo>
                    <a:close/>
                  </a:path>
                  <a:path w="748664" h="126428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20485"/>
                    </a:lnTo>
                    <a:lnTo>
                      <a:pt x="10248" y="20485"/>
                    </a:lnTo>
                    <a:lnTo>
                      <a:pt x="10248" y="0"/>
                    </a:lnTo>
                    <a:close/>
                  </a:path>
                  <a:path w="748664" h="1264285">
                    <a:moveTo>
                      <a:pt x="71767" y="1253858"/>
                    </a:moveTo>
                    <a:lnTo>
                      <a:pt x="61518" y="1253858"/>
                    </a:lnTo>
                    <a:lnTo>
                      <a:pt x="61518" y="1264094"/>
                    </a:lnTo>
                    <a:lnTo>
                      <a:pt x="71767" y="1264094"/>
                    </a:lnTo>
                    <a:lnTo>
                      <a:pt x="71767" y="1253858"/>
                    </a:lnTo>
                    <a:close/>
                  </a:path>
                  <a:path w="748664" h="1264285">
                    <a:moveTo>
                      <a:pt x="133273" y="1253858"/>
                    </a:moveTo>
                    <a:lnTo>
                      <a:pt x="123024" y="1253858"/>
                    </a:lnTo>
                    <a:lnTo>
                      <a:pt x="123024" y="1264094"/>
                    </a:lnTo>
                    <a:lnTo>
                      <a:pt x="133273" y="1264094"/>
                    </a:lnTo>
                    <a:lnTo>
                      <a:pt x="133273" y="1253858"/>
                    </a:lnTo>
                    <a:close/>
                  </a:path>
                  <a:path w="748664" h="1264285">
                    <a:moveTo>
                      <a:pt x="194792" y="1253858"/>
                    </a:moveTo>
                    <a:lnTo>
                      <a:pt x="184543" y="1253858"/>
                    </a:lnTo>
                    <a:lnTo>
                      <a:pt x="184543" y="1264094"/>
                    </a:lnTo>
                    <a:lnTo>
                      <a:pt x="194792" y="1264094"/>
                    </a:lnTo>
                    <a:lnTo>
                      <a:pt x="194792" y="1253858"/>
                    </a:lnTo>
                    <a:close/>
                  </a:path>
                  <a:path w="748664" h="1264285">
                    <a:moveTo>
                      <a:pt x="256311" y="1253858"/>
                    </a:moveTo>
                    <a:lnTo>
                      <a:pt x="246049" y="1253858"/>
                    </a:lnTo>
                    <a:lnTo>
                      <a:pt x="246049" y="1264094"/>
                    </a:lnTo>
                    <a:lnTo>
                      <a:pt x="256311" y="1264094"/>
                    </a:lnTo>
                    <a:lnTo>
                      <a:pt x="256311" y="1253858"/>
                    </a:lnTo>
                    <a:close/>
                  </a:path>
                  <a:path w="748664" h="1264285">
                    <a:moveTo>
                      <a:pt x="317817" y="1253858"/>
                    </a:moveTo>
                    <a:lnTo>
                      <a:pt x="307568" y="1253858"/>
                    </a:lnTo>
                    <a:lnTo>
                      <a:pt x="307568" y="1264094"/>
                    </a:lnTo>
                    <a:lnTo>
                      <a:pt x="317817" y="1264094"/>
                    </a:lnTo>
                    <a:lnTo>
                      <a:pt x="317817" y="1253858"/>
                    </a:lnTo>
                    <a:close/>
                  </a:path>
                  <a:path w="748664" h="1264285">
                    <a:moveTo>
                      <a:pt x="379336" y="1253858"/>
                    </a:moveTo>
                    <a:lnTo>
                      <a:pt x="369074" y="1253858"/>
                    </a:lnTo>
                    <a:lnTo>
                      <a:pt x="369074" y="1264094"/>
                    </a:lnTo>
                    <a:lnTo>
                      <a:pt x="379336" y="1264094"/>
                    </a:lnTo>
                    <a:lnTo>
                      <a:pt x="379336" y="1253858"/>
                    </a:lnTo>
                    <a:close/>
                  </a:path>
                  <a:path w="748664" h="1264285">
                    <a:moveTo>
                      <a:pt x="440842" y="1253858"/>
                    </a:moveTo>
                    <a:lnTo>
                      <a:pt x="430593" y="1253858"/>
                    </a:lnTo>
                    <a:lnTo>
                      <a:pt x="430593" y="1264094"/>
                    </a:lnTo>
                    <a:lnTo>
                      <a:pt x="440842" y="1264094"/>
                    </a:lnTo>
                    <a:lnTo>
                      <a:pt x="440842" y="1253858"/>
                    </a:lnTo>
                    <a:close/>
                  </a:path>
                  <a:path w="748664" h="1264285">
                    <a:moveTo>
                      <a:pt x="502361" y="1253858"/>
                    </a:moveTo>
                    <a:lnTo>
                      <a:pt x="492099" y="1253858"/>
                    </a:lnTo>
                    <a:lnTo>
                      <a:pt x="492099" y="1264094"/>
                    </a:lnTo>
                    <a:lnTo>
                      <a:pt x="502361" y="1264094"/>
                    </a:lnTo>
                    <a:lnTo>
                      <a:pt x="502361" y="1253858"/>
                    </a:lnTo>
                    <a:close/>
                  </a:path>
                  <a:path w="748664" h="1264285">
                    <a:moveTo>
                      <a:pt x="563867" y="1253858"/>
                    </a:moveTo>
                    <a:lnTo>
                      <a:pt x="553618" y="1253858"/>
                    </a:lnTo>
                    <a:lnTo>
                      <a:pt x="553618" y="1264094"/>
                    </a:lnTo>
                    <a:lnTo>
                      <a:pt x="563867" y="1264094"/>
                    </a:lnTo>
                    <a:lnTo>
                      <a:pt x="563867" y="1253858"/>
                    </a:lnTo>
                    <a:close/>
                  </a:path>
                  <a:path w="748664" h="1264285">
                    <a:moveTo>
                      <a:pt x="625386" y="1253858"/>
                    </a:moveTo>
                    <a:lnTo>
                      <a:pt x="615137" y="1253858"/>
                    </a:lnTo>
                    <a:lnTo>
                      <a:pt x="615137" y="1264094"/>
                    </a:lnTo>
                    <a:lnTo>
                      <a:pt x="625386" y="1264094"/>
                    </a:lnTo>
                    <a:lnTo>
                      <a:pt x="625386" y="1253858"/>
                    </a:lnTo>
                    <a:close/>
                  </a:path>
                  <a:path w="748664" h="1264285">
                    <a:moveTo>
                      <a:pt x="686892" y="1253858"/>
                    </a:moveTo>
                    <a:lnTo>
                      <a:pt x="676643" y="1253858"/>
                    </a:lnTo>
                    <a:lnTo>
                      <a:pt x="676643" y="1264094"/>
                    </a:lnTo>
                    <a:lnTo>
                      <a:pt x="686892" y="1264094"/>
                    </a:lnTo>
                    <a:lnTo>
                      <a:pt x="686892" y="1253858"/>
                    </a:lnTo>
                    <a:close/>
                  </a:path>
                  <a:path w="748664" h="1264285">
                    <a:moveTo>
                      <a:pt x="748411" y="1243622"/>
                    </a:moveTo>
                    <a:lnTo>
                      <a:pt x="738162" y="1243622"/>
                    </a:lnTo>
                    <a:lnTo>
                      <a:pt x="738162" y="1264094"/>
                    </a:lnTo>
                    <a:lnTo>
                      <a:pt x="748411" y="1264094"/>
                    </a:lnTo>
                    <a:lnTo>
                      <a:pt x="748411" y="1243622"/>
                    </a:lnTo>
                    <a:close/>
                  </a:path>
                  <a:path w="748664" h="1264285">
                    <a:moveTo>
                      <a:pt x="748411" y="829081"/>
                    </a:moveTo>
                    <a:lnTo>
                      <a:pt x="738162" y="829081"/>
                    </a:lnTo>
                    <a:lnTo>
                      <a:pt x="738162" y="849553"/>
                    </a:lnTo>
                    <a:lnTo>
                      <a:pt x="748411" y="849553"/>
                    </a:lnTo>
                    <a:lnTo>
                      <a:pt x="748411" y="829081"/>
                    </a:lnTo>
                    <a:close/>
                  </a:path>
                  <a:path w="748664" h="1264285">
                    <a:moveTo>
                      <a:pt x="748411" y="414540"/>
                    </a:moveTo>
                    <a:lnTo>
                      <a:pt x="738162" y="414540"/>
                    </a:lnTo>
                    <a:lnTo>
                      <a:pt x="738162" y="435013"/>
                    </a:lnTo>
                    <a:lnTo>
                      <a:pt x="748411" y="435013"/>
                    </a:lnTo>
                    <a:lnTo>
                      <a:pt x="748411" y="414540"/>
                    </a:lnTo>
                    <a:close/>
                  </a:path>
                  <a:path w="748664" h="1264285">
                    <a:moveTo>
                      <a:pt x="748411" y="0"/>
                    </a:moveTo>
                    <a:lnTo>
                      <a:pt x="738162" y="0"/>
                    </a:lnTo>
                    <a:lnTo>
                      <a:pt x="738162" y="20485"/>
                    </a:lnTo>
                    <a:lnTo>
                      <a:pt x="748411" y="20485"/>
                    </a:lnTo>
                    <a:lnTo>
                      <a:pt x="748411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4" name="object 314"/>
              <p:cNvSpPr/>
              <p:nvPr/>
            </p:nvSpPr>
            <p:spPr>
              <a:xfrm>
                <a:off x="5308837" y="2231982"/>
                <a:ext cx="690880" cy="1341120"/>
              </a:xfrm>
              <a:custGeom>
                <a:avLst/>
                <a:gdLst/>
                <a:ahLst/>
                <a:cxnLst/>
                <a:rect l="l" t="t" r="r" b="b"/>
                <a:pathLst>
                  <a:path w="690879" h="1341120">
                    <a:moveTo>
                      <a:pt x="690547" y="1340697"/>
                    </a:moveTo>
                    <a:lnTo>
                      <a:pt x="0" y="1340697"/>
                    </a:lnTo>
                    <a:lnTo>
                      <a:pt x="0" y="0"/>
                    </a:lnTo>
                    <a:lnTo>
                      <a:pt x="690547" y="0"/>
                    </a:lnTo>
                    <a:lnTo>
                      <a:pt x="690547" y="1340697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315" name="object 315"/>
            <p:cNvSpPr/>
            <p:nvPr/>
          </p:nvSpPr>
          <p:spPr>
            <a:xfrm>
              <a:off x="5663630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6" name="object 316"/>
            <p:cNvSpPr/>
            <p:nvPr/>
          </p:nvSpPr>
          <p:spPr>
            <a:xfrm>
              <a:off x="5717906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317" name="object 317"/>
            <p:cNvGrpSpPr/>
            <p:nvPr/>
          </p:nvGrpSpPr>
          <p:grpSpPr>
            <a:xfrm>
              <a:off x="5772183" y="2190884"/>
              <a:ext cx="660587" cy="970990"/>
              <a:chOff x="6186207" y="2483002"/>
              <a:chExt cx="748665" cy="1100455"/>
            </a:xfrm>
          </p:grpSpPr>
          <p:sp>
            <p:nvSpPr>
              <p:cNvPr id="318" name="object 318"/>
              <p:cNvSpPr/>
              <p:nvPr/>
            </p:nvSpPr>
            <p:spPr>
              <a:xfrm>
                <a:off x="6186195" y="2733369"/>
                <a:ext cx="748665" cy="849630"/>
              </a:xfrm>
              <a:custGeom>
                <a:avLst/>
                <a:gdLst/>
                <a:ahLst/>
                <a:cxnLst/>
                <a:rect l="l" t="t" r="r" b="b"/>
                <a:pathLst>
                  <a:path w="748665" h="849629">
                    <a:moveTo>
                      <a:pt x="10261" y="829081"/>
                    </a:moveTo>
                    <a:lnTo>
                      <a:pt x="0" y="829081"/>
                    </a:lnTo>
                    <a:lnTo>
                      <a:pt x="0" y="849553"/>
                    </a:lnTo>
                    <a:lnTo>
                      <a:pt x="10261" y="849553"/>
                    </a:lnTo>
                    <a:lnTo>
                      <a:pt x="10261" y="829081"/>
                    </a:lnTo>
                    <a:close/>
                  </a:path>
                  <a:path w="748665" h="849629">
                    <a:moveTo>
                      <a:pt x="10261" y="414540"/>
                    </a:moveTo>
                    <a:lnTo>
                      <a:pt x="0" y="414540"/>
                    </a:lnTo>
                    <a:lnTo>
                      <a:pt x="0" y="435013"/>
                    </a:lnTo>
                    <a:lnTo>
                      <a:pt x="10261" y="435013"/>
                    </a:lnTo>
                    <a:lnTo>
                      <a:pt x="10261" y="414540"/>
                    </a:lnTo>
                    <a:close/>
                  </a:path>
                  <a:path w="748665" h="849629">
                    <a:moveTo>
                      <a:pt x="10261" y="0"/>
                    </a:moveTo>
                    <a:lnTo>
                      <a:pt x="0" y="0"/>
                    </a:lnTo>
                    <a:lnTo>
                      <a:pt x="0" y="20472"/>
                    </a:lnTo>
                    <a:lnTo>
                      <a:pt x="10261" y="20472"/>
                    </a:lnTo>
                    <a:lnTo>
                      <a:pt x="10261" y="0"/>
                    </a:lnTo>
                    <a:close/>
                  </a:path>
                  <a:path w="748665" h="849629">
                    <a:moveTo>
                      <a:pt x="71767" y="839317"/>
                    </a:moveTo>
                    <a:lnTo>
                      <a:pt x="61518" y="839317"/>
                    </a:lnTo>
                    <a:lnTo>
                      <a:pt x="61518" y="849553"/>
                    </a:lnTo>
                    <a:lnTo>
                      <a:pt x="71767" y="849553"/>
                    </a:lnTo>
                    <a:lnTo>
                      <a:pt x="71767" y="839317"/>
                    </a:lnTo>
                    <a:close/>
                  </a:path>
                  <a:path w="748665" h="849629">
                    <a:moveTo>
                      <a:pt x="133286" y="839317"/>
                    </a:moveTo>
                    <a:lnTo>
                      <a:pt x="123037" y="839317"/>
                    </a:lnTo>
                    <a:lnTo>
                      <a:pt x="123037" y="849553"/>
                    </a:lnTo>
                    <a:lnTo>
                      <a:pt x="133286" y="849553"/>
                    </a:lnTo>
                    <a:lnTo>
                      <a:pt x="133286" y="839317"/>
                    </a:lnTo>
                    <a:close/>
                  </a:path>
                  <a:path w="748665" h="849629">
                    <a:moveTo>
                      <a:pt x="194792" y="839317"/>
                    </a:moveTo>
                    <a:lnTo>
                      <a:pt x="184543" y="839317"/>
                    </a:lnTo>
                    <a:lnTo>
                      <a:pt x="184543" y="849553"/>
                    </a:lnTo>
                    <a:lnTo>
                      <a:pt x="194792" y="849553"/>
                    </a:lnTo>
                    <a:lnTo>
                      <a:pt x="194792" y="839317"/>
                    </a:lnTo>
                    <a:close/>
                  </a:path>
                  <a:path w="748665" h="849629">
                    <a:moveTo>
                      <a:pt x="256311" y="839317"/>
                    </a:moveTo>
                    <a:lnTo>
                      <a:pt x="246062" y="839317"/>
                    </a:lnTo>
                    <a:lnTo>
                      <a:pt x="246062" y="849553"/>
                    </a:lnTo>
                    <a:lnTo>
                      <a:pt x="256311" y="849553"/>
                    </a:lnTo>
                    <a:lnTo>
                      <a:pt x="256311" y="839317"/>
                    </a:lnTo>
                    <a:close/>
                  </a:path>
                  <a:path w="748665" h="849629">
                    <a:moveTo>
                      <a:pt x="317830" y="839317"/>
                    </a:moveTo>
                    <a:lnTo>
                      <a:pt x="307568" y="839317"/>
                    </a:lnTo>
                    <a:lnTo>
                      <a:pt x="307568" y="849553"/>
                    </a:lnTo>
                    <a:lnTo>
                      <a:pt x="317830" y="849553"/>
                    </a:lnTo>
                    <a:lnTo>
                      <a:pt x="317830" y="839317"/>
                    </a:lnTo>
                    <a:close/>
                  </a:path>
                  <a:path w="748665" h="849629">
                    <a:moveTo>
                      <a:pt x="379336" y="839317"/>
                    </a:moveTo>
                    <a:lnTo>
                      <a:pt x="369087" y="839317"/>
                    </a:lnTo>
                    <a:lnTo>
                      <a:pt x="369087" y="849553"/>
                    </a:lnTo>
                    <a:lnTo>
                      <a:pt x="379336" y="849553"/>
                    </a:lnTo>
                    <a:lnTo>
                      <a:pt x="379336" y="839317"/>
                    </a:lnTo>
                    <a:close/>
                  </a:path>
                  <a:path w="748665" h="849629">
                    <a:moveTo>
                      <a:pt x="440855" y="839317"/>
                    </a:moveTo>
                    <a:lnTo>
                      <a:pt x="430593" y="839317"/>
                    </a:lnTo>
                    <a:lnTo>
                      <a:pt x="430593" y="849553"/>
                    </a:lnTo>
                    <a:lnTo>
                      <a:pt x="440855" y="849553"/>
                    </a:lnTo>
                    <a:lnTo>
                      <a:pt x="440855" y="839317"/>
                    </a:lnTo>
                    <a:close/>
                  </a:path>
                  <a:path w="748665" h="849629">
                    <a:moveTo>
                      <a:pt x="502361" y="839317"/>
                    </a:moveTo>
                    <a:lnTo>
                      <a:pt x="492112" y="839317"/>
                    </a:lnTo>
                    <a:lnTo>
                      <a:pt x="492112" y="849553"/>
                    </a:lnTo>
                    <a:lnTo>
                      <a:pt x="502361" y="849553"/>
                    </a:lnTo>
                    <a:lnTo>
                      <a:pt x="502361" y="839317"/>
                    </a:lnTo>
                    <a:close/>
                  </a:path>
                  <a:path w="748665" h="849629">
                    <a:moveTo>
                      <a:pt x="563880" y="839317"/>
                    </a:moveTo>
                    <a:lnTo>
                      <a:pt x="553618" y="839317"/>
                    </a:lnTo>
                    <a:lnTo>
                      <a:pt x="553618" y="849553"/>
                    </a:lnTo>
                    <a:lnTo>
                      <a:pt x="563880" y="849553"/>
                    </a:lnTo>
                    <a:lnTo>
                      <a:pt x="563880" y="839317"/>
                    </a:lnTo>
                    <a:close/>
                  </a:path>
                  <a:path w="748665" h="849629">
                    <a:moveTo>
                      <a:pt x="625386" y="839317"/>
                    </a:moveTo>
                    <a:lnTo>
                      <a:pt x="615137" y="839317"/>
                    </a:lnTo>
                    <a:lnTo>
                      <a:pt x="615137" y="849553"/>
                    </a:lnTo>
                    <a:lnTo>
                      <a:pt x="625386" y="849553"/>
                    </a:lnTo>
                    <a:lnTo>
                      <a:pt x="625386" y="839317"/>
                    </a:lnTo>
                    <a:close/>
                  </a:path>
                  <a:path w="748665" h="849629">
                    <a:moveTo>
                      <a:pt x="686904" y="839317"/>
                    </a:moveTo>
                    <a:lnTo>
                      <a:pt x="676656" y="839317"/>
                    </a:lnTo>
                    <a:lnTo>
                      <a:pt x="676656" y="849553"/>
                    </a:lnTo>
                    <a:lnTo>
                      <a:pt x="686904" y="849553"/>
                    </a:lnTo>
                    <a:lnTo>
                      <a:pt x="686904" y="839317"/>
                    </a:lnTo>
                    <a:close/>
                  </a:path>
                  <a:path w="748665" h="849629">
                    <a:moveTo>
                      <a:pt x="748411" y="829081"/>
                    </a:moveTo>
                    <a:lnTo>
                      <a:pt x="738162" y="829081"/>
                    </a:lnTo>
                    <a:lnTo>
                      <a:pt x="738162" y="849553"/>
                    </a:lnTo>
                    <a:lnTo>
                      <a:pt x="748411" y="849553"/>
                    </a:lnTo>
                    <a:lnTo>
                      <a:pt x="748411" y="829081"/>
                    </a:lnTo>
                    <a:close/>
                  </a:path>
                  <a:path w="748665" h="849629">
                    <a:moveTo>
                      <a:pt x="748411" y="414540"/>
                    </a:moveTo>
                    <a:lnTo>
                      <a:pt x="738162" y="414540"/>
                    </a:lnTo>
                    <a:lnTo>
                      <a:pt x="738162" y="435013"/>
                    </a:lnTo>
                    <a:lnTo>
                      <a:pt x="748411" y="435013"/>
                    </a:lnTo>
                    <a:lnTo>
                      <a:pt x="748411" y="414540"/>
                    </a:lnTo>
                    <a:close/>
                  </a:path>
                  <a:path w="748665" h="849629">
                    <a:moveTo>
                      <a:pt x="748411" y="0"/>
                    </a:moveTo>
                    <a:lnTo>
                      <a:pt x="738162" y="0"/>
                    </a:lnTo>
                    <a:lnTo>
                      <a:pt x="738162" y="20472"/>
                    </a:lnTo>
                    <a:lnTo>
                      <a:pt x="748411" y="20472"/>
                    </a:lnTo>
                    <a:lnTo>
                      <a:pt x="748411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9" name="object 319"/>
              <p:cNvSpPr/>
              <p:nvPr/>
            </p:nvSpPr>
            <p:spPr>
              <a:xfrm>
                <a:off x="6219976" y="2483002"/>
                <a:ext cx="690880" cy="1090295"/>
              </a:xfrm>
              <a:custGeom>
                <a:avLst/>
                <a:gdLst/>
                <a:ahLst/>
                <a:cxnLst/>
                <a:rect l="l" t="t" r="r" b="b"/>
                <a:pathLst>
                  <a:path w="690879" h="1090295">
                    <a:moveTo>
                      <a:pt x="690547" y="1089678"/>
                    </a:moveTo>
                    <a:lnTo>
                      <a:pt x="0" y="1089678"/>
                    </a:lnTo>
                    <a:lnTo>
                      <a:pt x="0" y="0"/>
                    </a:lnTo>
                    <a:lnTo>
                      <a:pt x="690547" y="0"/>
                    </a:lnTo>
                    <a:lnTo>
                      <a:pt x="690547" y="1089678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320" name="object 320"/>
            <p:cNvSpPr/>
            <p:nvPr/>
          </p:nvSpPr>
          <p:spPr>
            <a:xfrm>
              <a:off x="6477776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1" name="object 321"/>
            <p:cNvSpPr/>
            <p:nvPr/>
          </p:nvSpPr>
          <p:spPr>
            <a:xfrm>
              <a:off x="6532052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6" name="object 326"/>
            <p:cNvSpPr txBox="1"/>
            <p:nvPr/>
          </p:nvSpPr>
          <p:spPr>
            <a:xfrm>
              <a:off x="3712326" y="3067453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27" name="object 327"/>
            <p:cNvSpPr/>
            <p:nvPr/>
          </p:nvSpPr>
          <p:spPr>
            <a:xfrm>
              <a:off x="3872509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8" name="object 328"/>
            <p:cNvSpPr/>
            <p:nvPr/>
          </p:nvSpPr>
          <p:spPr>
            <a:xfrm>
              <a:off x="3926786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9" name="object 329"/>
            <p:cNvSpPr/>
            <p:nvPr/>
          </p:nvSpPr>
          <p:spPr>
            <a:xfrm>
              <a:off x="3981062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0" name="object 330"/>
            <p:cNvSpPr/>
            <p:nvPr/>
          </p:nvSpPr>
          <p:spPr>
            <a:xfrm>
              <a:off x="4035338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1" name="object 331"/>
            <p:cNvSpPr/>
            <p:nvPr/>
          </p:nvSpPr>
          <p:spPr>
            <a:xfrm>
              <a:off x="4089615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2" name="object 332"/>
            <p:cNvSpPr/>
            <p:nvPr/>
          </p:nvSpPr>
          <p:spPr>
            <a:xfrm>
              <a:off x="4143892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3" name="object 333"/>
            <p:cNvSpPr/>
            <p:nvPr/>
          </p:nvSpPr>
          <p:spPr>
            <a:xfrm>
              <a:off x="4849485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4" name="object 334"/>
            <p:cNvSpPr/>
            <p:nvPr/>
          </p:nvSpPr>
          <p:spPr>
            <a:xfrm>
              <a:off x="4903761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5" name="object 335"/>
            <p:cNvSpPr/>
            <p:nvPr/>
          </p:nvSpPr>
          <p:spPr>
            <a:xfrm>
              <a:off x="5663630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6" name="object 336"/>
            <p:cNvSpPr/>
            <p:nvPr/>
          </p:nvSpPr>
          <p:spPr>
            <a:xfrm>
              <a:off x="5717906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7" name="object 337"/>
            <p:cNvSpPr/>
            <p:nvPr/>
          </p:nvSpPr>
          <p:spPr>
            <a:xfrm>
              <a:off x="6477776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8" name="object 338"/>
            <p:cNvSpPr/>
            <p:nvPr/>
          </p:nvSpPr>
          <p:spPr>
            <a:xfrm>
              <a:off x="6532052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3" name="object 343"/>
            <p:cNvSpPr txBox="1"/>
            <p:nvPr/>
          </p:nvSpPr>
          <p:spPr>
            <a:xfrm>
              <a:off x="3712326" y="2701684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2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44" name="object 344"/>
            <p:cNvSpPr/>
            <p:nvPr/>
          </p:nvSpPr>
          <p:spPr>
            <a:xfrm>
              <a:off x="3872509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5" name="object 345"/>
            <p:cNvSpPr/>
            <p:nvPr/>
          </p:nvSpPr>
          <p:spPr>
            <a:xfrm>
              <a:off x="3926786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6" name="object 346"/>
            <p:cNvSpPr/>
            <p:nvPr/>
          </p:nvSpPr>
          <p:spPr>
            <a:xfrm>
              <a:off x="3981062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7" name="object 347"/>
            <p:cNvSpPr/>
            <p:nvPr/>
          </p:nvSpPr>
          <p:spPr>
            <a:xfrm>
              <a:off x="4035338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8" name="object 348"/>
            <p:cNvSpPr/>
            <p:nvPr/>
          </p:nvSpPr>
          <p:spPr>
            <a:xfrm>
              <a:off x="4089615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9" name="object 349"/>
            <p:cNvSpPr/>
            <p:nvPr/>
          </p:nvSpPr>
          <p:spPr>
            <a:xfrm>
              <a:off x="4143892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0" name="object 350"/>
            <p:cNvSpPr/>
            <p:nvPr/>
          </p:nvSpPr>
          <p:spPr>
            <a:xfrm>
              <a:off x="4849485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1" name="object 351"/>
            <p:cNvSpPr/>
            <p:nvPr/>
          </p:nvSpPr>
          <p:spPr>
            <a:xfrm>
              <a:off x="4903761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2" name="object 352"/>
            <p:cNvSpPr/>
            <p:nvPr/>
          </p:nvSpPr>
          <p:spPr>
            <a:xfrm>
              <a:off x="5663630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3" name="object 353"/>
            <p:cNvSpPr/>
            <p:nvPr/>
          </p:nvSpPr>
          <p:spPr>
            <a:xfrm>
              <a:off x="5717906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4" name="object 354"/>
            <p:cNvSpPr/>
            <p:nvPr/>
          </p:nvSpPr>
          <p:spPr>
            <a:xfrm>
              <a:off x="6477776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5" name="object 355"/>
            <p:cNvSpPr/>
            <p:nvPr/>
          </p:nvSpPr>
          <p:spPr>
            <a:xfrm>
              <a:off x="6532052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0" name="object 360"/>
            <p:cNvSpPr txBox="1"/>
            <p:nvPr/>
          </p:nvSpPr>
          <p:spPr>
            <a:xfrm>
              <a:off x="3712326" y="2335914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4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61" name="object 361"/>
            <p:cNvSpPr/>
            <p:nvPr/>
          </p:nvSpPr>
          <p:spPr>
            <a:xfrm>
              <a:off x="3872509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2" name="object 362"/>
            <p:cNvSpPr/>
            <p:nvPr/>
          </p:nvSpPr>
          <p:spPr>
            <a:xfrm>
              <a:off x="3926786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3" name="object 363"/>
            <p:cNvSpPr/>
            <p:nvPr/>
          </p:nvSpPr>
          <p:spPr>
            <a:xfrm>
              <a:off x="3981062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4" name="object 364"/>
            <p:cNvSpPr/>
            <p:nvPr/>
          </p:nvSpPr>
          <p:spPr>
            <a:xfrm>
              <a:off x="4035338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5" name="object 365"/>
            <p:cNvSpPr/>
            <p:nvPr/>
          </p:nvSpPr>
          <p:spPr>
            <a:xfrm>
              <a:off x="4089615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6" name="object 366"/>
            <p:cNvSpPr/>
            <p:nvPr/>
          </p:nvSpPr>
          <p:spPr>
            <a:xfrm>
              <a:off x="4143892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7" name="object 367"/>
            <p:cNvSpPr/>
            <p:nvPr/>
          </p:nvSpPr>
          <p:spPr>
            <a:xfrm>
              <a:off x="4849485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8" name="object 368"/>
            <p:cNvSpPr/>
            <p:nvPr/>
          </p:nvSpPr>
          <p:spPr>
            <a:xfrm>
              <a:off x="4903761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9" name="object 369"/>
            <p:cNvSpPr/>
            <p:nvPr/>
          </p:nvSpPr>
          <p:spPr>
            <a:xfrm>
              <a:off x="5663630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0" name="object 370"/>
            <p:cNvSpPr/>
            <p:nvPr/>
          </p:nvSpPr>
          <p:spPr>
            <a:xfrm>
              <a:off x="5717906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1" name="object 371"/>
            <p:cNvSpPr/>
            <p:nvPr/>
          </p:nvSpPr>
          <p:spPr>
            <a:xfrm>
              <a:off x="5772183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2" name="object 372"/>
            <p:cNvSpPr/>
            <p:nvPr/>
          </p:nvSpPr>
          <p:spPr>
            <a:xfrm>
              <a:off x="5826459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3" name="object 373"/>
            <p:cNvSpPr/>
            <p:nvPr/>
          </p:nvSpPr>
          <p:spPr>
            <a:xfrm>
              <a:off x="5880735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4" name="object 374"/>
            <p:cNvSpPr/>
            <p:nvPr/>
          </p:nvSpPr>
          <p:spPr>
            <a:xfrm>
              <a:off x="5935012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375" name="object 375"/>
            <p:cNvGrpSpPr/>
            <p:nvPr/>
          </p:nvGrpSpPr>
          <p:grpSpPr>
            <a:xfrm>
              <a:off x="5989288" y="1963163"/>
              <a:ext cx="226359" cy="173691"/>
              <a:chOff x="6432260" y="2224918"/>
              <a:chExt cx="256540" cy="196850"/>
            </a:xfrm>
          </p:grpSpPr>
          <p:sp>
            <p:nvSpPr>
              <p:cNvPr id="376" name="object 376"/>
              <p:cNvSpPr/>
              <p:nvPr/>
            </p:nvSpPr>
            <p:spPr>
              <a:xfrm>
                <a:off x="6432258" y="2318829"/>
                <a:ext cx="256540" cy="20955"/>
              </a:xfrm>
              <a:custGeom>
                <a:avLst/>
                <a:gdLst/>
                <a:ahLst/>
                <a:cxnLst/>
                <a:rect l="l" t="t" r="r" b="b"/>
                <a:pathLst>
                  <a:path w="256540" h="2095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20485"/>
                    </a:lnTo>
                    <a:lnTo>
                      <a:pt x="10248" y="20485"/>
                    </a:lnTo>
                    <a:lnTo>
                      <a:pt x="10248" y="0"/>
                    </a:lnTo>
                    <a:close/>
                  </a:path>
                  <a:path w="256540" h="20955">
                    <a:moveTo>
                      <a:pt x="71767" y="0"/>
                    </a:moveTo>
                    <a:lnTo>
                      <a:pt x="61506" y="0"/>
                    </a:lnTo>
                    <a:lnTo>
                      <a:pt x="61506" y="20485"/>
                    </a:lnTo>
                    <a:lnTo>
                      <a:pt x="71767" y="20485"/>
                    </a:lnTo>
                    <a:lnTo>
                      <a:pt x="71767" y="0"/>
                    </a:lnTo>
                    <a:close/>
                  </a:path>
                  <a:path w="256540" h="20955">
                    <a:moveTo>
                      <a:pt x="133273" y="0"/>
                    </a:moveTo>
                    <a:lnTo>
                      <a:pt x="123024" y="0"/>
                    </a:lnTo>
                    <a:lnTo>
                      <a:pt x="123024" y="20485"/>
                    </a:lnTo>
                    <a:lnTo>
                      <a:pt x="133273" y="20485"/>
                    </a:lnTo>
                    <a:lnTo>
                      <a:pt x="133273" y="0"/>
                    </a:lnTo>
                    <a:close/>
                  </a:path>
                  <a:path w="256540" h="20955">
                    <a:moveTo>
                      <a:pt x="194792" y="0"/>
                    </a:moveTo>
                    <a:lnTo>
                      <a:pt x="184531" y="0"/>
                    </a:lnTo>
                    <a:lnTo>
                      <a:pt x="184531" y="20485"/>
                    </a:lnTo>
                    <a:lnTo>
                      <a:pt x="194792" y="20485"/>
                    </a:lnTo>
                    <a:lnTo>
                      <a:pt x="194792" y="0"/>
                    </a:lnTo>
                    <a:close/>
                  </a:path>
                  <a:path w="256540" h="20955">
                    <a:moveTo>
                      <a:pt x="256298" y="0"/>
                    </a:moveTo>
                    <a:lnTo>
                      <a:pt x="246049" y="0"/>
                    </a:lnTo>
                    <a:lnTo>
                      <a:pt x="246049" y="20485"/>
                    </a:lnTo>
                    <a:lnTo>
                      <a:pt x="256298" y="20485"/>
                    </a:lnTo>
                    <a:lnTo>
                      <a:pt x="25629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7" name="object 377"/>
              <p:cNvSpPr/>
              <p:nvPr/>
            </p:nvSpPr>
            <p:spPr>
              <a:xfrm>
                <a:off x="6450072" y="2224918"/>
                <a:ext cx="230354" cy="196662"/>
              </a:xfrm>
              <a:prstGeom prst="rect">
                <a:avLst/>
              </a:prstGeom>
              <a:blipFill>
                <a:blip r:embed="rId6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378" name="object 378"/>
            <p:cNvSpPr/>
            <p:nvPr/>
          </p:nvSpPr>
          <p:spPr>
            <a:xfrm>
              <a:off x="6260670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9" name="object 379"/>
            <p:cNvSpPr/>
            <p:nvPr/>
          </p:nvSpPr>
          <p:spPr>
            <a:xfrm>
              <a:off x="6314947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0" name="object 380"/>
            <p:cNvSpPr/>
            <p:nvPr/>
          </p:nvSpPr>
          <p:spPr>
            <a:xfrm>
              <a:off x="6369224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1" name="object 381"/>
            <p:cNvSpPr/>
            <p:nvPr/>
          </p:nvSpPr>
          <p:spPr>
            <a:xfrm>
              <a:off x="6423500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2" name="object 382"/>
            <p:cNvSpPr/>
            <p:nvPr/>
          </p:nvSpPr>
          <p:spPr>
            <a:xfrm>
              <a:off x="6477776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3" name="object 383"/>
            <p:cNvSpPr/>
            <p:nvPr/>
          </p:nvSpPr>
          <p:spPr>
            <a:xfrm>
              <a:off x="6532052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8" name="object 388"/>
            <p:cNvSpPr txBox="1"/>
            <p:nvPr/>
          </p:nvSpPr>
          <p:spPr>
            <a:xfrm>
              <a:off x="3712326" y="1970145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6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9" name="object 389"/>
            <p:cNvSpPr/>
            <p:nvPr/>
          </p:nvSpPr>
          <p:spPr>
            <a:xfrm>
              <a:off x="3872509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0" name="object 390"/>
            <p:cNvSpPr/>
            <p:nvPr/>
          </p:nvSpPr>
          <p:spPr>
            <a:xfrm>
              <a:off x="3926786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1" name="object 391"/>
            <p:cNvSpPr/>
            <p:nvPr/>
          </p:nvSpPr>
          <p:spPr>
            <a:xfrm>
              <a:off x="398106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2" name="object 392"/>
            <p:cNvSpPr/>
            <p:nvPr/>
          </p:nvSpPr>
          <p:spPr>
            <a:xfrm>
              <a:off x="4035338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3" name="object 393"/>
            <p:cNvSpPr/>
            <p:nvPr/>
          </p:nvSpPr>
          <p:spPr>
            <a:xfrm>
              <a:off x="408961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4" name="object 394"/>
            <p:cNvSpPr/>
            <p:nvPr/>
          </p:nvSpPr>
          <p:spPr>
            <a:xfrm>
              <a:off x="414389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5" name="object 395"/>
            <p:cNvSpPr/>
            <p:nvPr/>
          </p:nvSpPr>
          <p:spPr>
            <a:xfrm>
              <a:off x="484948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6" name="object 396"/>
            <p:cNvSpPr/>
            <p:nvPr/>
          </p:nvSpPr>
          <p:spPr>
            <a:xfrm>
              <a:off x="4903761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7" name="object 397"/>
            <p:cNvSpPr/>
            <p:nvPr/>
          </p:nvSpPr>
          <p:spPr>
            <a:xfrm>
              <a:off x="4958037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8" name="object 398"/>
            <p:cNvSpPr/>
            <p:nvPr/>
          </p:nvSpPr>
          <p:spPr>
            <a:xfrm>
              <a:off x="5012313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9" name="object 399"/>
            <p:cNvSpPr/>
            <p:nvPr/>
          </p:nvSpPr>
          <p:spPr>
            <a:xfrm>
              <a:off x="5066590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0" name="object 400"/>
            <p:cNvSpPr/>
            <p:nvPr/>
          </p:nvSpPr>
          <p:spPr>
            <a:xfrm>
              <a:off x="5120866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1" name="object 401"/>
            <p:cNvSpPr/>
            <p:nvPr/>
          </p:nvSpPr>
          <p:spPr>
            <a:xfrm>
              <a:off x="5175143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2" name="object 402"/>
            <p:cNvSpPr/>
            <p:nvPr/>
          </p:nvSpPr>
          <p:spPr>
            <a:xfrm>
              <a:off x="5229420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3" name="object 403"/>
            <p:cNvSpPr/>
            <p:nvPr/>
          </p:nvSpPr>
          <p:spPr>
            <a:xfrm>
              <a:off x="528369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4" name="object 404"/>
            <p:cNvSpPr/>
            <p:nvPr/>
          </p:nvSpPr>
          <p:spPr>
            <a:xfrm>
              <a:off x="533797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5" name="object 405"/>
            <p:cNvSpPr/>
            <p:nvPr/>
          </p:nvSpPr>
          <p:spPr>
            <a:xfrm>
              <a:off x="5392248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6" name="object 406"/>
            <p:cNvSpPr/>
            <p:nvPr/>
          </p:nvSpPr>
          <p:spPr>
            <a:xfrm>
              <a:off x="5446524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7" name="object 407"/>
            <p:cNvSpPr/>
            <p:nvPr/>
          </p:nvSpPr>
          <p:spPr>
            <a:xfrm>
              <a:off x="5500801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8" name="object 408"/>
            <p:cNvSpPr/>
            <p:nvPr/>
          </p:nvSpPr>
          <p:spPr>
            <a:xfrm>
              <a:off x="5555078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9" name="object 409"/>
            <p:cNvSpPr/>
            <p:nvPr/>
          </p:nvSpPr>
          <p:spPr>
            <a:xfrm>
              <a:off x="5609354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0" name="object 410"/>
            <p:cNvSpPr/>
            <p:nvPr/>
          </p:nvSpPr>
          <p:spPr>
            <a:xfrm>
              <a:off x="5663630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1" name="object 411"/>
            <p:cNvSpPr/>
            <p:nvPr/>
          </p:nvSpPr>
          <p:spPr>
            <a:xfrm>
              <a:off x="5717906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2" name="object 412"/>
            <p:cNvSpPr/>
            <p:nvPr/>
          </p:nvSpPr>
          <p:spPr>
            <a:xfrm>
              <a:off x="5772183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3" name="object 413"/>
            <p:cNvSpPr/>
            <p:nvPr/>
          </p:nvSpPr>
          <p:spPr>
            <a:xfrm>
              <a:off x="5826459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4" name="object 414"/>
            <p:cNvSpPr/>
            <p:nvPr/>
          </p:nvSpPr>
          <p:spPr>
            <a:xfrm>
              <a:off x="588073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5" name="object 415"/>
            <p:cNvSpPr/>
            <p:nvPr/>
          </p:nvSpPr>
          <p:spPr>
            <a:xfrm>
              <a:off x="593501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6" name="object 416"/>
            <p:cNvSpPr/>
            <p:nvPr/>
          </p:nvSpPr>
          <p:spPr>
            <a:xfrm>
              <a:off x="5989289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7" name="object 417"/>
            <p:cNvSpPr/>
            <p:nvPr/>
          </p:nvSpPr>
          <p:spPr>
            <a:xfrm>
              <a:off x="604356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8" name="object 418"/>
            <p:cNvSpPr/>
            <p:nvPr/>
          </p:nvSpPr>
          <p:spPr>
            <a:xfrm>
              <a:off x="6097841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9" name="object 419"/>
            <p:cNvSpPr/>
            <p:nvPr/>
          </p:nvSpPr>
          <p:spPr>
            <a:xfrm>
              <a:off x="6152117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0" name="object 420"/>
            <p:cNvSpPr/>
            <p:nvPr/>
          </p:nvSpPr>
          <p:spPr>
            <a:xfrm>
              <a:off x="6206394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1" name="object 421"/>
            <p:cNvSpPr/>
            <p:nvPr/>
          </p:nvSpPr>
          <p:spPr>
            <a:xfrm>
              <a:off x="6260670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2" name="object 422"/>
            <p:cNvSpPr/>
            <p:nvPr/>
          </p:nvSpPr>
          <p:spPr>
            <a:xfrm>
              <a:off x="6314947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3" name="object 423"/>
            <p:cNvSpPr/>
            <p:nvPr/>
          </p:nvSpPr>
          <p:spPr>
            <a:xfrm>
              <a:off x="6369224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4" name="object 424"/>
            <p:cNvSpPr/>
            <p:nvPr/>
          </p:nvSpPr>
          <p:spPr>
            <a:xfrm>
              <a:off x="6423500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5" name="object 425"/>
            <p:cNvSpPr/>
            <p:nvPr/>
          </p:nvSpPr>
          <p:spPr>
            <a:xfrm>
              <a:off x="6477776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6" name="object 426"/>
            <p:cNvSpPr/>
            <p:nvPr/>
          </p:nvSpPr>
          <p:spPr>
            <a:xfrm>
              <a:off x="653205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1" name="object 431"/>
            <p:cNvSpPr txBox="1"/>
            <p:nvPr/>
          </p:nvSpPr>
          <p:spPr>
            <a:xfrm>
              <a:off x="3712326" y="1604377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8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32" name="object 432"/>
            <p:cNvSpPr txBox="1"/>
            <p:nvPr/>
          </p:nvSpPr>
          <p:spPr>
            <a:xfrm>
              <a:off x="4816737" y="3517001"/>
              <a:ext cx="1006288" cy="200507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marL="11206">
                <a:spcBef>
                  <a:spcPts val="124"/>
                </a:spcBef>
              </a:pPr>
              <a:r>
                <a:rPr sz="1200" spc="-31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Review</a:t>
              </a:r>
              <a:r>
                <a:rPr sz="1200" spc="-11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200" spc="-3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ategory</a:t>
              </a:r>
              <a:endParaRPr sz="1200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433" name="object 433"/>
            <p:cNvSpPr txBox="1"/>
            <p:nvPr/>
          </p:nvSpPr>
          <p:spPr>
            <a:xfrm>
              <a:off x="3483431" y="1534939"/>
              <a:ext cx="130485" cy="1496725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1015"/>
                </a:lnSpc>
              </a:pPr>
              <a:r>
                <a:rPr sz="1200" spc="-3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Average Sentence</a:t>
              </a:r>
              <a:r>
                <a:rPr sz="1200" spc="-124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200" spc="-44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ount</a:t>
              </a:r>
              <a:endParaRPr sz="1200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434" name="object 434"/>
            <p:cNvSpPr txBox="1"/>
            <p:nvPr/>
          </p:nvSpPr>
          <p:spPr>
            <a:xfrm>
              <a:off x="4187574" y="3247858"/>
              <a:ext cx="65666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Video</a:t>
              </a:r>
              <a:r>
                <a:rPr sz="838" spc="-44" dirty="0">
                  <a:solidFill>
                    <a:srgbClr val="605D5C"/>
                  </a:solidFill>
                  <a:latin typeface="Segoe UI"/>
                  <a:cs typeface="Segoe UI"/>
                </a:rPr>
                <a:t> </a:t>
              </a: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Games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35" name="object 435"/>
            <p:cNvSpPr txBox="1"/>
            <p:nvPr/>
          </p:nvSpPr>
          <p:spPr>
            <a:xfrm>
              <a:off x="5163678" y="3247858"/>
              <a:ext cx="31208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Books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36" name="object 436"/>
            <p:cNvSpPr txBox="1"/>
            <p:nvPr/>
          </p:nvSpPr>
          <p:spPr>
            <a:xfrm>
              <a:off x="5861721" y="3233264"/>
              <a:ext cx="523875" cy="302112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83488" marR="4483" indent="-72842">
                <a:lnSpc>
                  <a:spcPct val="113199"/>
                </a:lnSpc>
                <a:spcBef>
                  <a:spcPts val="84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Home</a:t>
              </a:r>
              <a:r>
                <a:rPr sz="838" spc="-71" dirty="0">
                  <a:solidFill>
                    <a:srgbClr val="605D5C"/>
                  </a:solidFill>
                  <a:latin typeface="Segoe UI"/>
                  <a:cs typeface="Segoe UI"/>
                </a:rPr>
                <a:t> </a:t>
              </a: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and  </a:t>
              </a: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Kitchen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37" name="object 437"/>
            <p:cNvSpPr/>
            <p:nvPr/>
          </p:nvSpPr>
          <p:spPr>
            <a:xfrm>
              <a:off x="4397113" y="1355345"/>
              <a:ext cx="203254" cy="173525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8" name="object 438"/>
            <p:cNvSpPr/>
            <p:nvPr/>
          </p:nvSpPr>
          <p:spPr>
            <a:xfrm>
              <a:off x="5201059" y="1741675"/>
              <a:ext cx="203254" cy="173525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9" name="object 439"/>
            <p:cNvSpPr txBox="1"/>
            <p:nvPr/>
          </p:nvSpPr>
          <p:spPr>
            <a:xfrm>
              <a:off x="4458276" y="1373142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9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40" name="object 440"/>
            <p:cNvSpPr txBox="1"/>
            <p:nvPr/>
          </p:nvSpPr>
          <p:spPr>
            <a:xfrm>
              <a:off x="5262223" y="1759472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6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41" name="object 441"/>
            <p:cNvSpPr txBox="1"/>
            <p:nvPr/>
          </p:nvSpPr>
          <p:spPr>
            <a:xfrm>
              <a:off x="6066168" y="1980960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5</a:t>
              </a:r>
              <a:endParaRPr sz="838" dirty="0">
                <a:latin typeface="Segoe UI"/>
                <a:cs typeface="Segoe UI"/>
              </a:endParaRPr>
            </a:p>
          </p:txBody>
        </p:sp>
      </p:grpSp>
      <p:grpSp>
        <p:nvGrpSpPr>
          <p:cNvPr id="449" name="Group 448">
            <a:extLst>
              <a:ext uri="{FF2B5EF4-FFF2-40B4-BE49-F238E27FC236}">
                <a16:creationId xmlns:a16="http://schemas.microsoft.com/office/drawing/2014/main" id="{EA98DCBA-D58C-4243-AE0B-9C08558B32C9}"/>
              </a:ext>
            </a:extLst>
          </p:cNvPr>
          <p:cNvGrpSpPr/>
          <p:nvPr/>
        </p:nvGrpSpPr>
        <p:grpSpPr>
          <a:xfrm>
            <a:off x="488771" y="2663081"/>
            <a:ext cx="2908428" cy="4085151"/>
            <a:chOff x="352547" y="2569864"/>
            <a:chExt cx="2908428" cy="4085151"/>
          </a:xfrm>
        </p:grpSpPr>
        <p:sp>
          <p:nvSpPr>
            <p:cNvPr id="2" name="object 2"/>
            <p:cNvSpPr txBox="1"/>
            <p:nvPr/>
          </p:nvSpPr>
          <p:spPr>
            <a:xfrm>
              <a:off x="669021" y="6005123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" name="object 3"/>
            <p:cNvSpPr/>
            <p:nvPr/>
          </p:nvSpPr>
          <p:spPr>
            <a:xfrm>
              <a:off x="917995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" name="object 4"/>
            <p:cNvSpPr/>
            <p:nvPr/>
          </p:nvSpPr>
          <p:spPr>
            <a:xfrm>
              <a:off x="972262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" name="object 5"/>
            <p:cNvSpPr/>
            <p:nvPr/>
          </p:nvSpPr>
          <p:spPr>
            <a:xfrm>
              <a:off x="1026528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" name="object 6"/>
            <p:cNvSpPr/>
            <p:nvPr/>
          </p:nvSpPr>
          <p:spPr>
            <a:xfrm>
              <a:off x="1080795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" name="object 7"/>
            <p:cNvSpPr/>
            <p:nvPr/>
          </p:nvSpPr>
          <p:spPr>
            <a:xfrm>
              <a:off x="1731991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" name="object 8"/>
            <p:cNvSpPr/>
            <p:nvPr/>
          </p:nvSpPr>
          <p:spPr>
            <a:xfrm>
              <a:off x="2383187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" name="object 9"/>
            <p:cNvSpPr/>
            <p:nvPr/>
          </p:nvSpPr>
          <p:spPr>
            <a:xfrm>
              <a:off x="3034384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0" name="object 10"/>
            <p:cNvSpPr/>
            <p:nvPr/>
          </p:nvSpPr>
          <p:spPr>
            <a:xfrm>
              <a:off x="3088650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1" name="object 11"/>
            <p:cNvSpPr/>
            <p:nvPr/>
          </p:nvSpPr>
          <p:spPr>
            <a:xfrm>
              <a:off x="3142917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2" name="object 12"/>
            <p:cNvSpPr/>
            <p:nvPr/>
          </p:nvSpPr>
          <p:spPr>
            <a:xfrm>
              <a:off x="3197183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3" name="object 13"/>
            <p:cNvSpPr/>
            <p:nvPr/>
          </p:nvSpPr>
          <p:spPr>
            <a:xfrm>
              <a:off x="3251450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4" name="object 14"/>
            <p:cNvSpPr txBox="1"/>
            <p:nvPr/>
          </p:nvSpPr>
          <p:spPr>
            <a:xfrm>
              <a:off x="610515" y="5424662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2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917995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6" name="object 16"/>
            <p:cNvSpPr/>
            <p:nvPr/>
          </p:nvSpPr>
          <p:spPr>
            <a:xfrm>
              <a:off x="972262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" name="object 17"/>
            <p:cNvSpPr/>
            <p:nvPr/>
          </p:nvSpPr>
          <p:spPr>
            <a:xfrm>
              <a:off x="1026528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" name="object 18"/>
            <p:cNvSpPr/>
            <p:nvPr/>
          </p:nvSpPr>
          <p:spPr>
            <a:xfrm>
              <a:off x="1080795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" name="object 19"/>
            <p:cNvSpPr/>
            <p:nvPr/>
          </p:nvSpPr>
          <p:spPr>
            <a:xfrm>
              <a:off x="1731991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" name="object 20"/>
            <p:cNvSpPr/>
            <p:nvPr/>
          </p:nvSpPr>
          <p:spPr>
            <a:xfrm>
              <a:off x="2383187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" name="object 21"/>
            <p:cNvSpPr/>
            <p:nvPr/>
          </p:nvSpPr>
          <p:spPr>
            <a:xfrm>
              <a:off x="3034384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" name="object 22"/>
            <p:cNvSpPr/>
            <p:nvPr/>
          </p:nvSpPr>
          <p:spPr>
            <a:xfrm>
              <a:off x="3088650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" name="object 23"/>
            <p:cNvSpPr/>
            <p:nvPr/>
          </p:nvSpPr>
          <p:spPr>
            <a:xfrm>
              <a:off x="3142917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" name="object 24"/>
            <p:cNvSpPr/>
            <p:nvPr/>
          </p:nvSpPr>
          <p:spPr>
            <a:xfrm>
              <a:off x="3197183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" name="object 25"/>
            <p:cNvSpPr/>
            <p:nvPr/>
          </p:nvSpPr>
          <p:spPr>
            <a:xfrm>
              <a:off x="3251450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" name="object 26"/>
            <p:cNvSpPr txBox="1"/>
            <p:nvPr/>
          </p:nvSpPr>
          <p:spPr>
            <a:xfrm>
              <a:off x="610515" y="4844200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4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917995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" name="object 28"/>
            <p:cNvSpPr/>
            <p:nvPr/>
          </p:nvSpPr>
          <p:spPr>
            <a:xfrm>
              <a:off x="972262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" name="object 29"/>
            <p:cNvSpPr/>
            <p:nvPr/>
          </p:nvSpPr>
          <p:spPr>
            <a:xfrm>
              <a:off x="1026528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" name="object 30"/>
            <p:cNvSpPr/>
            <p:nvPr/>
          </p:nvSpPr>
          <p:spPr>
            <a:xfrm>
              <a:off x="1080795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" name="object 31"/>
            <p:cNvSpPr/>
            <p:nvPr/>
          </p:nvSpPr>
          <p:spPr>
            <a:xfrm>
              <a:off x="1731991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" name="object 32"/>
            <p:cNvSpPr/>
            <p:nvPr/>
          </p:nvSpPr>
          <p:spPr>
            <a:xfrm>
              <a:off x="2383187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" name="object 33"/>
            <p:cNvSpPr/>
            <p:nvPr/>
          </p:nvSpPr>
          <p:spPr>
            <a:xfrm>
              <a:off x="3034384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" name="object 34"/>
            <p:cNvSpPr/>
            <p:nvPr/>
          </p:nvSpPr>
          <p:spPr>
            <a:xfrm>
              <a:off x="3088650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" name="object 35"/>
            <p:cNvSpPr/>
            <p:nvPr/>
          </p:nvSpPr>
          <p:spPr>
            <a:xfrm>
              <a:off x="3142917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" name="object 36"/>
            <p:cNvSpPr/>
            <p:nvPr/>
          </p:nvSpPr>
          <p:spPr>
            <a:xfrm>
              <a:off x="3197183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" name="object 37"/>
            <p:cNvSpPr/>
            <p:nvPr/>
          </p:nvSpPr>
          <p:spPr>
            <a:xfrm>
              <a:off x="3251450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" name="object 38"/>
            <p:cNvSpPr txBox="1"/>
            <p:nvPr/>
          </p:nvSpPr>
          <p:spPr>
            <a:xfrm>
              <a:off x="610515" y="4263738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6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9" name="object 39"/>
            <p:cNvSpPr/>
            <p:nvPr/>
          </p:nvSpPr>
          <p:spPr>
            <a:xfrm>
              <a:off x="917995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" name="object 40"/>
            <p:cNvSpPr/>
            <p:nvPr/>
          </p:nvSpPr>
          <p:spPr>
            <a:xfrm>
              <a:off x="972262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" name="object 41"/>
            <p:cNvSpPr/>
            <p:nvPr/>
          </p:nvSpPr>
          <p:spPr>
            <a:xfrm>
              <a:off x="1026528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" name="object 42"/>
            <p:cNvSpPr/>
            <p:nvPr/>
          </p:nvSpPr>
          <p:spPr>
            <a:xfrm>
              <a:off x="1080795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" name="object 43"/>
            <p:cNvSpPr/>
            <p:nvPr/>
          </p:nvSpPr>
          <p:spPr>
            <a:xfrm>
              <a:off x="1731991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4" name="object 44"/>
            <p:cNvSpPr/>
            <p:nvPr/>
          </p:nvSpPr>
          <p:spPr>
            <a:xfrm>
              <a:off x="2383187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5" name="object 45"/>
            <p:cNvSpPr/>
            <p:nvPr/>
          </p:nvSpPr>
          <p:spPr>
            <a:xfrm>
              <a:off x="3034384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6" name="object 46"/>
            <p:cNvSpPr/>
            <p:nvPr/>
          </p:nvSpPr>
          <p:spPr>
            <a:xfrm>
              <a:off x="3088650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7" name="object 47"/>
            <p:cNvSpPr/>
            <p:nvPr/>
          </p:nvSpPr>
          <p:spPr>
            <a:xfrm>
              <a:off x="3142917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8" name="object 48"/>
            <p:cNvSpPr/>
            <p:nvPr/>
          </p:nvSpPr>
          <p:spPr>
            <a:xfrm>
              <a:off x="3197183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0" name="object 50"/>
            <p:cNvSpPr txBox="1"/>
            <p:nvPr/>
          </p:nvSpPr>
          <p:spPr>
            <a:xfrm>
              <a:off x="610515" y="3683277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8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917995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2" name="object 52"/>
            <p:cNvSpPr/>
            <p:nvPr/>
          </p:nvSpPr>
          <p:spPr>
            <a:xfrm>
              <a:off x="972262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3" name="object 53"/>
            <p:cNvSpPr/>
            <p:nvPr/>
          </p:nvSpPr>
          <p:spPr>
            <a:xfrm>
              <a:off x="1026528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4" name="object 54"/>
            <p:cNvSpPr/>
            <p:nvPr/>
          </p:nvSpPr>
          <p:spPr>
            <a:xfrm>
              <a:off x="1080795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5" name="object 55"/>
            <p:cNvSpPr/>
            <p:nvPr/>
          </p:nvSpPr>
          <p:spPr>
            <a:xfrm>
              <a:off x="1731991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6" name="object 56"/>
            <p:cNvSpPr/>
            <p:nvPr/>
          </p:nvSpPr>
          <p:spPr>
            <a:xfrm>
              <a:off x="2383187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7" name="object 57"/>
            <p:cNvSpPr/>
            <p:nvPr/>
          </p:nvSpPr>
          <p:spPr>
            <a:xfrm>
              <a:off x="3034384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8" name="object 58"/>
            <p:cNvSpPr/>
            <p:nvPr/>
          </p:nvSpPr>
          <p:spPr>
            <a:xfrm>
              <a:off x="3088650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9" name="object 59"/>
            <p:cNvSpPr/>
            <p:nvPr/>
          </p:nvSpPr>
          <p:spPr>
            <a:xfrm>
              <a:off x="3142917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0" name="object 60"/>
            <p:cNvSpPr/>
            <p:nvPr/>
          </p:nvSpPr>
          <p:spPr>
            <a:xfrm>
              <a:off x="3197183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1" name="object 61"/>
            <p:cNvSpPr/>
            <p:nvPr/>
          </p:nvSpPr>
          <p:spPr>
            <a:xfrm>
              <a:off x="3251450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2" name="object 62"/>
            <p:cNvSpPr txBox="1"/>
            <p:nvPr/>
          </p:nvSpPr>
          <p:spPr>
            <a:xfrm>
              <a:off x="552008" y="3102815"/>
              <a:ext cx="286871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10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3" name="object 63"/>
            <p:cNvSpPr txBox="1"/>
            <p:nvPr/>
          </p:nvSpPr>
          <p:spPr>
            <a:xfrm>
              <a:off x="1590347" y="6454508"/>
              <a:ext cx="1005728" cy="200507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marL="11206">
                <a:spcBef>
                  <a:spcPts val="124"/>
                </a:spcBef>
              </a:pPr>
              <a:r>
                <a:rPr sz="1200" spc="-31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Review</a:t>
              </a:r>
              <a:r>
                <a:rPr sz="1200" spc="-119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200" spc="-3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ategory</a:t>
              </a:r>
              <a:endParaRPr sz="1200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64" name="object 64"/>
            <p:cNvSpPr txBox="1"/>
            <p:nvPr/>
          </p:nvSpPr>
          <p:spPr>
            <a:xfrm>
              <a:off x="352547" y="4098480"/>
              <a:ext cx="153888" cy="1080807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1204"/>
                </a:lnSpc>
              </a:pPr>
              <a:r>
                <a:rPr sz="1200" spc="-57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Rating</a:t>
              </a:r>
              <a:r>
                <a:rPr sz="1200" spc="-128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200" spc="-66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Percentage</a:t>
              </a:r>
              <a:endParaRPr sz="1200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65" name="object 65"/>
            <p:cNvSpPr txBox="1"/>
            <p:nvPr/>
          </p:nvSpPr>
          <p:spPr>
            <a:xfrm>
              <a:off x="1178487" y="6170873"/>
              <a:ext cx="1070722" cy="302112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83488" marR="4483" indent="-72842">
                <a:lnSpc>
                  <a:spcPct val="113199"/>
                </a:lnSpc>
                <a:spcBef>
                  <a:spcPts val="84"/>
                </a:spcBef>
                <a:tabLst>
                  <a:tab pos="769885" algn="l"/>
                </a:tabLst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Home</a:t>
              </a: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 </a:t>
              </a: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and</a:t>
              </a:r>
              <a:r>
                <a:rPr sz="838" dirty="0">
                  <a:solidFill>
                    <a:srgbClr val="605D5C"/>
                  </a:solidFill>
                  <a:latin typeface="Segoe UI"/>
                  <a:cs typeface="Segoe UI"/>
                </a:rPr>
                <a:t>	</a:t>
              </a: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Books  Kitchen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6" name="object 66"/>
            <p:cNvSpPr txBox="1"/>
            <p:nvPr/>
          </p:nvSpPr>
          <p:spPr>
            <a:xfrm>
              <a:off x="2571792" y="6170873"/>
              <a:ext cx="348503" cy="302112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11206" marR="4483" indent="23534">
                <a:lnSpc>
                  <a:spcPct val="113199"/>
                </a:lnSpc>
                <a:spcBef>
                  <a:spcPts val="84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Video  </a:t>
              </a: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Games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7" name="object 67"/>
            <p:cNvSpPr txBox="1"/>
            <p:nvPr/>
          </p:nvSpPr>
          <p:spPr>
            <a:xfrm>
              <a:off x="1341665" y="5896980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9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8" name="object 68"/>
            <p:cNvSpPr txBox="1"/>
            <p:nvPr/>
          </p:nvSpPr>
          <p:spPr>
            <a:xfrm>
              <a:off x="1994518" y="5950987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5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9" name="object 69"/>
            <p:cNvSpPr txBox="1"/>
            <p:nvPr/>
          </p:nvSpPr>
          <p:spPr>
            <a:xfrm>
              <a:off x="2647371" y="5914984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7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0" name="object 70"/>
            <p:cNvSpPr txBox="1"/>
            <p:nvPr/>
          </p:nvSpPr>
          <p:spPr>
            <a:xfrm>
              <a:off x="1341665" y="5679235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6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1" name="object 71"/>
            <p:cNvSpPr txBox="1"/>
            <p:nvPr/>
          </p:nvSpPr>
          <p:spPr>
            <a:xfrm>
              <a:off x="1994518" y="5782190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7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2" name="object 72"/>
            <p:cNvSpPr txBox="1"/>
            <p:nvPr/>
          </p:nvSpPr>
          <p:spPr>
            <a:xfrm>
              <a:off x="2647371" y="5699506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8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3" name="object 73"/>
            <p:cNvSpPr txBox="1"/>
            <p:nvPr/>
          </p:nvSpPr>
          <p:spPr>
            <a:xfrm>
              <a:off x="1312412" y="5440725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1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4" name="object 74"/>
            <p:cNvSpPr txBox="1"/>
            <p:nvPr/>
          </p:nvSpPr>
          <p:spPr>
            <a:xfrm>
              <a:off x="1965265" y="5495118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13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5" name="object 75"/>
            <p:cNvSpPr txBox="1"/>
            <p:nvPr/>
          </p:nvSpPr>
          <p:spPr>
            <a:xfrm>
              <a:off x="2618117" y="5369489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15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6" name="object 76"/>
            <p:cNvSpPr txBox="1"/>
            <p:nvPr/>
          </p:nvSpPr>
          <p:spPr>
            <a:xfrm>
              <a:off x="1312412" y="5017034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19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7" name="object 77"/>
            <p:cNvSpPr txBox="1"/>
            <p:nvPr/>
          </p:nvSpPr>
          <p:spPr>
            <a:xfrm>
              <a:off x="1965265" y="4936713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26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8" name="object 78"/>
            <p:cNvSpPr txBox="1"/>
            <p:nvPr/>
          </p:nvSpPr>
          <p:spPr>
            <a:xfrm>
              <a:off x="2618117" y="4763193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27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9" name="object 79"/>
            <p:cNvSpPr txBox="1"/>
            <p:nvPr/>
          </p:nvSpPr>
          <p:spPr>
            <a:xfrm>
              <a:off x="1312412" y="3928473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56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80" name="object 80"/>
            <p:cNvSpPr txBox="1"/>
            <p:nvPr/>
          </p:nvSpPr>
          <p:spPr>
            <a:xfrm>
              <a:off x="1965265" y="3842707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5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81" name="object 81"/>
            <p:cNvSpPr txBox="1"/>
            <p:nvPr/>
          </p:nvSpPr>
          <p:spPr>
            <a:xfrm>
              <a:off x="2618117" y="3748138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43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82" name="object 82"/>
            <p:cNvSpPr/>
            <p:nvPr/>
          </p:nvSpPr>
          <p:spPr>
            <a:xfrm>
              <a:off x="1470714" y="2926999"/>
              <a:ext cx="89416" cy="89336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3" name="object 83"/>
            <p:cNvSpPr/>
            <p:nvPr/>
          </p:nvSpPr>
          <p:spPr>
            <a:xfrm>
              <a:off x="1696583" y="2926999"/>
              <a:ext cx="89416" cy="89336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4" name="object 84"/>
            <p:cNvSpPr/>
            <p:nvPr/>
          </p:nvSpPr>
          <p:spPr>
            <a:xfrm>
              <a:off x="1923246" y="2926999"/>
              <a:ext cx="96866" cy="89336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5" name="object 85"/>
            <p:cNvSpPr/>
            <p:nvPr/>
          </p:nvSpPr>
          <p:spPr>
            <a:xfrm>
              <a:off x="2157355" y="2926999"/>
              <a:ext cx="89416" cy="89336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6" name="object 86"/>
            <p:cNvSpPr/>
            <p:nvPr/>
          </p:nvSpPr>
          <p:spPr>
            <a:xfrm>
              <a:off x="2383223" y="2926999"/>
              <a:ext cx="89416" cy="89336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7" name="object 87"/>
            <p:cNvSpPr txBox="1"/>
            <p:nvPr/>
          </p:nvSpPr>
          <p:spPr>
            <a:xfrm>
              <a:off x="676171" y="2569864"/>
              <a:ext cx="2285313" cy="473980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algn="ctr">
                <a:spcBef>
                  <a:spcPts val="124"/>
                </a:spcBef>
              </a:pPr>
              <a:r>
                <a:rPr sz="1300" b="1" spc="-44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Percentage </a:t>
              </a:r>
              <a:r>
                <a:rPr sz="1300" b="1" spc="-71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of </a:t>
              </a:r>
              <a:r>
                <a:rPr sz="1300" b="1" spc="-22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Ratings </a:t>
              </a:r>
              <a:r>
                <a:rPr sz="1300" b="1" spc="-40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by</a:t>
              </a:r>
              <a:r>
                <a:rPr sz="1300" b="1" spc="-154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300" b="1" spc="-3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ategory</a:t>
              </a:r>
              <a:endParaRPr sz="1300" b="1" dirty="0">
                <a:latin typeface="Arial Narrow" panose="020B0606020202030204" pitchFamily="34" charset="0"/>
                <a:cs typeface="Trebuchet MS"/>
              </a:endParaRPr>
            </a:p>
            <a:p>
              <a:pPr marR="38662" algn="ctr">
                <a:spcBef>
                  <a:spcPts val="913"/>
                </a:spcBef>
                <a:tabLst>
                  <a:tab pos="558083" algn="l"/>
                  <a:tab pos="787255" algn="l"/>
                  <a:tab pos="1016428" algn="l"/>
                  <a:tab pos="1245600" algn="l"/>
                  <a:tab pos="1475333" algn="l"/>
                </a:tabLst>
              </a:pPr>
              <a:r>
                <a:rPr sz="927" b="1" spc="9" dirty="0">
                  <a:solidFill>
                    <a:srgbClr val="605D5C"/>
                  </a:solidFill>
                  <a:latin typeface="Segoe UI"/>
                  <a:cs typeface="Segoe UI"/>
                </a:rPr>
                <a:t>Rating	</a:t>
              </a:r>
              <a:r>
                <a:rPr sz="927" spc="9" dirty="0">
                  <a:solidFill>
                    <a:srgbClr val="605D5C"/>
                  </a:solidFill>
                  <a:latin typeface="Segoe UI"/>
                  <a:cs typeface="Segoe UI"/>
                </a:rPr>
                <a:t>1	2	3	4	5</a:t>
              </a:r>
              <a:endParaRPr sz="927" dirty="0">
                <a:latin typeface="Segoe UI"/>
                <a:cs typeface="Segoe UI"/>
              </a:endParaRPr>
            </a:p>
          </p:txBody>
        </p:sp>
        <p:pic>
          <p:nvPicPr>
            <p:cNvPr id="444" name="Picture 443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143964" y="3156216"/>
              <a:ext cx="1833096" cy="2978577"/>
            </a:xfrm>
            <a:prstGeom prst="rect">
              <a:avLst/>
            </a:prstGeom>
          </p:spPr>
        </p:pic>
      </p:grpSp>
      <p:grpSp>
        <p:nvGrpSpPr>
          <p:cNvPr id="295" name="Group 294">
            <a:extLst>
              <a:ext uri="{FF2B5EF4-FFF2-40B4-BE49-F238E27FC236}">
                <a16:creationId xmlns:a16="http://schemas.microsoft.com/office/drawing/2014/main" id="{24B46102-3480-41A8-9B5F-67750411668F}"/>
              </a:ext>
            </a:extLst>
          </p:cNvPr>
          <p:cNvGrpSpPr/>
          <p:nvPr/>
        </p:nvGrpSpPr>
        <p:grpSpPr>
          <a:xfrm>
            <a:off x="6816611" y="1000700"/>
            <a:ext cx="4958358" cy="5332958"/>
            <a:chOff x="6586328" y="906522"/>
            <a:chExt cx="4958358" cy="5332958"/>
          </a:xfrm>
        </p:grpSpPr>
        <p:sp>
          <p:nvSpPr>
            <p:cNvPr id="168" name="object 168"/>
            <p:cNvSpPr/>
            <p:nvPr/>
          </p:nvSpPr>
          <p:spPr>
            <a:xfrm>
              <a:off x="6595374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69" name="object 169"/>
            <p:cNvSpPr/>
            <p:nvPr/>
          </p:nvSpPr>
          <p:spPr>
            <a:xfrm>
              <a:off x="6649651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0" name="object 170"/>
            <p:cNvSpPr/>
            <p:nvPr/>
          </p:nvSpPr>
          <p:spPr>
            <a:xfrm>
              <a:off x="6703928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1" name="object 171"/>
            <p:cNvSpPr/>
            <p:nvPr/>
          </p:nvSpPr>
          <p:spPr>
            <a:xfrm>
              <a:off x="6758203" y="6087176"/>
              <a:ext cx="8965" cy="18490"/>
            </a:xfrm>
            <a:custGeom>
              <a:avLst/>
              <a:gdLst/>
              <a:ahLst/>
              <a:cxnLst/>
              <a:rect l="l" t="t" r="r" b="b"/>
              <a:pathLst>
                <a:path w="10159" h="20954">
                  <a:moveTo>
                    <a:pt x="9644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9644" y="0"/>
                  </a:lnTo>
                  <a:lnTo>
                    <a:pt x="9644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4" name="object 184"/>
            <p:cNvSpPr/>
            <p:nvPr/>
          </p:nvSpPr>
          <p:spPr>
            <a:xfrm>
              <a:off x="6595374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5" name="object 185"/>
            <p:cNvSpPr/>
            <p:nvPr/>
          </p:nvSpPr>
          <p:spPr>
            <a:xfrm>
              <a:off x="6649651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6" name="object 186"/>
            <p:cNvSpPr/>
            <p:nvPr/>
          </p:nvSpPr>
          <p:spPr>
            <a:xfrm>
              <a:off x="6703928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7" name="object 187"/>
            <p:cNvSpPr/>
            <p:nvPr/>
          </p:nvSpPr>
          <p:spPr>
            <a:xfrm>
              <a:off x="6758203" y="5606407"/>
              <a:ext cx="8965" cy="18490"/>
            </a:xfrm>
            <a:custGeom>
              <a:avLst/>
              <a:gdLst/>
              <a:ahLst/>
              <a:cxnLst/>
              <a:rect l="l" t="t" r="r" b="b"/>
              <a:pathLst>
                <a:path w="10159" h="20954">
                  <a:moveTo>
                    <a:pt x="9644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9644" y="0"/>
                  </a:lnTo>
                  <a:lnTo>
                    <a:pt x="9644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9" name="object 209"/>
            <p:cNvSpPr/>
            <p:nvPr/>
          </p:nvSpPr>
          <p:spPr>
            <a:xfrm>
              <a:off x="6595374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0" name="object 210"/>
            <p:cNvSpPr/>
            <p:nvPr/>
          </p:nvSpPr>
          <p:spPr>
            <a:xfrm>
              <a:off x="6649651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1" name="object 211"/>
            <p:cNvSpPr/>
            <p:nvPr/>
          </p:nvSpPr>
          <p:spPr>
            <a:xfrm>
              <a:off x="6703928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2" name="object 212"/>
            <p:cNvSpPr/>
            <p:nvPr/>
          </p:nvSpPr>
          <p:spPr>
            <a:xfrm>
              <a:off x="6758203" y="5125639"/>
              <a:ext cx="8965" cy="18490"/>
            </a:xfrm>
            <a:custGeom>
              <a:avLst/>
              <a:gdLst/>
              <a:ahLst/>
              <a:cxnLst/>
              <a:rect l="l" t="t" r="r" b="b"/>
              <a:pathLst>
                <a:path w="10159" h="20954">
                  <a:moveTo>
                    <a:pt x="9644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9644" y="0"/>
                  </a:lnTo>
                  <a:lnTo>
                    <a:pt x="9644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0" name="object 250"/>
            <p:cNvSpPr/>
            <p:nvPr/>
          </p:nvSpPr>
          <p:spPr>
            <a:xfrm>
              <a:off x="6595374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1" name="object 251"/>
            <p:cNvSpPr/>
            <p:nvPr/>
          </p:nvSpPr>
          <p:spPr>
            <a:xfrm>
              <a:off x="6649651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2" name="object 252"/>
            <p:cNvSpPr/>
            <p:nvPr/>
          </p:nvSpPr>
          <p:spPr>
            <a:xfrm>
              <a:off x="6703928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3" name="object 253"/>
            <p:cNvSpPr/>
            <p:nvPr/>
          </p:nvSpPr>
          <p:spPr>
            <a:xfrm>
              <a:off x="6758203" y="4644871"/>
              <a:ext cx="8965" cy="18490"/>
            </a:xfrm>
            <a:custGeom>
              <a:avLst/>
              <a:gdLst/>
              <a:ahLst/>
              <a:cxnLst/>
              <a:rect l="l" t="t" r="r" b="b"/>
              <a:pathLst>
                <a:path w="10159" h="20954">
                  <a:moveTo>
                    <a:pt x="9644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9644" y="0"/>
                  </a:lnTo>
                  <a:lnTo>
                    <a:pt x="9644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5" name="object 265"/>
            <p:cNvSpPr/>
            <p:nvPr/>
          </p:nvSpPr>
          <p:spPr>
            <a:xfrm>
              <a:off x="6961384" y="1134561"/>
              <a:ext cx="993962" cy="18490"/>
            </a:xfrm>
            <a:custGeom>
              <a:avLst/>
              <a:gdLst/>
              <a:ahLst/>
              <a:cxnLst/>
              <a:rect l="l" t="t" r="r" b="b"/>
              <a:pathLst>
                <a:path w="1126490" h="20955">
                  <a:moveTo>
                    <a:pt x="1126331" y="20478"/>
                  </a:moveTo>
                  <a:lnTo>
                    <a:pt x="0" y="20478"/>
                  </a:lnTo>
                  <a:lnTo>
                    <a:pt x="0" y="0"/>
                  </a:lnTo>
                  <a:lnTo>
                    <a:pt x="1126331" y="0"/>
                  </a:lnTo>
                  <a:lnTo>
                    <a:pt x="1126331" y="20478"/>
                  </a:lnTo>
                  <a:close/>
                </a:path>
              </a:pathLst>
            </a:custGeom>
            <a:solidFill>
              <a:srgbClr val="118CFF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6" name="object 266"/>
            <p:cNvSpPr txBox="1"/>
            <p:nvPr/>
          </p:nvSpPr>
          <p:spPr>
            <a:xfrm>
              <a:off x="6950179" y="906522"/>
              <a:ext cx="2202516" cy="504693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marL="11206">
                <a:spcBef>
                  <a:spcPts val="124"/>
                </a:spcBef>
                <a:tabLst>
                  <a:tab pos="1148664" algn="l"/>
                </a:tabLst>
              </a:pPr>
              <a:r>
                <a:rPr sz="1103" b="1" spc="13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Key</a:t>
              </a:r>
              <a:r>
                <a:rPr sz="1103" b="1" spc="18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 </a:t>
              </a:r>
              <a:r>
                <a:rPr sz="1103" b="1" spc="13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influencers	</a:t>
              </a:r>
              <a:r>
                <a:rPr sz="1103" b="1" spc="-18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Top</a:t>
              </a:r>
              <a:r>
                <a:rPr sz="1103" b="1" spc="-9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 </a:t>
              </a:r>
              <a:r>
                <a:rPr sz="1103" b="1" spc="18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segments</a:t>
              </a:r>
              <a:endParaRPr sz="1103" dirty="0">
                <a:latin typeface="Segoe UI Semibold"/>
                <a:cs typeface="Segoe UI Semibold"/>
              </a:endParaRPr>
            </a:p>
            <a:p>
              <a:pPr>
                <a:spcBef>
                  <a:spcPts val="44"/>
                </a:spcBef>
              </a:pPr>
              <a:endParaRPr sz="1103" dirty="0">
                <a:latin typeface="Segoe UI Semibold"/>
                <a:cs typeface="Segoe UI Semibold"/>
              </a:endParaRPr>
            </a:p>
            <a:p>
              <a:pPr marL="11206"/>
              <a:r>
                <a:rPr sz="971" spc="13" dirty="0">
                  <a:solidFill>
                    <a:srgbClr val="252423"/>
                  </a:solidFill>
                  <a:latin typeface="Segoe UI"/>
                  <a:cs typeface="Segoe UI"/>
                </a:rPr>
                <a:t>What </a:t>
              </a:r>
              <a:r>
                <a:rPr sz="971" spc="9" dirty="0">
                  <a:solidFill>
                    <a:srgbClr val="252423"/>
                  </a:solidFill>
                  <a:latin typeface="Segoe UI"/>
                  <a:cs typeface="Segoe UI"/>
                </a:rPr>
                <a:t>influences </a:t>
              </a:r>
              <a:r>
                <a:rPr sz="971" spc="4" dirty="0">
                  <a:solidFill>
                    <a:srgbClr val="252423"/>
                  </a:solidFill>
                  <a:latin typeface="Segoe UI"/>
                  <a:cs typeface="Segoe UI"/>
                </a:rPr>
                <a:t>Review </a:t>
              </a:r>
              <a:r>
                <a:rPr sz="971" spc="9" dirty="0">
                  <a:solidFill>
                    <a:srgbClr val="252423"/>
                  </a:solidFill>
                  <a:latin typeface="Segoe UI"/>
                  <a:cs typeface="Segoe UI"/>
                </a:rPr>
                <a:t>Category to</a:t>
              </a:r>
              <a:r>
                <a:rPr sz="971" spc="-13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971" spc="13" dirty="0">
                  <a:solidFill>
                    <a:srgbClr val="252423"/>
                  </a:solidFill>
                  <a:latin typeface="Segoe UI"/>
                  <a:cs typeface="Segoe UI"/>
                </a:rPr>
                <a:t>be</a:t>
              </a:r>
              <a:endParaRPr sz="971" dirty="0">
                <a:latin typeface="Segoe UI"/>
                <a:cs typeface="Segoe UI"/>
              </a:endParaRPr>
            </a:p>
          </p:txBody>
        </p:sp>
        <p:sp>
          <p:nvSpPr>
            <p:cNvPr id="267" name="object 267"/>
            <p:cNvSpPr txBox="1"/>
            <p:nvPr/>
          </p:nvSpPr>
          <p:spPr>
            <a:xfrm>
              <a:off x="10711314" y="1267910"/>
              <a:ext cx="79562" cy="163544"/>
            </a:xfrm>
            <a:prstGeom prst="rect">
              <a:avLst/>
            </a:prstGeom>
          </p:spPr>
          <p:txBody>
            <a:bodyPr vert="horz" wrap="square" lIns="0" tIns="14007" rIns="0" bIns="0" rtlCol="0">
              <a:spAutoFit/>
            </a:bodyPr>
            <a:lstStyle/>
            <a:p>
              <a:pPr marL="11206">
                <a:spcBef>
                  <a:spcPts val="110"/>
                </a:spcBef>
              </a:pPr>
              <a:r>
                <a:rPr sz="971" spc="9" dirty="0">
                  <a:solidFill>
                    <a:srgbClr val="252423"/>
                  </a:solidFill>
                  <a:latin typeface="Segoe UI"/>
                  <a:cs typeface="Segoe UI"/>
                </a:rPr>
                <a:t>?</a:t>
              </a:r>
              <a:endParaRPr sz="971" dirty="0">
                <a:latin typeface="Segoe UI"/>
                <a:cs typeface="Segoe UI"/>
              </a:endParaRPr>
            </a:p>
          </p:txBody>
        </p:sp>
        <p:sp>
          <p:nvSpPr>
            <p:cNvPr id="270" name="object 270"/>
            <p:cNvSpPr txBox="1"/>
            <p:nvPr/>
          </p:nvSpPr>
          <p:spPr>
            <a:xfrm>
              <a:off x="6950179" y="1755787"/>
              <a:ext cx="37371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When...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1" name="object 271"/>
            <p:cNvSpPr txBox="1"/>
            <p:nvPr/>
          </p:nvSpPr>
          <p:spPr>
            <a:xfrm>
              <a:off x="10287386" y="1741331"/>
              <a:ext cx="1257300" cy="447793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11206" marR="4483">
                <a:lnSpc>
                  <a:spcPct val="113199"/>
                </a:lnSpc>
                <a:spcBef>
                  <a:spcPts val="84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....the likelihood of</a:t>
              </a:r>
              <a:r>
                <a:rPr sz="838" spc="-44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dirty="0">
                  <a:solidFill>
                    <a:srgbClr val="252423"/>
                  </a:solidFill>
                  <a:latin typeface="Segoe UI"/>
                  <a:cs typeface="Segoe UI"/>
                </a:rPr>
                <a:t>Review 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Category being Video  </a:t>
              </a:r>
              <a:r>
                <a:rPr sz="838" spc="9" dirty="0">
                  <a:solidFill>
                    <a:srgbClr val="252423"/>
                  </a:solidFill>
                  <a:latin typeface="Segoe UI"/>
                  <a:cs typeface="Segoe UI"/>
                </a:rPr>
                <a:t>Games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increases</a:t>
              </a:r>
              <a:r>
                <a:rPr sz="838" spc="-22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by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2" name="object 272"/>
            <p:cNvSpPr txBox="1"/>
            <p:nvPr/>
          </p:nvSpPr>
          <p:spPr>
            <a:xfrm>
              <a:off x="7058595" y="2373764"/>
              <a:ext cx="1232087" cy="302112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11206" marR="4483">
                <a:lnSpc>
                  <a:spcPct val="113199"/>
                </a:lnSpc>
                <a:spcBef>
                  <a:spcPts val="84"/>
                </a:spcBef>
              </a:pPr>
              <a:r>
                <a:rPr sz="838" dirty="0">
                  <a:solidFill>
                    <a:srgbClr val="252423"/>
                  </a:solidFill>
                  <a:latin typeface="Segoe UI"/>
                  <a:cs typeface="Segoe UI"/>
                </a:rPr>
                <a:t>Word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Count is </a:t>
              </a:r>
              <a:r>
                <a:rPr sz="838" spc="9" dirty="0">
                  <a:solidFill>
                    <a:srgbClr val="252423"/>
                  </a:solidFill>
                  <a:latin typeface="Segoe UI"/>
                  <a:cs typeface="Segoe UI"/>
                </a:rPr>
                <a:t>more</a:t>
              </a:r>
              <a:r>
                <a:rPr sz="838" spc="-62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than  756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3" name="object 273"/>
            <p:cNvSpPr txBox="1"/>
            <p:nvPr/>
          </p:nvSpPr>
          <p:spPr>
            <a:xfrm>
              <a:off x="8594501" y="2388219"/>
              <a:ext cx="229720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  <a:tabLst>
                  <a:tab pos="2285562" algn="l"/>
                </a:tabLst>
              </a:pPr>
              <a:r>
                <a:rPr sz="838" u="sng" dirty="0">
                  <a:solidFill>
                    <a:srgbClr val="252423"/>
                  </a:solidFill>
                  <a:uFill>
                    <a:solidFill>
                      <a:srgbClr val="C7C7C7"/>
                    </a:solidFill>
                  </a:uFill>
                  <a:latin typeface="Times New Roman"/>
                  <a:cs typeface="Times New Roman"/>
                </a:rPr>
                <a:t> 	</a:t>
              </a:r>
              <a:endParaRPr sz="838" dirty="0">
                <a:latin typeface="Times New Roman"/>
                <a:cs typeface="Times New Roman"/>
              </a:endParaRPr>
            </a:p>
          </p:txBody>
        </p:sp>
        <p:sp>
          <p:nvSpPr>
            <p:cNvPr id="274" name="object 274"/>
            <p:cNvSpPr/>
            <p:nvPr/>
          </p:nvSpPr>
          <p:spPr>
            <a:xfrm>
              <a:off x="10855352" y="2300052"/>
              <a:ext cx="542365" cy="470087"/>
            </a:xfrm>
            <a:custGeom>
              <a:avLst/>
              <a:gdLst/>
              <a:ahLst/>
              <a:cxnLst/>
              <a:rect l="l" t="t" r="r" b="b"/>
              <a:pathLst>
                <a:path w="614679" h="532764">
                  <a:moveTo>
                    <a:pt x="81915" y="266217"/>
                  </a:moveTo>
                  <a:lnTo>
                    <a:pt x="0" y="225259"/>
                  </a:lnTo>
                  <a:lnTo>
                    <a:pt x="0" y="307174"/>
                  </a:lnTo>
                  <a:lnTo>
                    <a:pt x="81915" y="266217"/>
                  </a:lnTo>
                  <a:close/>
                </a:path>
                <a:path w="614679" h="532764">
                  <a:moveTo>
                    <a:pt x="614362" y="266217"/>
                  </a:moveTo>
                  <a:lnTo>
                    <a:pt x="611479" y="227152"/>
                  </a:lnTo>
                  <a:lnTo>
                    <a:pt x="602907" y="188937"/>
                  </a:lnTo>
                  <a:lnTo>
                    <a:pt x="588810" y="152400"/>
                  </a:lnTo>
                  <a:lnTo>
                    <a:pt x="569493" y="118313"/>
                  </a:lnTo>
                  <a:lnTo>
                    <a:pt x="545401" y="87439"/>
                  </a:lnTo>
                  <a:lnTo>
                    <a:pt x="517029" y="60426"/>
                  </a:lnTo>
                  <a:lnTo>
                    <a:pt x="485013" y="37871"/>
                  </a:lnTo>
                  <a:lnTo>
                    <a:pt x="450024" y="20256"/>
                  </a:lnTo>
                  <a:lnTo>
                    <a:pt x="412826" y="7975"/>
                  </a:lnTo>
                  <a:lnTo>
                    <a:pt x="374230" y="1282"/>
                  </a:lnTo>
                  <a:lnTo>
                    <a:pt x="348145" y="0"/>
                  </a:lnTo>
                  <a:lnTo>
                    <a:pt x="335076" y="317"/>
                  </a:lnTo>
                  <a:lnTo>
                    <a:pt x="296202" y="5105"/>
                  </a:lnTo>
                  <a:lnTo>
                    <a:pt x="258457" y="15557"/>
                  </a:lnTo>
                  <a:lnTo>
                    <a:pt x="222643" y="31432"/>
                  </a:lnTo>
                  <a:lnTo>
                    <a:pt x="189547" y="52387"/>
                  </a:lnTo>
                  <a:lnTo>
                    <a:pt x="159893" y="77965"/>
                  </a:lnTo>
                  <a:lnTo>
                    <a:pt x="134302" y="107632"/>
                  </a:lnTo>
                  <a:lnTo>
                    <a:pt x="113347" y="140716"/>
                  </a:lnTo>
                  <a:lnTo>
                    <a:pt x="97485" y="176530"/>
                  </a:lnTo>
                  <a:lnTo>
                    <a:pt x="87033" y="214287"/>
                  </a:lnTo>
                  <a:lnTo>
                    <a:pt x="82232" y="253161"/>
                  </a:lnTo>
                  <a:lnTo>
                    <a:pt x="81915" y="266217"/>
                  </a:lnTo>
                  <a:lnTo>
                    <a:pt x="82232" y="279285"/>
                  </a:lnTo>
                  <a:lnTo>
                    <a:pt x="87033" y="318160"/>
                  </a:lnTo>
                  <a:lnTo>
                    <a:pt x="97485" y="355904"/>
                  </a:lnTo>
                  <a:lnTo>
                    <a:pt x="113347" y="391718"/>
                  </a:lnTo>
                  <a:lnTo>
                    <a:pt x="134302" y="424815"/>
                  </a:lnTo>
                  <a:lnTo>
                    <a:pt x="159893" y="454469"/>
                  </a:lnTo>
                  <a:lnTo>
                    <a:pt x="189547" y="480047"/>
                  </a:lnTo>
                  <a:lnTo>
                    <a:pt x="222643" y="501002"/>
                  </a:lnTo>
                  <a:lnTo>
                    <a:pt x="258457" y="516877"/>
                  </a:lnTo>
                  <a:lnTo>
                    <a:pt x="296202" y="527329"/>
                  </a:lnTo>
                  <a:lnTo>
                    <a:pt x="335076" y="532117"/>
                  </a:lnTo>
                  <a:lnTo>
                    <a:pt x="348145" y="532447"/>
                  </a:lnTo>
                  <a:lnTo>
                    <a:pt x="361200" y="532117"/>
                  </a:lnTo>
                  <a:lnTo>
                    <a:pt x="400075" y="527329"/>
                  </a:lnTo>
                  <a:lnTo>
                    <a:pt x="437832" y="516877"/>
                  </a:lnTo>
                  <a:lnTo>
                    <a:pt x="473633" y="501002"/>
                  </a:lnTo>
                  <a:lnTo>
                    <a:pt x="506730" y="480047"/>
                  </a:lnTo>
                  <a:lnTo>
                    <a:pt x="536384" y="454469"/>
                  </a:lnTo>
                  <a:lnTo>
                    <a:pt x="561975" y="424815"/>
                  </a:lnTo>
                  <a:lnTo>
                    <a:pt x="582930" y="391718"/>
                  </a:lnTo>
                  <a:lnTo>
                    <a:pt x="598805" y="355904"/>
                  </a:lnTo>
                  <a:lnTo>
                    <a:pt x="609244" y="318160"/>
                  </a:lnTo>
                  <a:lnTo>
                    <a:pt x="614045" y="279285"/>
                  </a:lnTo>
                  <a:lnTo>
                    <a:pt x="614362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75" name="object 275"/>
            <p:cNvSpPr txBox="1"/>
            <p:nvPr/>
          </p:nvSpPr>
          <p:spPr>
            <a:xfrm>
              <a:off x="11030353" y="2460497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3.82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6" name="object 276"/>
            <p:cNvSpPr txBox="1"/>
            <p:nvPr/>
          </p:nvSpPr>
          <p:spPr>
            <a:xfrm>
              <a:off x="7058596" y="2951987"/>
              <a:ext cx="1162610" cy="302112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11206" marR="4483">
                <a:lnSpc>
                  <a:spcPct val="113199"/>
                </a:lnSpc>
                <a:spcBef>
                  <a:spcPts val="84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Sentence Count is</a:t>
              </a:r>
              <a:r>
                <a:rPr sz="838" spc="-49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9" dirty="0">
                  <a:solidFill>
                    <a:srgbClr val="252423"/>
                  </a:solidFill>
                  <a:latin typeface="Segoe UI"/>
                  <a:cs typeface="Segoe UI"/>
                </a:rPr>
                <a:t>more 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than</a:t>
              </a:r>
              <a:r>
                <a:rPr sz="838" spc="-4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17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7" name="object 277"/>
            <p:cNvSpPr txBox="1"/>
            <p:nvPr/>
          </p:nvSpPr>
          <p:spPr>
            <a:xfrm>
              <a:off x="8594502" y="2966443"/>
              <a:ext cx="1944781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  <a:tabLst>
                  <a:tab pos="1933118" algn="l"/>
                </a:tabLst>
              </a:pPr>
              <a:r>
                <a:rPr sz="838" u="sng" dirty="0">
                  <a:solidFill>
                    <a:srgbClr val="252423"/>
                  </a:solidFill>
                  <a:uFill>
                    <a:solidFill>
                      <a:srgbClr val="C7C7C7"/>
                    </a:solidFill>
                  </a:uFill>
                  <a:latin typeface="Times New Roman"/>
                  <a:cs typeface="Times New Roman"/>
                </a:rPr>
                <a:t> 	</a:t>
              </a:r>
              <a:endParaRPr sz="838" dirty="0">
                <a:latin typeface="Times New Roman"/>
                <a:cs typeface="Times New Roman"/>
              </a:endParaRPr>
            </a:p>
          </p:txBody>
        </p:sp>
        <p:sp>
          <p:nvSpPr>
            <p:cNvPr id="278" name="object 278"/>
            <p:cNvSpPr/>
            <p:nvPr/>
          </p:nvSpPr>
          <p:spPr>
            <a:xfrm>
              <a:off x="10502993" y="2878275"/>
              <a:ext cx="542365" cy="470087"/>
            </a:xfrm>
            <a:custGeom>
              <a:avLst/>
              <a:gdLst/>
              <a:ahLst/>
              <a:cxnLst/>
              <a:rect l="l" t="t" r="r" b="b"/>
              <a:pathLst>
                <a:path w="614679" h="532764">
                  <a:moveTo>
                    <a:pt x="81915" y="266217"/>
                  </a:moveTo>
                  <a:lnTo>
                    <a:pt x="0" y="225259"/>
                  </a:lnTo>
                  <a:lnTo>
                    <a:pt x="0" y="307174"/>
                  </a:lnTo>
                  <a:lnTo>
                    <a:pt x="81915" y="266217"/>
                  </a:lnTo>
                  <a:close/>
                </a:path>
                <a:path w="614679" h="532764">
                  <a:moveTo>
                    <a:pt x="614362" y="266217"/>
                  </a:moveTo>
                  <a:lnTo>
                    <a:pt x="611492" y="227152"/>
                  </a:lnTo>
                  <a:lnTo>
                    <a:pt x="602907" y="188937"/>
                  </a:lnTo>
                  <a:lnTo>
                    <a:pt x="588810" y="152400"/>
                  </a:lnTo>
                  <a:lnTo>
                    <a:pt x="569506" y="118313"/>
                  </a:lnTo>
                  <a:lnTo>
                    <a:pt x="545401" y="87439"/>
                  </a:lnTo>
                  <a:lnTo>
                    <a:pt x="517029" y="60426"/>
                  </a:lnTo>
                  <a:lnTo>
                    <a:pt x="485013" y="37871"/>
                  </a:lnTo>
                  <a:lnTo>
                    <a:pt x="450024" y="20256"/>
                  </a:lnTo>
                  <a:lnTo>
                    <a:pt x="412826" y="7975"/>
                  </a:lnTo>
                  <a:lnTo>
                    <a:pt x="374243" y="1282"/>
                  </a:lnTo>
                  <a:lnTo>
                    <a:pt x="348145" y="0"/>
                  </a:lnTo>
                  <a:lnTo>
                    <a:pt x="335076" y="317"/>
                  </a:lnTo>
                  <a:lnTo>
                    <a:pt x="296202" y="5105"/>
                  </a:lnTo>
                  <a:lnTo>
                    <a:pt x="258457" y="15557"/>
                  </a:lnTo>
                  <a:lnTo>
                    <a:pt x="222643" y="31432"/>
                  </a:lnTo>
                  <a:lnTo>
                    <a:pt x="189560" y="52387"/>
                  </a:lnTo>
                  <a:lnTo>
                    <a:pt x="159893" y="77965"/>
                  </a:lnTo>
                  <a:lnTo>
                    <a:pt x="134315" y="107632"/>
                  </a:lnTo>
                  <a:lnTo>
                    <a:pt x="113360" y="140728"/>
                  </a:lnTo>
                  <a:lnTo>
                    <a:pt x="97485" y="176530"/>
                  </a:lnTo>
                  <a:lnTo>
                    <a:pt x="87033" y="214287"/>
                  </a:lnTo>
                  <a:lnTo>
                    <a:pt x="82245" y="253161"/>
                  </a:lnTo>
                  <a:lnTo>
                    <a:pt x="81915" y="266217"/>
                  </a:lnTo>
                  <a:lnTo>
                    <a:pt x="82245" y="279285"/>
                  </a:lnTo>
                  <a:lnTo>
                    <a:pt x="87033" y="318160"/>
                  </a:lnTo>
                  <a:lnTo>
                    <a:pt x="97485" y="355904"/>
                  </a:lnTo>
                  <a:lnTo>
                    <a:pt x="113360" y="391718"/>
                  </a:lnTo>
                  <a:lnTo>
                    <a:pt x="134315" y="424815"/>
                  </a:lnTo>
                  <a:lnTo>
                    <a:pt x="159893" y="454469"/>
                  </a:lnTo>
                  <a:lnTo>
                    <a:pt x="189560" y="480047"/>
                  </a:lnTo>
                  <a:lnTo>
                    <a:pt x="222643" y="501002"/>
                  </a:lnTo>
                  <a:lnTo>
                    <a:pt x="258457" y="516877"/>
                  </a:lnTo>
                  <a:lnTo>
                    <a:pt x="296202" y="527329"/>
                  </a:lnTo>
                  <a:lnTo>
                    <a:pt x="335076" y="532117"/>
                  </a:lnTo>
                  <a:lnTo>
                    <a:pt x="348145" y="532447"/>
                  </a:lnTo>
                  <a:lnTo>
                    <a:pt x="361213" y="532117"/>
                  </a:lnTo>
                  <a:lnTo>
                    <a:pt x="400075" y="527329"/>
                  </a:lnTo>
                  <a:lnTo>
                    <a:pt x="437832" y="516877"/>
                  </a:lnTo>
                  <a:lnTo>
                    <a:pt x="473646" y="501002"/>
                  </a:lnTo>
                  <a:lnTo>
                    <a:pt x="506730" y="480047"/>
                  </a:lnTo>
                  <a:lnTo>
                    <a:pt x="536397" y="454469"/>
                  </a:lnTo>
                  <a:lnTo>
                    <a:pt x="561975" y="424815"/>
                  </a:lnTo>
                  <a:lnTo>
                    <a:pt x="582930" y="391718"/>
                  </a:lnTo>
                  <a:lnTo>
                    <a:pt x="598805" y="355904"/>
                  </a:lnTo>
                  <a:lnTo>
                    <a:pt x="609257" y="318160"/>
                  </a:lnTo>
                  <a:lnTo>
                    <a:pt x="614045" y="279285"/>
                  </a:lnTo>
                  <a:lnTo>
                    <a:pt x="614362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79" name="object 279"/>
            <p:cNvSpPr txBox="1"/>
            <p:nvPr/>
          </p:nvSpPr>
          <p:spPr>
            <a:xfrm>
              <a:off x="10674186" y="3038721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3.27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0" name="object 280"/>
            <p:cNvSpPr txBox="1"/>
            <p:nvPr/>
          </p:nvSpPr>
          <p:spPr>
            <a:xfrm>
              <a:off x="7058596" y="3616944"/>
              <a:ext cx="118950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dirty="0">
                  <a:solidFill>
                    <a:srgbClr val="252423"/>
                  </a:solidFill>
                  <a:latin typeface="Segoe UI"/>
                  <a:cs typeface="Segoe UI"/>
                </a:rPr>
                <a:t>Word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Count is 595 -</a:t>
              </a:r>
              <a:r>
                <a:rPr sz="838" spc="-53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756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1" name="object 281"/>
            <p:cNvSpPr/>
            <p:nvPr/>
          </p:nvSpPr>
          <p:spPr>
            <a:xfrm>
              <a:off x="8605703" y="3456499"/>
              <a:ext cx="2005853" cy="470087"/>
            </a:xfrm>
            <a:custGeom>
              <a:avLst/>
              <a:gdLst/>
              <a:ahLst/>
              <a:cxnLst/>
              <a:rect l="l" t="t" r="r" b="b"/>
              <a:pathLst>
                <a:path w="2273300" h="532764">
                  <a:moveTo>
                    <a:pt x="1740687" y="266217"/>
                  </a:moveTo>
                  <a:lnTo>
                    <a:pt x="1658772" y="225259"/>
                  </a:lnTo>
                  <a:lnTo>
                    <a:pt x="1658772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1658772" y="276453"/>
                  </a:lnTo>
                  <a:lnTo>
                    <a:pt x="1658772" y="307174"/>
                  </a:lnTo>
                  <a:lnTo>
                    <a:pt x="1740687" y="266217"/>
                  </a:lnTo>
                  <a:close/>
                </a:path>
                <a:path w="2273300" h="532764">
                  <a:moveTo>
                    <a:pt x="2273135" y="266217"/>
                  </a:moveTo>
                  <a:lnTo>
                    <a:pt x="2270264" y="227152"/>
                  </a:lnTo>
                  <a:lnTo>
                    <a:pt x="2261679" y="188937"/>
                  </a:lnTo>
                  <a:lnTo>
                    <a:pt x="2247582" y="152400"/>
                  </a:lnTo>
                  <a:lnTo>
                    <a:pt x="2228278" y="118313"/>
                  </a:lnTo>
                  <a:lnTo>
                    <a:pt x="2204174" y="87439"/>
                  </a:lnTo>
                  <a:lnTo>
                    <a:pt x="2175802" y="60426"/>
                  </a:lnTo>
                  <a:lnTo>
                    <a:pt x="2143785" y="37871"/>
                  </a:lnTo>
                  <a:lnTo>
                    <a:pt x="2108797" y="20256"/>
                  </a:lnTo>
                  <a:lnTo>
                    <a:pt x="2071598" y="7975"/>
                  </a:lnTo>
                  <a:lnTo>
                    <a:pt x="2033016" y="1282"/>
                  </a:lnTo>
                  <a:lnTo>
                    <a:pt x="2006917" y="0"/>
                  </a:lnTo>
                  <a:lnTo>
                    <a:pt x="1993849" y="317"/>
                  </a:lnTo>
                  <a:lnTo>
                    <a:pt x="1954974" y="5105"/>
                  </a:lnTo>
                  <a:lnTo>
                    <a:pt x="1917230" y="15557"/>
                  </a:lnTo>
                  <a:lnTo>
                    <a:pt x="1881416" y="31432"/>
                  </a:lnTo>
                  <a:lnTo>
                    <a:pt x="1848332" y="52387"/>
                  </a:lnTo>
                  <a:lnTo>
                    <a:pt x="1818665" y="77965"/>
                  </a:lnTo>
                  <a:lnTo>
                    <a:pt x="1793087" y="107632"/>
                  </a:lnTo>
                  <a:lnTo>
                    <a:pt x="1772132" y="140716"/>
                  </a:lnTo>
                  <a:lnTo>
                    <a:pt x="1756257" y="176530"/>
                  </a:lnTo>
                  <a:lnTo>
                    <a:pt x="1745805" y="214287"/>
                  </a:lnTo>
                  <a:lnTo>
                    <a:pt x="1741017" y="253161"/>
                  </a:lnTo>
                  <a:lnTo>
                    <a:pt x="1740687" y="266217"/>
                  </a:lnTo>
                  <a:lnTo>
                    <a:pt x="1741017" y="279285"/>
                  </a:lnTo>
                  <a:lnTo>
                    <a:pt x="1745805" y="318160"/>
                  </a:lnTo>
                  <a:lnTo>
                    <a:pt x="1756257" y="355904"/>
                  </a:lnTo>
                  <a:lnTo>
                    <a:pt x="1772132" y="391718"/>
                  </a:lnTo>
                  <a:lnTo>
                    <a:pt x="1793087" y="424815"/>
                  </a:lnTo>
                  <a:lnTo>
                    <a:pt x="1818665" y="454469"/>
                  </a:lnTo>
                  <a:lnTo>
                    <a:pt x="1848332" y="480047"/>
                  </a:lnTo>
                  <a:lnTo>
                    <a:pt x="1881416" y="501002"/>
                  </a:lnTo>
                  <a:lnTo>
                    <a:pt x="1917230" y="516877"/>
                  </a:lnTo>
                  <a:lnTo>
                    <a:pt x="1954974" y="527329"/>
                  </a:lnTo>
                  <a:lnTo>
                    <a:pt x="1993849" y="532117"/>
                  </a:lnTo>
                  <a:lnTo>
                    <a:pt x="2006917" y="532447"/>
                  </a:lnTo>
                  <a:lnTo>
                    <a:pt x="2019985" y="532117"/>
                  </a:lnTo>
                  <a:lnTo>
                    <a:pt x="2058847" y="527329"/>
                  </a:lnTo>
                  <a:lnTo>
                    <a:pt x="2096604" y="516877"/>
                  </a:lnTo>
                  <a:lnTo>
                    <a:pt x="2132419" y="501002"/>
                  </a:lnTo>
                  <a:lnTo>
                    <a:pt x="2165502" y="480047"/>
                  </a:lnTo>
                  <a:lnTo>
                    <a:pt x="2195169" y="454469"/>
                  </a:lnTo>
                  <a:lnTo>
                    <a:pt x="2220747" y="424815"/>
                  </a:lnTo>
                  <a:lnTo>
                    <a:pt x="2241702" y="391718"/>
                  </a:lnTo>
                  <a:lnTo>
                    <a:pt x="2257577" y="355904"/>
                  </a:lnTo>
                  <a:lnTo>
                    <a:pt x="2268029" y="318160"/>
                  </a:lnTo>
                  <a:lnTo>
                    <a:pt x="2272817" y="279285"/>
                  </a:lnTo>
                  <a:lnTo>
                    <a:pt x="2273135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2" name="object 282"/>
            <p:cNvSpPr txBox="1"/>
            <p:nvPr/>
          </p:nvSpPr>
          <p:spPr>
            <a:xfrm>
              <a:off x="10239530" y="3616944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2.60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3" name="object 283"/>
            <p:cNvSpPr txBox="1"/>
            <p:nvPr/>
          </p:nvSpPr>
          <p:spPr>
            <a:xfrm>
              <a:off x="7058595" y="4195168"/>
              <a:ext cx="130548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Sentence Count is 1 or</a:t>
              </a:r>
              <a:r>
                <a:rPr sz="838" spc="-40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less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4" name="object 284"/>
            <p:cNvSpPr/>
            <p:nvPr/>
          </p:nvSpPr>
          <p:spPr>
            <a:xfrm>
              <a:off x="8605703" y="4034722"/>
              <a:ext cx="1427629" cy="470087"/>
            </a:xfrm>
            <a:custGeom>
              <a:avLst/>
              <a:gdLst/>
              <a:ahLst/>
              <a:cxnLst/>
              <a:rect l="l" t="t" r="r" b="b"/>
              <a:pathLst>
                <a:path w="1617979" h="532764">
                  <a:moveTo>
                    <a:pt x="1085367" y="266217"/>
                  </a:moveTo>
                  <a:lnTo>
                    <a:pt x="1003452" y="225259"/>
                  </a:lnTo>
                  <a:lnTo>
                    <a:pt x="1003452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1003452" y="276453"/>
                  </a:lnTo>
                  <a:lnTo>
                    <a:pt x="1003452" y="307174"/>
                  </a:lnTo>
                  <a:lnTo>
                    <a:pt x="1085367" y="266217"/>
                  </a:lnTo>
                  <a:close/>
                </a:path>
                <a:path w="1617979" h="532764">
                  <a:moveTo>
                    <a:pt x="1617814" y="266217"/>
                  </a:moveTo>
                  <a:lnTo>
                    <a:pt x="1614944" y="227152"/>
                  </a:lnTo>
                  <a:lnTo>
                    <a:pt x="1606359" y="188937"/>
                  </a:lnTo>
                  <a:lnTo>
                    <a:pt x="1592262" y="152400"/>
                  </a:lnTo>
                  <a:lnTo>
                    <a:pt x="1572958" y="118313"/>
                  </a:lnTo>
                  <a:lnTo>
                    <a:pt x="1548853" y="87439"/>
                  </a:lnTo>
                  <a:lnTo>
                    <a:pt x="1520482" y="60426"/>
                  </a:lnTo>
                  <a:lnTo>
                    <a:pt x="1488465" y="37871"/>
                  </a:lnTo>
                  <a:lnTo>
                    <a:pt x="1453476" y="20256"/>
                  </a:lnTo>
                  <a:lnTo>
                    <a:pt x="1416278" y="7975"/>
                  </a:lnTo>
                  <a:lnTo>
                    <a:pt x="1377696" y="1282"/>
                  </a:lnTo>
                  <a:lnTo>
                    <a:pt x="1351597" y="0"/>
                  </a:lnTo>
                  <a:lnTo>
                    <a:pt x="1338529" y="317"/>
                  </a:lnTo>
                  <a:lnTo>
                    <a:pt x="1299654" y="5105"/>
                  </a:lnTo>
                  <a:lnTo>
                    <a:pt x="1261910" y="15557"/>
                  </a:lnTo>
                  <a:lnTo>
                    <a:pt x="1226096" y="31432"/>
                  </a:lnTo>
                  <a:lnTo>
                    <a:pt x="1193012" y="52387"/>
                  </a:lnTo>
                  <a:lnTo>
                    <a:pt x="1163345" y="77965"/>
                  </a:lnTo>
                  <a:lnTo>
                    <a:pt x="1137767" y="107632"/>
                  </a:lnTo>
                  <a:lnTo>
                    <a:pt x="1116812" y="140716"/>
                  </a:lnTo>
                  <a:lnTo>
                    <a:pt x="1100937" y="176530"/>
                  </a:lnTo>
                  <a:lnTo>
                    <a:pt x="1090485" y="214287"/>
                  </a:lnTo>
                  <a:lnTo>
                    <a:pt x="1085697" y="253161"/>
                  </a:lnTo>
                  <a:lnTo>
                    <a:pt x="1085367" y="266217"/>
                  </a:lnTo>
                  <a:lnTo>
                    <a:pt x="1085697" y="279285"/>
                  </a:lnTo>
                  <a:lnTo>
                    <a:pt x="1090485" y="318160"/>
                  </a:lnTo>
                  <a:lnTo>
                    <a:pt x="1100937" y="355904"/>
                  </a:lnTo>
                  <a:lnTo>
                    <a:pt x="1116812" y="391718"/>
                  </a:lnTo>
                  <a:lnTo>
                    <a:pt x="1137767" y="424815"/>
                  </a:lnTo>
                  <a:lnTo>
                    <a:pt x="1163345" y="454469"/>
                  </a:lnTo>
                  <a:lnTo>
                    <a:pt x="1193012" y="480047"/>
                  </a:lnTo>
                  <a:lnTo>
                    <a:pt x="1226096" y="501002"/>
                  </a:lnTo>
                  <a:lnTo>
                    <a:pt x="1261910" y="516877"/>
                  </a:lnTo>
                  <a:lnTo>
                    <a:pt x="1299654" y="527329"/>
                  </a:lnTo>
                  <a:lnTo>
                    <a:pt x="1338529" y="532117"/>
                  </a:lnTo>
                  <a:lnTo>
                    <a:pt x="1351597" y="532447"/>
                  </a:lnTo>
                  <a:lnTo>
                    <a:pt x="1364665" y="532117"/>
                  </a:lnTo>
                  <a:lnTo>
                    <a:pt x="1403527" y="527329"/>
                  </a:lnTo>
                  <a:lnTo>
                    <a:pt x="1441284" y="516877"/>
                  </a:lnTo>
                  <a:lnTo>
                    <a:pt x="1477098" y="501002"/>
                  </a:lnTo>
                  <a:lnTo>
                    <a:pt x="1510182" y="480047"/>
                  </a:lnTo>
                  <a:lnTo>
                    <a:pt x="1539849" y="454469"/>
                  </a:lnTo>
                  <a:lnTo>
                    <a:pt x="1565427" y="424815"/>
                  </a:lnTo>
                  <a:lnTo>
                    <a:pt x="1586382" y="391718"/>
                  </a:lnTo>
                  <a:lnTo>
                    <a:pt x="1602257" y="355904"/>
                  </a:lnTo>
                  <a:lnTo>
                    <a:pt x="1612709" y="318160"/>
                  </a:lnTo>
                  <a:lnTo>
                    <a:pt x="1617497" y="279285"/>
                  </a:lnTo>
                  <a:lnTo>
                    <a:pt x="1617814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5" name="object 285"/>
            <p:cNvSpPr txBox="1"/>
            <p:nvPr/>
          </p:nvSpPr>
          <p:spPr>
            <a:xfrm>
              <a:off x="9666813" y="4195168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73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6" name="object 286"/>
            <p:cNvSpPr txBox="1"/>
            <p:nvPr/>
          </p:nvSpPr>
          <p:spPr>
            <a:xfrm>
              <a:off x="7058596" y="4773391"/>
              <a:ext cx="118950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Sentence Count is 9 -</a:t>
              </a:r>
              <a:r>
                <a:rPr sz="838" spc="-44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17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7" name="object 287"/>
            <p:cNvSpPr/>
            <p:nvPr/>
          </p:nvSpPr>
          <p:spPr>
            <a:xfrm>
              <a:off x="8605703" y="4612946"/>
              <a:ext cx="1364316" cy="470087"/>
            </a:xfrm>
            <a:custGeom>
              <a:avLst/>
              <a:gdLst/>
              <a:ahLst/>
              <a:cxnLst/>
              <a:rect l="l" t="t" r="r" b="b"/>
              <a:pathLst>
                <a:path w="1546225" h="532764">
                  <a:moveTo>
                    <a:pt x="1013701" y="266217"/>
                  </a:moveTo>
                  <a:lnTo>
                    <a:pt x="931786" y="225259"/>
                  </a:lnTo>
                  <a:lnTo>
                    <a:pt x="931786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931786" y="276453"/>
                  </a:lnTo>
                  <a:lnTo>
                    <a:pt x="931786" y="307174"/>
                  </a:lnTo>
                  <a:lnTo>
                    <a:pt x="1013701" y="266217"/>
                  </a:lnTo>
                  <a:close/>
                </a:path>
                <a:path w="1546225" h="532764">
                  <a:moveTo>
                    <a:pt x="1546148" y="266217"/>
                  </a:moveTo>
                  <a:lnTo>
                    <a:pt x="1543265" y="227152"/>
                  </a:lnTo>
                  <a:lnTo>
                    <a:pt x="1534680" y="188937"/>
                  </a:lnTo>
                  <a:lnTo>
                    <a:pt x="1520583" y="152387"/>
                  </a:lnTo>
                  <a:lnTo>
                    <a:pt x="1501279" y="118313"/>
                  </a:lnTo>
                  <a:lnTo>
                    <a:pt x="1477175" y="87439"/>
                  </a:lnTo>
                  <a:lnTo>
                    <a:pt x="1448816" y="60426"/>
                  </a:lnTo>
                  <a:lnTo>
                    <a:pt x="1416786" y="37871"/>
                  </a:lnTo>
                  <a:lnTo>
                    <a:pt x="1381798" y="20256"/>
                  </a:lnTo>
                  <a:lnTo>
                    <a:pt x="1344612" y="7975"/>
                  </a:lnTo>
                  <a:lnTo>
                    <a:pt x="1306017" y="1282"/>
                  </a:lnTo>
                  <a:lnTo>
                    <a:pt x="1279918" y="0"/>
                  </a:lnTo>
                  <a:lnTo>
                    <a:pt x="1266863" y="317"/>
                  </a:lnTo>
                  <a:lnTo>
                    <a:pt x="1227988" y="5105"/>
                  </a:lnTo>
                  <a:lnTo>
                    <a:pt x="1190231" y="15557"/>
                  </a:lnTo>
                  <a:lnTo>
                    <a:pt x="1154430" y="31432"/>
                  </a:lnTo>
                  <a:lnTo>
                    <a:pt x="1121333" y="52387"/>
                  </a:lnTo>
                  <a:lnTo>
                    <a:pt x="1091666" y="77965"/>
                  </a:lnTo>
                  <a:lnTo>
                    <a:pt x="1066088" y="107632"/>
                  </a:lnTo>
                  <a:lnTo>
                    <a:pt x="1045133" y="140716"/>
                  </a:lnTo>
                  <a:lnTo>
                    <a:pt x="1029258" y="176530"/>
                  </a:lnTo>
                  <a:lnTo>
                    <a:pt x="1018806" y="214287"/>
                  </a:lnTo>
                  <a:lnTo>
                    <a:pt x="1014018" y="253161"/>
                  </a:lnTo>
                  <a:lnTo>
                    <a:pt x="1013701" y="266217"/>
                  </a:lnTo>
                  <a:lnTo>
                    <a:pt x="1014018" y="279285"/>
                  </a:lnTo>
                  <a:lnTo>
                    <a:pt x="1018806" y="318160"/>
                  </a:lnTo>
                  <a:lnTo>
                    <a:pt x="1029258" y="355904"/>
                  </a:lnTo>
                  <a:lnTo>
                    <a:pt x="1045133" y="391718"/>
                  </a:lnTo>
                  <a:lnTo>
                    <a:pt x="1066088" y="424815"/>
                  </a:lnTo>
                  <a:lnTo>
                    <a:pt x="1091666" y="454469"/>
                  </a:lnTo>
                  <a:lnTo>
                    <a:pt x="1121333" y="480047"/>
                  </a:lnTo>
                  <a:lnTo>
                    <a:pt x="1154430" y="501002"/>
                  </a:lnTo>
                  <a:lnTo>
                    <a:pt x="1190231" y="516877"/>
                  </a:lnTo>
                  <a:lnTo>
                    <a:pt x="1227988" y="527329"/>
                  </a:lnTo>
                  <a:lnTo>
                    <a:pt x="1266863" y="532117"/>
                  </a:lnTo>
                  <a:lnTo>
                    <a:pt x="1279918" y="532447"/>
                  </a:lnTo>
                  <a:lnTo>
                    <a:pt x="1292987" y="532117"/>
                  </a:lnTo>
                  <a:lnTo>
                    <a:pt x="1331861" y="527329"/>
                  </a:lnTo>
                  <a:lnTo>
                    <a:pt x="1369606" y="516877"/>
                  </a:lnTo>
                  <a:lnTo>
                    <a:pt x="1405420" y="501002"/>
                  </a:lnTo>
                  <a:lnTo>
                    <a:pt x="1438516" y="480047"/>
                  </a:lnTo>
                  <a:lnTo>
                    <a:pt x="1468170" y="454469"/>
                  </a:lnTo>
                  <a:lnTo>
                    <a:pt x="1493748" y="424815"/>
                  </a:lnTo>
                  <a:lnTo>
                    <a:pt x="1514703" y="391718"/>
                  </a:lnTo>
                  <a:lnTo>
                    <a:pt x="1530578" y="355904"/>
                  </a:lnTo>
                  <a:lnTo>
                    <a:pt x="1541030" y="318160"/>
                  </a:lnTo>
                  <a:lnTo>
                    <a:pt x="1545818" y="279285"/>
                  </a:lnTo>
                  <a:lnTo>
                    <a:pt x="1546148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8" name="object 288"/>
            <p:cNvSpPr txBox="1"/>
            <p:nvPr/>
          </p:nvSpPr>
          <p:spPr>
            <a:xfrm>
              <a:off x="9601875" y="4773391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63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9" name="object 289"/>
            <p:cNvSpPr txBox="1"/>
            <p:nvPr/>
          </p:nvSpPr>
          <p:spPr>
            <a:xfrm>
              <a:off x="7058596" y="5351615"/>
              <a:ext cx="118950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dirty="0">
                  <a:solidFill>
                    <a:srgbClr val="252423"/>
                  </a:solidFill>
                  <a:latin typeface="Segoe UI"/>
                  <a:cs typeface="Segoe UI"/>
                </a:rPr>
                <a:t>Word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Count is 195 -</a:t>
              </a:r>
              <a:r>
                <a:rPr sz="838" spc="-53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59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90" name="object 290"/>
            <p:cNvSpPr/>
            <p:nvPr/>
          </p:nvSpPr>
          <p:spPr>
            <a:xfrm>
              <a:off x="8605703" y="5191169"/>
              <a:ext cx="1274109" cy="470087"/>
            </a:xfrm>
            <a:custGeom>
              <a:avLst/>
              <a:gdLst/>
              <a:ahLst/>
              <a:cxnLst/>
              <a:rect l="l" t="t" r="r" b="b"/>
              <a:pathLst>
                <a:path w="1443990" h="532764">
                  <a:moveTo>
                    <a:pt x="911301" y="266217"/>
                  </a:moveTo>
                  <a:lnTo>
                    <a:pt x="829386" y="225259"/>
                  </a:lnTo>
                  <a:lnTo>
                    <a:pt x="829386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829386" y="276453"/>
                  </a:lnTo>
                  <a:lnTo>
                    <a:pt x="829386" y="307174"/>
                  </a:lnTo>
                  <a:lnTo>
                    <a:pt x="911301" y="266217"/>
                  </a:lnTo>
                  <a:close/>
                </a:path>
                <a:path w="1443990" h="532764">
                  <a:moveTo>
                    <a:pt x="1443748" y="266217"/>
                  </a:moveTo>
                  <a:lnTo>
                    <a:pt x="1440865" y="227152"/>
                  </a:lnTo>
                  <a:lnTo>
                    <a:pt x="1432293" y="188937"/>
                  </a:lnTo>
                  <a:lnTo>
                    <a:pt x="1418196" y="152387"/>
                  </a:lnTo>
                  <a:lnTo>
                    <a:pt x="1398879" y="118313"/>
                  </a:lnTo>
                  <a:lnTo>
                    <a:pt x="1374787" y="87439"/>
                  </a:lnTo>
                  <a:lnTo>
                    <a:pt x="1346415" y="60426"/>
                  </a:lnTo>
                  <a:lnTo>
                    <a:pt x="1314399" y="37871"/>
                  </a:lnTo>
                  <a:lnTo>
                    <a:pt x="1279410" y="20256"/>
                  </a:lnTo>
                  <a:lnTo>
                    <a:pt x="1242212" y="7975"/>
                  </a:lnTo>
                  <a:lnTo>
                    <a:pt x="1203617" y="1282"/>
                  </a:lnTo>
                  <a:lnTo>
                    <a:pt x="1177531" y="0"/>
                  </a:lnTo>
                  <a:lnTo>
                    <a:pt x="1164463" y="317"/>
                  </a:lnTo>
                  <a:lnTo>
                    <a:pt x="1125588" y="5105"/>
                  </a:lnTo>
                  <a:lnTo>
                    <a:pt x="1087843" y="15557"/>
                  </a:lnTo>
                  <a:lnTo>
                    <a:pt x="1052029" y="31432"/>
                  </a:lnTo>
                  <a:lnTo>
                    <a:pt x="1018933" y="52387"/>
                  </a:lnTo>
                  <a:lnTo>
                    <a:pt x="989279" y="77965"/>
                  </a:lnTo>
                  <a:lnTo>
                    <a:pt x="963688" y="107632"/>
                  </a:lnTo>
                  <a:lnTo>
                    <a:pt x="942733" y="140716"/>
                  </a:lnTo>
                  <a:lnTo>
                    <a:pt x="926871" y="176530"/>
                  </a:lnTo>
                  <a:lnTo>
                    <a:pt x="916419" y="214287"/>
                  </a:lnTo>
                  <a:lnTo>
                    <a:pt x="911618" y="253161"/>
                  </a:lnTo>
                  <a:lnTo>
                    <a:pt x="911301" y="266217"/>
                  </a:lnTo>
                  <a:lnTo>
                    <a:pt x="911618" y="279285"/>
                  </a:lnTo>
                  <a:lnTo>
                    <a:pt x="916419" y="318160"/>
                  </a:lnTo>
                  <a:lnTo>
                    <a:pt x="926871" y="355904"/>
                  </a:lnTo>
                  <a:lnTo>
                    <a:pt x="942733" y="391718"/>
                  </a:lnTo>
                  <a:lnTo>
                    <a:pt x="963688" y="424802"/>
                  </a:lnTo>
                  <a:lnTo>
                    <a:pt x="989279" y="454469"/>
                  </a:lnTo>
                  <a:lnTo>
                    <a:pt x="1018933" y="480047"/>
                  </a:lnTo>
                  <a:lnTo>
                    <a:pt x="1052029" y="501002"/>
                  </a:lnTo>
                  <a:lnTo>
                    <a:pt x="1087843" y="516877"/>
                  </a:lnTo>
                  <a:lnTo>
                    <a:pt x="1125588" y="527329"/>
                  </a:lnTo>
                  <a:lnTo>
                    <a:pt x="1164463" y="532117"/>
                  </a:lnTo>
                  <a:lnTo>
                    <a:pt x="1177531" y="532447"/>
                  </a:lnTo>
                  <a:lnTo>
                    <a:pt x="1190586" y="532117"/>
                  </a:lnTo>
                  <a:lnTo>
                    <a:pt x="1229461" y="527329"/>
                  </a:lnTo>
                  <a:lnTo>
                    <a:pt x="1267218" y="516877"/>
                  </a:lnTo>
                  <a:lnTo>
                    <a:pt x="1303020" y="501002"/>
                  </a:lnTo>
                  <a:lnTo>
                    <a:pt x="1336116" y="480047"/>
                  </a:lnTo>
                  <a:lnTo>
                    <a:pt x="1365770" y="454469"/>
                  </a:lnTo>
                  <a:lnTo>
                    <a:pt x="1391361" y="424802"/>
                  </a:lnTo>
                  <a:lnTo>
                    <a:pt x="1412316" y="391718"/>
                  </a:lnTo>
                  <a:lnTo>
                    <a:pt x="1428191" y="355904"/>
                  </a:lnTo>
                  <a:lnTo>
                    <a:pt x="1438630" y="318160"/>
                  </a:lnTo>
                  <a:lnTo>
                    <a:pt x="1443431" y="279285"/>
                  </a:lnTo>
                  <a:lnTo>
                    <a:pt x="1443748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1" name="object 291"/>
            <p:cNvSpPr txBox="1"/>
            <p:nvPr/>
          </p:nvSpPr>
          <p:spPr>
            <a:xfrm>
              <a:off x="9507858" y="5351615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48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92" name="object 292"/>
            <p:cNvSpPr txBox="1"/>
            <p:nvPr/>
          </p:nvSpPr>
          <p:spPr>
            <a:xfrm>
              <a:off x="7069801" y="5932468"/>
              <a:ext cx="2582396" cy="139696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>
                <a:spcBef>
                  <a:spcPts val="84"/>
                </a:spcBef>
                <a:tabLst>
                  <a:tab pos="2333189" algn="l"/>
                </a:tabLst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Rating is 4 or less	</a:t>
              </a: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30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93" name="object 293"/>
            <p:cNvSpPr/>
            <p:nvPr/>
          </p:nvSpPr>
          <p:spPr>
            <a:xfrm>
              <a:off x="8605703" y="5769393"/>
              <a:ext cx="1156447" cy="470087"/>
            </a:xfrm>
            <a:custGeom>
              <a:avLst/>
              <a:gdLst/>
              <a:ahLst/>
              <a:cxnLst/>
              <a:rect l="l" t="t" r="r" b="b"/>
              <a:pathLst>
                <a:path w="1310640" h="532765">
                  <a:moveTo>
                    <a:pt x="778192" y="266217"/>
                  </a:moveTo>
                  <a:lnTo>
                    <a:pt x="696277" y="225259"/>
                  </a:lnTo>
                  <a:lnTo>
                    <a:pt x="696277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696277" y="276453"/>
                  </a:lnTo>
                  <a:lnTo>
                    <a:pt x="696277" y="307174"/>
                  </a:lnTo>
                  <a:lnTo>
                    <a:pt x="778192" y="266217"/>
                  </a:lnTo>
                  <a:close/>
                </a:path>
                <a:path w="1310640" h="532765">
                  <a:moveTo>
                    <a:pt x="1310640" y="266217"/>
                  </a:moveTo>
                  <a:lnTo>
                    <a:pt x="1307757" y="227152"/>
                  </a:lnTo>
                  <a:lnTo>
                    <a:pt x="1299171" y="188937"/>
                  </a:lnTo>
                  <a:lnTo>
                    <a:pt x="1285074" y="152387"/>
                  </a:lnTo>
                  <a:lnTo>
                    <a:pt x="1265770" y="118313"/>
                  </a:lnTo>
                  <a:lnTo>
                    <a:pt x="1241679" y="87439"/>
                  </a:lnTo>
                  <a:lnTo>
                    <a:pt x="1213307" y="60426"/>
                  </a:lnTo>
                  <a:lnTo>
                    <a:pt x="1181277" y="37871"/>
                  </a:lnTo>
                  <a:lnTo>
                    <a:pt x="1146289" y="20256"/>
                  </a:lnTo>
                  <a:lnTo>
                    <a:pt x="1109103" y="7975"/>
                  </a:lnTo>
                  <a:lnTo>
                    <a:pt x="1070508" y="1282"/>
                  </a:lnTo>
                  <a:lnTo>
                    <a:pt x="1044409" y="0"/>
                  </a:lnTo>
                  <a:lnTo>
                    <a:pt x="1031354" y="317"/>
                  </a:lnTo>
                  <a:lnTo>
                    <a:pt x="992479" y="5105"/>
                  </a:lnTo>
                  <a:lnTo>
                    <a:pt x="954722" y="15557"/>
                  </a:lnTo>
                  <a:lnTo>
                    <a:pt x="918921" y="31432"/>
                  </a:lnTo>
                  <a:lnTo>
                    <a:pt x="885825" y="52387"/>
                  </a:lnTo>
                  <a:lnTo>
                    <a:pt x="856170" y="77965"/>
                  </a:lnTo>
                  <a:lnTo>
                    <a:pt x="830580" y="107632"/>
                  </a:lnTo>
                  <a:lnTo>
                    <a:pt x="809625" y="140716"/>
                  </a:lnTo>
                  <a:lnTo>
                    <a:pt x="793750" y="176530"/>
                  </a:lnTo>
                  <a:lnTo>
                    <a:pt x="783310" y="214287"/>
                  </a:lnTo>
                  <a:lnTo>
                    <a:pt x="778510" y="253161"/>
                  </a:lnTo>
                  <a:lnTo>
                    <a:pt x="778192" y="266217"/>
                  </a:lnTo>
                  <a:lnTo>
                    <a:pt x="778510" y="279285"/>
                  </a:lnTo>
                  <a:lnTo>
                    <a:pt x="783310" y="318160"/>
                  </a:lnTo>
                  <a:lnTo>
                    <a:pt x="793750" y="355904"/>
                  </a:lnTo>
                  <a:lnTo>
                    <a:pt x="809625" y="391718"/>
                  </a:lnTo>
                  <a:lnTo>
                    <a:pt x="830580" y="424802"/>
                  </a:lnTo>
                  <a:lnTo>
                    <a:pt x="856170" y="454469"/>
                  </a:lnTo>
                  <a:lnTo>
                    <a:pt x="885825" y="480047"/>
                  </a:lnTo>
                  <a:lnTo>
                    <a:pt x="918921" y="501002"/>
                  </a:lnTo>
                  <a:lnTo>
                    <a:pt x="954722" y="516877"/>
                  </a:lnTo>
                  <a:lnTo>
                    <a:pt x="992479" y="527329"/>
                  </a:lnTo>
                  <a:lnTo>
                    <a:pt x="1031354" y="532117"/>
                  </a:lnTo>
                  <a:lnTo>
                    <a:pt x="1044409" y="532447"/>
                  </a:lnTo>
                  <a:lnTo>
                    <a:pt x="1057478" y="532117"/>
                  </a:lnTo>
                  <a:lnTo>
                    <a:pt x="1096352" y="527329"/>
                  </a:lnTo>
                  <a:lnTo>
                    <a:pt x="1134097" y="516877"/>
                  </a:lnTo>
                  <a:lnTo>
                    <a:pt x="1169911" y="501002"/>
                  </a:lnTo>
                  <a:lnTo>
                    <a:pt x="1203007" y="480047"/>
                  </a:lnTo>
                  <a:lnTo>
                    <a:pt x="1232662" y="454469"/>
                  </a:lnTo>
                  <a:lnTo>
                    <a:pt x="1258252" y="424802"/>
                  </a:lnTo>
                  <a:lnTo>
                    <a:pt x="1279207" y="391718"/>
                  </a:lnTo>
                  <a:lnTo>
                    <a:pt x="1295082" y="355904"/>
                  </a:lnTo>
                  <a:lnTo>
                    <a:pt x="1305521" y="318160"/>
                  </a:lnTo>
                  <a:lnTo>
                    <a:pt x="1310322" y="279285"/>
                  </a:lnTo>
                  <a:lnTo>
                    <a:pt x="1310640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7" name="object 297"/>
            <p:cNvSpPr txBox="1"/>
            <p:nvPr/>
          </p:nvSpPr>
          <p:spPr>
            <a:xfrm>
              <a:off x="9233622" y="1256530"/>
              <a:ext cx="1391771" cy="199101"/>
            </a:xfrm>
            <a:prstGeom prst="rect">
              <a:avLst/>
            </a:prstGeom>
            <a:ln w="10239">
              <a:solidFill>
                <a:srgbClr val="E9E9E9"/>
              </a:solidFill>
            </a:ln>
          </p:spPr>
          <p:txBody>
            <a:bodyPr vert="horz" wrap="square" lIns="0" tIns="69476" rIns="0" bIns="0" rtlCol="0">
              <a:spAutoFit/>
            </a:bodyPr>
            <a:lstStyle/>
            <a:p>
              <a:pPr marL="52110">
                <a:spcBef>
                  <a:spcPts val="547"/>
                </a:spcBef>
                <a:tabLst>
                  <a:tab pos="1235514" algn="l"/>
                </a:tabLst>
              </a:pPr>
              <a:r>
                <a:rPr sz="1257" spc="6" baseline="5847" dirty="0">
                  <a:solidFill>
                    <a:srgbClr val="605D5C"/>
                  </a:solidFill>
                  <a:latin typeface="Segoe UI"/>
                  <a:cs typeface="Segoe UI"/>
                </a:rPr>
                <a:t>Video </a:t>
              </a:r>
              <a:r>
                <a:rPr sz="1257" spc="13" baseline="5847" dirty="0">
                  <a:solidFill>
                    <a:srgbClr val="605D5C"/>
                  </a:solidFill>
                  <a:latin typeface="Segoe UI"/>
                  <a:cs typeface="Segoe UI"/>
                </a:rPr>
                <a:t>Games	</a:t>
              </a:r>
              <a:r>
                <a:rPr sz="838" spc="13" dirty="0">
                  <a:solidFill>
                    <a:srgbClr val="605D5C"/>
                  </a:solidFill>
                  <a:latin typeface="Segoe MDL2 Assets"/>
                  <a:cs typeface="Segoe MDL2 Assets"/>
                </a:rPr>
                <a:t></a:t>
              </a:r>
              <a:endParaRPr sz="838" dirty="0">
                <a:latin typeface="Segoe MDL2 Assets"/>
                <a:cs typeface="Segoe MDL2 Assets"/>
              </a:endParaRPr>
            </a:p>
          </p:txBody>
        </p:sp>
        <p:sp>
          <p:nvSpPr>
            <p:cNvPr id="322" name="object 322"/>
            <p:cNvSpPr/>
            <p:nvPr/>
          </p:nvSpPr>
          <p:spPr>
            <a:xfrm>
              <a:off x="6586328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3" name="object 323"/>
            <p:cNvSpPr/>
            <p:nvPr/>
          </p:nvSpPr>
          <p:spPr>
            <a:xfrm>
              <a:off x="6640605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4" name="object 324"/>
            <p:cNvSpPr/>
            <p:nvPr/>
          </p:nvSpPr>
          <p:spPr>
            <a:xfrm>
              <a:off x="6694882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5" name="object 325"/>
            <p:cNvSpPr/>
            <p:nvPr/>
          </p:nvSpPr>
          <p:spPr>
            <a:xfrm>
              <a:off x="6749158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9" name="object 339"/>
            <p:cNvSpPr/>
            <p:nvPr/>
          </p:nvSpPr>
          <p:spPr>
            <a:xfrm>
              <a:off x="6586328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0" name="object 340"/>
            <p:cNvSpPr/>
            <p:nvPr/>
          </p:nvSpPr>
          <p:spPr>
            <a:xfrm>
              <a:off x="6640605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1" name="object 341"/>
            <p:cNvSpPr/>
            <p:nvPr/>
          </p:nvSpPr>
          <p:spPr>
            <a:xfrm>
              <a:off x="6694882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2" name="object 342"/>
            <p:cNvSpPr/>
            <p:nvPr/>
          </p:nvSpPr>
          <p:spPr>
            <a:xfrm>
              <a:off x="6749158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6" name="object 356"/>
            <p:cNvSpPr/>
            <p:nvPr/>
          </p:nvSpPr>
          <p:spPr>
            <a:xfrm>
              <a:off x="6586328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7" name="object 357"/>
            <p:cNvSpPr/>
            <p:nvPr/>
          </p:nvSpPr>
          <p:spPr>
            <a:xfrm>
              <a:off x="6640605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8" name="object 358"/>
            <p:cNvSpPr/>
            <p:nvPr/>
          </p:nvSpPr>
          <p:spPr>
            <a:xfrm>
              <a:off x="6694882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9" name="object 359"/>
            <p:cNvSpPr/>
            <p:nvPr/>
          </p:nvSpPr>
          <p:spPr>
            <a:xfrm>
              <a:off x="6749158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4" name="object 384"/>
            <p:cNvSpPr/>
            <p:nvPr/>
          </p:nvSpPr>
          <p:spPr>
            <a:xfrm>
              <a:off x="6586328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5" name="object 385"/>
            <p:cNvSpPr/>
            <p:nvPr/>
          </p:nvSpPr>
          <p:spPr>
            <a:xfrm>
              <a:off x="6640605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6" name="object 386"/>
            <p:cNvSpPr/>
            <p:nvPr/>
          </p:nvSpPr>
          <p:spPr>
            <a:xfrm>
              <a:off x="6694882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7" name="object 387"/>
            <p:cNvSpPr/>
            <p:nvPr/>
          </p:nvSpPr>
          <p:spPr>
            <a:xfrm>
              <a:off x="6749158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7" name="object 427"/>
            <p:cNvSpPr/>
            <p:nvPr/>
          </p:nvSpPr>
          <p:spPr>
            <a:xfrm>
              <a:off x="6586328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8" name="object 428"/>
            <p:cNvSpPr/>
            <p:nvPr/>
          </p:nvSpPr>
          <p:spPr>
            <a:xfrm>
              <a:off x="664060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9" name="object 429"/>
            <p:cNvSpPr/>
            <p:nvPr/>
          </p:nvSpPr>
          <p:spPr>
            <a:xfrm>
              <a:off x="669488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0" name="object 430"/>
            <p:cNvSpPr/>
            <p:nvPr/>
          </p:nvSpPr>
          <p:spPr>
            <a:xfrm>
              <a:off x="6749158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46" name="object 291"/>
            <p:cNvSpPr txBox="1"/>
            <p:nvPr/>
          </p:nvSpPr>
          <p:spPr>
            <a:xfrm>
              <a:off x="9359583" y="5947038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</a:t>
              </a:r>
              <a:r>
                <a:rPr lang="en-US"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30</a:t>
              </a: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x</a:t>
              </a:r>
              <a:endParaRPr sz="838" dirty="0">
                <a:latin typeface="Segoe UI"/>
                <a:cs typeface="Segoe UI"/>
              </a:endParaRPr>
            </a:p>
          </p:txBody>
        </p:sp>
      </p:grpSp>
      <p:cxnSp>
        <p:nvCxnSpPr>
          <p:cNvPr id="442" name="Google Shape;1480;p34">
            <a:extLst>
              <a:ext uri="{FF2B5EF4-FFF2-40B4-BE49-F238E27FC236}">
                <a16:creationId xmlns:a16="http://schemas.microsoft.com/office/drawing/2014/main" id="{EC41D936-77D9-496A-9093-4698CBA1B51E}"/>
              </a:ext>
            </a:extLst>
          </p:cNvPr>
          <p:cNvCxnSpPr>
            <a:cxnSpLocks/>
          </p:cNvCxnSpPr>
          <p:nvPr/>
        </p:nvCxnSpPr>
        <p:spPr>
          <a:xfrm>
            <a:off x="156721" y="486157"/>
            <a:ext cx="1017334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45" name="Google Shape;1480;p34">
            <a:extLst>
              <a:ext uri="{FF2B5EF4-FFF2-40B4-BE49-F238E27FC236}">
                <a16:creationId xmlns:a16="http://schemas.microsoft.com/office/drawing/2014/main" id="{FD83C01B-3AF1-42FF-887F-8E345787B0D6}"/>
              </a:ext>
            </a:extLst>
          </p:cNvPr>
          <p:cNvCxnSpPr>
            <a:cxnSpLocks/>
          </p:cNvCxnSpPr>
          <p:nvPr/>
        </p:nvCxnSpPr>
        <p:spPr>
          <a:xfrm>
            <a:off x="5861721" y="486157"/>
            <a:ext cx="6131357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515" name="Picture 2" descr="See the source image">
            <a:extLst>
              <a:ext uri="{FF2B5EF4-FFF2-40B4-BE49-F238E27FC236}">
                <a16:creationId xmlns:a16="http://schemas.microsoft.com/office/drawing/2014/main" id="{4C778EB7-A686-4043-8038-E72BBA0B8F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4770" y="6358988"/>
            <a:ext cx="1620969" cy="52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6" name="Slide Number Placeholder 515">
            <a:extLst>
              <a:ext uri="{FF2B5EF4-FFF2-40B4-BE49-F238E27FC236}">
                <a16:creationId xmlns:a16="http://schemas.microsoft.com/office/drawing/2014/main" id="{8300C116-3226-4065-B6DE-4DAE8D0AB1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5795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5" name="Group 664">
            <a:extLst>
              <a:ext uri="{FF2B5EF4-FFF2-40B4-BE49-F238E27FC236}">
                <a16:creationId xmlns:a16="http://schemas.microsoft.com/office/drawing/2014/main" id="{C18BEB77-4867-4AA8-8F15-584D45A241D0}"/>
              </a:ext>
            </a:extLst>
          </p:cNvPr>
          <p:cNvGrpSpPr/>
          <p:nvPr/>
        </p:nvGrpSpPr>
        <p:grpSpPr>
          <a:xfrm>
            <a:off x="6358444" y="907471"/>
            <a:ext cx="5353543" cy="2562458"/>
            <a:chOff x="6358444" y="907471"/>
            <a:chExt cx="5353543" cy="2562458"/>
          </a:xfrm>
        </p:grpSpPr>
        <p:sp>
          <p:nvSpPr>
            <p:cNvPr id="2" name="object 2"/>
            <p:cNvSpPr/>
            <p:nvPr/>
          </p:nvSpPr>
          <p:spPr>
            <a:xfrm>
              <a:off x="6801828" y="3103662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3" name="object 3"/>
            <p:cNvGrpSpPr/>
            <p:nvPr/>
          </p:nvGrpSpPr>
          <p:grpSpPr>
            <a:xfrm>
              <a:off x="6856063" y="1658724"/>
              <a:ext cx="4835899" cy="1463488"/>
              <a:chOff x="7414604" y="1879887"/>
              <a:chExt cx="5480685" cy="1658620"/>
            </a:xfrm>
          </p:grpSpPr>
          <p:sp>
            <p:nvSpPr>
              <p:cNvPr id="4" name="object 4"/>
              <p:cNvSpPr/>
              <p:nvPr/>
            </p:nvSpPr>
            <p:spPr>
              <a:xfrm>
                <a:off x="7414602" y="3517493"/>
                <a:ext cx="431292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4312920" h="10795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36" y="10236"/>
                    </a:lnTo>
                    <a:lnTo>
                      <a:pt x="10236" y="0"/>
                    </a:lnTo>
                    <a:close/>
                  </a:path>
                  <a:path w="4312920" h="10795">
                    <a:moveTo>
                      <a:pt x="71704" y="0"/>
                    </a:moveTo>
                    <a:lnTo>
                      <a:pt x="61455" y="0"/>
                    </a:lnTo>
                    <a:lnTo>
                      <a:pt x="61455" y="10236"/>
                    </a:lnTo>
                    <a:lnTo>
                      <a:pt x="71704" y="10236"/>
                    </a:lnTo>
                    <a:lnTo>
                      <a:pt x="71704" y="0"/>
                    </a:lnTo>
                    <a:close/>
                  </a:path>
                  <a:path w="4312920" h="10795">
                    <a:moveTo>
                      <a:pt x="133172" y="0"/>
                    </a:moveTo>
                    <a:lnTo>
                      <a:pt x="122923" y="0"/>
                    </a:lnTo>
                    <a:lnTo>
                      <a:pt x="122923" y="10236"/>
                    </a:lnTo>
                    <a:lnTo>
                      <a:pt x="133172" y="10236"/>
                    </a:lnTo>
                    <a:lnTo>
                      <a:pt x="133172" y="0"/>
                    </a:lnTo>
                    <a:close/>
                  </a:path>
                  <a:path w="4312920" h="10795">
                    <a:moveTo>
                      <a:pt x="194640" y="0"/>
                    </a:moveTo>
                    <a:lnTo>
                      <a:pt x="184391" y="0"/>
                    </a:lnTo>
                    <a:lnTo>
                      <a:pt x="184391" y="10236"/>
                    </a:lnTo>
                    <a:lnTo>
                      <a:pt x="194640" y="10236"/>
                    </a:lnTo>
                    <a:lnTo>
                      <a:pt x="194640" y="0"/>
                    </a:lnTo>
                    <a:close/>
                  </a:path>
                  <a:path w="4312920" h="10795">
                    <a:moveTo>
                      <a:pt x="256095" y="0"/>
                    </a:moveTo>
                    <a:lnTo>
                      <a:pt x="245859" y="0"/>
                    </a:lnTo>
                    <a:lnTo>
                      <a:pt x="245859" y="10236"/>
                    </a:lnTo>
                    <a:lnTo>
                      <a:pt x="256095" y="10236"/>
                    </a:lnTo>
                    <a:lnTo>
                      <a:pt x="256095" y="0"/>
                    </a:lnTo>
                    <a:close/>
                  </a:path>
                  <a:path w="4312920" h="10795">
                    <a:moveTo>
                      <a:pt x="317563" y="0"/>
                    </a:moveTo>
                    <a:lnTo>
                      <a:pt x="307327" y="0"/>
                    </a:lnTo>
                    <a:lnTo>
                      <a:pt x="307327" y="10236"/>
                    </a:lnTo>
                    <a:lnTo>
                      <a:pt x="317563" y="10236"/>
                    </a:lnTo>
                    <a:lnTo>
                      <a:pt x="317563" y="0"/>
                    </a:lnTo>
                    <a:close/>
                  </a:path>
                  <a:path w="4312920" h="10795">
                    <a:moveTo>
                      <a:pt x="379031" y="0"/>
                    </a:moveTo>
                    <a:lnTo>
                      <a:pt x="368782" y="0"/>
                    </a:lnTo>
                    <a:lnTo>
                      <a:pt x="368782" y="10236"/>
                    </a:lnTo>
                    <a:lnTo>
                      <a:pt x="379031" y="10236"/>
                    </a:lnTo>
                    <a:lnTo>
                      <a:pt x="379031" y="0"/>
                    </a:lnTo>
                    <a:close/>
                  </a:path>
                  <a:path w="4312920" h="10795">
                    <a:moveTo>
                      <a:pt x="440499" y="0"/>
                    </a:moveTo>
                    <a:lnTo>
                      <a:pt x="430250" y="0"/>
                    </a:lnTo>
                    <a:lnTo>
                      <a:pt x="430250" y="10236"/>
                    </a:lnTo>
                    <a:lnTo>
                      <a:pt x="440499" y="10236"/>
                    </a:lnTo>
                    <a:lnTo>
                      <a:pt x="440499" y="0"/>
                    </a:lnTo>
                    <a:close/>
                  </a:path>
                  <a:path w="4312920" h="10795">
                    <a:moveTo>
                      <a:pt x="501967" y="0"/>
                    </a:moveTo>
                    <a:lnTo>
                      <a:pt x="491718" y="0"/>
                    </a:lnTo>
                    <a:lnTo>
                      <a:pt x="491718" y="10236"/>
                    </a:lnTo>
                    <a:lnTo>
                      <a:pt x="501967" y="10236"/>
                    </a:lnTo>
                    <a:lnTo>
                      <a:pt x="501967" y="0"/>
                    </a:lnTo>
                    <a:close/>
                  </a:path>
                  <a:path w="4312920" h="10795">
                    <a:moveTo>
                      <a:pt x="563422" y="0"/>
                    </a:moveTo>
                    <a:lnTo>
                      <a:pt x="553186" y="0"/>
                    </a:lnTo>
                    <a:lnTo>
                      <a:pt x="553186" y="10236"/>
                    </a:lnTo>
                    <a:lnTo>
                      <a:pt x="563422" y="10236"/>
                    </a:lnTo>
                    <a:lnTo>
                      <a:pt x="563422" y="0"/>
                    </a:lnTo>
                    <a:close/>
                  </a:path>
                  <a:path w="4312920" h="10795">
                    <a:moveTo>
                      <a:pt x="624890" y="0"/>
                    </a:moveTo>
                    <a:lnTo>
                      <a:pt x="614641" y="0"/>
                    </a:lnTo>
                    <a:lnTo>
                      <a:pt x="614641" y="10236"/>
                    </a:lnTo>
                    <a:lnTo>
                      <a:pt x="624890" y="10236"/>
                    </a:lnTo>
                    <a:lnTo>
                      <a:pt x="624890" y="0"/>
                    </a:lnTo>
                    <a:close/>
                  </a:path>
                  <a:path w="4312920" h="10795">
                    <a:moveTo>
                      <a:pt x="686358" y="0"/>
                    </a:moveTo>
                    <a:lnTo>
                      <a:pt x="676109" y="0"/>
                    </a:lnTo>
                    <a:lnTo>
                      <a:pt x="676109" y="10236"/>
                    </a:lnTo>
                    <a:lnTo>
                      <a:pt x="686358" y="10236"/>
                    </a:lnTo>
                    <a:lnTo>
                      <a:pt x="686358" y="0"/>
                    </a:lnTo>
                    <a:close/>
                  </a:path>
                  <a:path w="4312920" h="10795">
                    <a:moveTo>
                      <a:pt x="747826" y="0"/>
                    </a:moveTo>
                    <a:lnTo>
                      <a:pt x="737577" y="0"/>
                    </a:lnTo>
                    <a:lnTo>
                      <a:pt x="737577" y="10236"/>
                    </a:lnTo>
                    <a:lnTo>
                      <a:pt x="747826" y="10236"/>
                    </a:lnTo>
                    <a:lnTo>
                      <a:pt x="747826" y="0"/>
                    </a:lnTo>
                    <a:close/>
                  </a:path>
                  <a:path w="4312920" h="10795">
                    <a:moveTo>
                      <a:pt x="809282" y="0"/>
                    </a:moveTo>
                    <a:lnTo>
                      <a:pt x="799045" y="0"/>
                    </a:lnTo>
                    <a:lnTo>
                      <a:pt x="799045" y="10236"/>
                    </a:lnTo>
                    <a:lnTo>
                      <a:pt x="809282" y="10236"/>
                    </a:lnTo>
                    <a:lnTo>
                      <a:pt x="809282" y="0"/>
                    </a:lnTo>
                    <a:close/>
                  </a:path>
                  <a:path w="4312920" h="10795">
                    <a:moveTo>
                      <a:pt x="870750" y="0"/>
                    </a:moveTo>
                    <a:lnTo>
                      <a:pt x="860513" y="0"/>
                    </a:lnTo>
                    <a:lnTo>
                      <a:pt x="860513" y="10236"/>
                    </a:lnTo>
                    <a:lnTo>
                      <a:pt x="870750" y="10236"/>
                    </a:lnTo>
                    <a:lnTo>
                      <a:pt x="870750" y="0"/>
                    </a:lnTo>
                    <a:close/>
                  </a:path>
                  <a:path w="4312920" h="10795">
                    <a:moveTo>
                      <a:pt x="932218" y="0"/>
                    </a:moveTo>
                    <a:lnTo>
                      <a:pt x="921969" y="0"/>
                    </a:lnTo>
                    <a:lnTo>
                      <a:pt x="921969" y="10236"/>
                    </a:lnTo>
                    <a:lnTo>
                      <a:pt x="932218" y="10236"/>
                    </a:lnTo>
                    <a:lnTo>
                      <a:pt x="932218" y="0"/>
                    </a:lnTo>
                    <a:close/>
                  </a:path>
                  <a:path w="4312920" h="10795">
                    <a:moveTo>
                      <a:pt x="993686" y="0"/>
                    </a:moveTo>
                    <a:lnTo>
                      <a:pt x="983437" y="0"/>
                    </a:lnTo>
                    <a:lnTo>
                      <a:pt x="983437" y="10236"/>
                    </a:lnTo>
                    <a:lnTo>
                      <a:pt x="993686" y="10236"/>
                    </a:lnTo>
                    <a:lnTo>
                      <a:pt x="993686" y="0"/>
                    </a:lnTo>
                    <a:close/>
                  </a:path>
                  <a:path w="4312920" h="10795">
                    <a:moveTo>
                      <a:pt x="1055154" y="0"/>
                    </a:moveTo>
                    <a:lnTo>
                      <a:pt x="1044905" y="0"/>
                    </a:lnTo>
                    <a:lnTo>
                      <a:pt x="1044905" y="10236"/>
                    </a:lnTo>
                    <a:lnTo>
                      <a:pt x="1055154" y="10236"/>
                    </a:lnTo>
                    <a:lnTo>
                      <a:pt x="1055154" y="0"/>
                    </a:lnTo>
                    <a:close/>
                  </a:path>
                  <a:path w="4312920" h="10795">
                    <a:moveTo>
                      <a:pt x="1116609" y="0"/>
                    </a:moveTo>
                    <a:lnTo>
                      <a:pt x="1106373" y="0"/>
                    </a:lnTo>
                    <a:lnTo>
                      <a:pt x="1106373" y="10236"/>
                    </a:lnTo>
                    <a:lnTo>
                      <a:pt x="1116609" y="10236"/>
                    </a:lnTo>
                    <a:lnTo>
                      <a:pt x="1116609" y="0"/>
                    </a:lnTo>
                    <a:close/>
                  </a:path>
                  <a:path w="4312920" h="10795">
                    <a:moveTo>
                      <a:pt x="1178077" y="0"/>
                    </a:moveTo>
                    <a:lnTo>
                      <a:pt x="1167841" y="0"/>
                    </a:lnTo>
                    <a:lnTo>
                      <a:pt x="1167841" y="10236"/>
                    </a:lnTo>
                    <a:lnTo>
                      <a:pt x="1178077" y="10236"/>
                    </a:lnTo>
                    <a:lnTo>
                      <a:pt x="1178077" y="0"/>
                    </a:lnTo>
                    <a:close/>
                  </a:path>
                  <a:path w="4312920" h="10795">
                    <a:moveTo>
                      <a:pt x="1239545" y="0"/>
                    </a:moveTo>
                    <a:lnTo>
                      <a:pt x="1229296" y="0"/>
                    </a:lnTo>
                    <a:lnTo>
                      <a:pt x="1229296" y="10236"/>
                    </a:lnTo>
                    <a:lnTo>
                      <a:pt x="1239545" y="10236"/>
                    </a:lnTo>
                    <a:lnTo>
                      <a:pt x="1239545" y="0"/>
                    </a:lnTo>
                    <a:close/>
                  </a:path>
                  <a:path w="4312920" h="10795">
                    <a:moveTo>
                      <a:pt x="1301013" y="0"/>
                    </a:moveTo>
                    <a:lnTo>
                      <a:pt x="1290764" y="0"/>
                    </a:lnTo>
                    <a:lnTo>
                      <a:pt x="1290764" y="10236"/>
                    </a:lnTo>
                    <a:lnTo>
                      <a:pt x="1301013" y="10236"/>
                    </a:lnTo>
                    <a:lnTo>
                      <a:pt x="1301013" y="0"/>
                    </a:lnTo>
                    <a:close/>
                  </a:path>
                  <a:path w="4312920" h="10795">
                    <a:moveTo>
                      <a:pt x="1362468" y="0"/>
                    </a:moveTo>
                    <a:lnTo>
                      <a:pt x="1352232" y="0"/>
                    </a:lnTo>
                    <a:lnTo>
                      <a:pt x="1352232" y="10236"/>
                    </a:lnTo>
                    <a:lnTo>
                      <a:pt x="1362468" y="10236"/>
                    </a:lnTo>
                    <a:lnTo>
                      <a:pt x="1362468" y="0"/>
                    </a:lnTo>
                    <a:close/>
                  </a:path>
                  <a:path w="4312920" h="10795">
                    <a:moveTo>
                      <a:pt x="1423936" y="0"/>
                    </a:moveTo>
                    <a:lnTo>
                      <a:pt x="1413700" y="0"/>
                    </a:lnTo>
                    <a:lnTo>
                      <a:pt x="1413700" y="10236"/>
                    </a:lnTo>
                    <a:lnTo>
                      <a:pt x="1423936" y="10236"/>
                    </a:lnTo>
                    <a:lnTo>
                      <a:pt x="1423936" y="0"/>
                    </a:lnTo>
                    <a:close/>
                  </a:path>
                  <a:path w="4312920" h="10795">
                    <a:moveTo>
                      <a:pt x="1485404" y="0"/>
                    </a:moveTo>
                    <a:lnTo>
                      <a:pt x="1475155" y="0"/>
                    </a:lnTo>
                    <a:lnTo>
                      <a:pt x="1475155" y="10236"/>
                    </a:lnTo>
                    <a:lnTo>
                      <a:pt x="1485404" y="10236"/>
                    </a:lnTo>
                    <a:lnTo>
                      <a:pt x="1485404" y="0"/>
                    </a:lnTo>
                    <a:close/>
                  </a:path>
                  <a:path w="4312920" h="10795">
                    <a:moveTo>
                      <a:pt x="1546872" y="0"/>
                    </a:moveTo>
                    <a:lnTo>
                      <a:pt x="1536623" y="0"/>
                    </a:lnTo>
                    <a:lnTo>
                      <a:pt x="1536623" y="10236"/>
                    </a:lnTo>
                    <a:lnTo>
                      <a:pt x="1546872" y="10236"/>
                    </a:lnTo>
                    <a:lnTo>
                      <a:pt x="1546872" y="0"/>
                    </a:lnTo>
                    <a:close/>
                  </a:path>
                  <a:path w="4312920" h="10795">
                    <a:moveTo>
                      <a:pt x="1608340" y="0"/>
                    </a:moveTo>
                    <a:lnTo>
                      <a:pt x="1598091" y="0"/>
                    </a:lnTo>
                    <a:lnTo>
                      <a:pt x="1598091" y="10236"/>
                    </a:lnTo>
                    <a:lnTo>
                      <a:pt x="1608340" y="10236"/>
                    </a:lnTo>
                    <a:lnTo>
                      <a:pt x="1608340" y="0"/>
                    </a:lnTo>
                    <a:close/>
                  </a:path>
                  <a:path w="4312920" h="10795">
                    <a:moveTo>
                      <a:pt x="1669796" y="0"/>
                    </a:moveTo>
                    <a:lnTo>
                      <a:pt x="1659559" y="0"/>
                    </a:lnTo>
                    <a:lnTo>
                      <a:pt x="1659559" y="10236"/>
                    </a:lnTo>
                    <a:lnTo>
                      <a:pt x="1669796" y="10236"/>
                    </a:lnTo>
                    <a:lnTo>
                      <a:pt x="1669796" y="0"/>
                    </a:lnTo>
                    <a:close/>
                  </a:path>
                  <a:path w="4312920" h="10795">
                    <a:moveTo>
                      <a:pt x="1731264" y="0"/>
                    </a:moveTo>
                    <a:lnTo>
                      <a:pt x="1721027" y="0"/>
                    </a:lnTo>
                    <a:lnTo>
                      <a:pt x="1721027" y="10236"/>
                    </a:lnTo>
                    <a:lnTo>
                      <a:pt x="1731264" y="10236"/>
                    </a:lnTo>
                    <a:lnTo>
                      <a:pt x="1731264" y="0"/>
                    </a:lnTo>
                    <a:close/>
                  </a:path>
                  <a:path w="4312920" h="10795">
                    <a:moveTo>
                      <a:pt x="1792732" y="0"/>
                    </a:moveTo>
                    <a:lnTo>
                      <a:pt x="1782483" y="0"/>
                    </a:lnTo>
                    <a:lnTo>
                      <a:pt x="1782483" y="10236"/>
                    </a:lnTo>
                    <a:lnTo>
                      <a:pt x="1792732" y="10236"/>
                    </a:lnTo>
                    <a:lnTo>
                      <a:pt x="1792732" y="0"/>
                    </a:lnTo>
                    <a:close/>
                  </a:path>
                  <a:path w="4312920" h="10795">
                    <a:moveTo>
                      <a:pt x="1854200" y="0"/>
                    </a:moveTo>
                    <a:lnTo>
                      <a:pt x="1843951" y="0"/>
                    </a:lnTo>
                    <a:lnTo>
                      <a:pt x="1843951" y="10236"/>
                    </a:lnTo>
                    <a:lnTo>
                      <a:pt x="1854200" y="10236"/>
                    </a:lnTo>
                    <a:lnTo>
                      <a:pt x="1854200" y="0"/>
                    </a:lnTo>
                    <a:close/>
                  </a:path>
                  <a:path w="4312920" h="10795">
                    <a:moveTo>
                      <a:pt x="1915668" y="0"/>
                    </a:moveTo>
                    <a:lnTo>
                      <a:pt x="1905419" y="0"/>
                    </a:lnTo>
                    <a:lnTo>
                      <a:pt x="1905419" y="10236"/>
                    </a:lnTo>
                    <a:lnTo>
                      <a:pt x="1915668" y="10236"/>
                    </a:lnTo>
                    <a:lnTo>
                      <a:pt x="1915668" y="0"/>
                    </a:lnTo>
                    <a:close/>
                  </a:path>
                  <a:path w="4312920" h="10795">
                    <a:moveTo>
                      <a:pt x="1977123" y="0"/>
                    </a:moveTo>
                    <a:lnTo>
                      <a:pt x="1966887" y="0"/>
                    </a:lnTo>
                    <a:lnTo>
                      <a:pt x="1966887" y="10236"/>
                    </a:lnTo>
                    <a:lnTo>
                      <a:pt x="1977123" y="10236"/>
                    </a:lnTo>
                    <a:lnTo>
                      <a:pt x="1977123" y="0"/>
                    </a:lnTo>
                    <a:close/>
                  </a:path>
                  <a:path w="4312920" h="10795">
                    <a:moveTo>
                      <a:pt x="2038591" y="0"/>
                    </a:moveTo>
                    <a:lnTo>
                      <a:pt x="2028342" y="0"/>
                    </a:lnTo>
                    <a:lnTo>
                      <a:pt x="2028342" y="10236"/>
                    </a:lnTo>
                    <a:lnTo>
                      <a:pt x="2038591" y="10236"/>
                    </a:lnTo>
                    <a:lnTo>
                      <a:pt x="2038591" y="0"/>
                    </a:lnTo>
                    <a:close/>
                  </a:path>
                  <a:path w="4312920" h="10795">
                    <a:moveTo>
                      <a:pt x="2100059" y="0"/>
                    </a:moveTo>
                    <a:lnTo>
                      <a:pt x="2089810" y="0"/>
                    </a:lnTo>
                    <a:lnTo>
                      <a:pt x="2089810" y="10236"/>
                    </a:lnTo>
                    <a:lnTo>
                      <a:pt x="2100059" y="10236"/>
                    </a:lnTo>
                    <a:lnTo>
                      <a:pt x="2100059" y="0"/>
                    </a:lnTo>
                    <a:close/>
                  </a:path>
                  <a:path w="4312920" h="10795">
                    <a:moveTo>
                      <a:pt x="2161527" y="0"/>
                    </a:moveTo>
                    <a:lnTo>
                      <a:pt x="2151278" y="0"/>
                    </a:lnTo>
                    <a:lnTo>
                      <a:pt x="2151278" y="10236"/>
                    </a:lnTo>
                    <a:lnTo>
                      <a:pt x="2161527" y="10236"/>
                    </a:lnTo>
                    <a:lnTo>
                      <a:pt x="2161527" y="0"/>
                    </a:lnTo>
                    <a:close/>
                  </a:path>
                  <a:path w="4312920" h="10795">
                    <a:moveTo>
                      <a:pt x="2222982" y="0"/>
                    </a:moveTo>
                    <a:lnTo>
                      <a:pt x="2212746" y="0"/>
                    </a:lnTo>
                    <a:lnTo>
                      <a:pt x="2212746" y="10236"/>
                    </a:lnTo>
                    <a:lnTo>
                      <a:pt x="2222982" y="10236"/>
                    </a:lnTo>
                    <a:lnTo>
                      <a:pt x="2222982" y="0"/>
                    </a:lnTo>
                    <a:close/>
                  </a:path>
                  <a:path w="4312920" h="10795">
                    <a:moveTo>
                      <a:pt x="2284450" y="0"/>
                    </a:moveTo>
                    <a:lnTo>
                      <a:pt x="2274214" y="0"/>
                    </a:lnTo>
                    <a:lnTo>
                      <a:pt x="2274214" y="10236"/>
                    </a:lnTo>
                    <a:lnTo>
                      <a:pt x="2284450" y="10236"/>
                    </a:lnTo>
                    <a:lnTo>
                      <a:pt x="2284450" y="0"/>
                    </a:lnTo>
                    <a:close/>
                  </a:path>
                  <a:path w="4312920" h="10795">
                    <a:moveTo>
                      <a:pt x="2345918" y="0"/>
                    </a:moveTo>
                    <a:lnTo>
                      <a:pt x="2335669" y="0"/>
                    </a:lnTo>
                    <a:lnTo>
                      <a:pt x="2335669" y="10236"/>
                    </a:lnTo>
                    <a:lnTo>
                      <a:pt x="2345918" y="10236"/>
                    </a:lnTo>
                    <a:lnTo>
                      <a:pt x="2345918" y="0"/>
                    </a:lnTo>
                    <a:close/>
                  </a:path>
                  <a:path w="4312920" h="10795">
                    <a:moveTo>
                      <a:pt x="2407386" y="0"/>
                    </a:moveTo>
                    <a:lnTo>
                      <a:pt x="2397137" y="0"/>
                    </a:lnTo>
                    <a:lnTo>
                      <a:pt x="2397137" y="10236"/>
                    </a:lnTo>
                    <a:lnTo>
                      <a:pt x="2407386" y="10236"/>
                    </a:lnTo>
                    <a:lnTo>
                      <a:pt x="2407386" y="0"/>
                    </a:lnTo>
                    <a:close/>
                  </a:path>
                  <a:path w="4312920" h="10795">
                    <a:moveTo>
                      <a:pt x="2468854" y="0"/>
                    </a:moveTo>
                    <a:lnTo>
                      <a:pt x="2458605" y="0"/>
                    </a:lnTo>
                    <a:lnTo>
                      <a:pt x="2458605" y="10236"/>
                    </a:lnTo>
                    <a:lnTo>
                      <a:pt x="2468854" y="10236"/>
                    </a:lnTo>
                    <a:lnTo>
                      <a:pt x="2468854" y="0"/>
                    </a:lnTo>
                    <a:close/>
                  </a:path>
                  <a:path w="4312920" h="10795">
                    <a:moveTo>
                      <a:pt x="2530310" y="0"/>
                    </a:moveTo>
                    <a:lnTo>
                      <a:pt x="2520073" y="0"/>
                    </a:lnTo>
                    <a:lnTo>
                      <a:pt x="2520073" y="10236"/>
                    </a:lnTo>
                    <a:lnTo>
                      <a:pt x="2530310" y="10236"/>
                    </a:lnTo>
                    <a:lnTo>
                      <a:pt x="2530310" y="0"/>
                    </a:lnTo>
                    <a:close/>
                  </a:path>
                  <a:path w="4312920" h="10795">
                    <a:moveTo>
                      <a:pt x="2591778" y="0"/>
                    </a:moveTo>
                    <a:lnTo>
                      <a:pt x="2581541" y="0"/>
                    </a:lnTo>
                    <a:lnTo>
                      <a:pt x="2581541" y="10236"/>
                    </a:lnTo>
                    <a:lnTo>
                      <a:pt x="2591778" y="10236"/>
                    </a:lnTo>
                    <a:lnTo>
                      <a:pt x="2591778" y="0"/>
                    </a:lnTo>
                    <a:close/>
                  </a:path>
                  <a:path w="4312920" h="10795">
                    <a:moveTo>
                      <a:pt x="2653246" y="0"/>
                    </a:moveTo>
                    <a:lnTo>
                      <a:pt x="2642997" y="0"/>
                    </a:lnTo>
                    <a:lnTo>
                      <a:pt x="2642997" y="10236"/>
                    </a:lnTo>
                    <a:lnTo>
                      <a:pt x="2653246" y="10236"/>
                    </a:lnTo>
                    <a:lnTo>
                      <a:pt x="2653246" y="0"/>
                    </a:lnTo>
                    <a:close/>
                  </a:path>
                  <a:path w="4312920" h="10795">
                    <a:moveTo>
                      <a:pt x="2714714" y="0"/>
                    </a:moveTo>
                    <a:lnTo>
                      <a:pt x="2704465" y="0"/>
                    </a:lnTo>
                    <a:lnTo>
                      <a:pt x="2704465" y="10236"/>
                    </a:lnTo>
                    <a:lnTo>
                      <a:pt x="2714714" y="10236"/>
                    </a:lnTo>
                    <a:lnTo>
                      <a:pt x="2714714" y="0"/>
                    </a:lnTo>
                    <a:close/>
                  </a:path>
                  <a:path w="4312920" h="10795">
                    <a:moveTo>
                      <a:pt x="2776182" y="0"/>
                    </a:moveTo>
                    <a:lnTo>
                      <a:pt x="2765933" y="0"/>
                    </a:lnTo>
                    <a:lnTo>
                      <a:pt x="2765933" y="10236"/>
                    </a:lnTo>
                    <a:lnTo>
                      <a:pt x="2776182" y="10236"/>
                    </a:lnTo>
                    <a:lnTo>
                      <a:pt x="2776182" y="0"/>
                    </a:lnTo>
                    <a:close/>
                  </a:path>
                  <a:path w="4312920" h="10795">
                    <a:moveTo>
                      <a:pt x="2837637" y="0"/>
                    </a:moveTo>
                    <a:lnTo>
                      <a:pt x="2827401" y="0"/>
                    </a:lnTo>
                    <a:lnTo>
                      <a:pt x="2827401" y="10236"/>
                    </a:lnTo>
                    <a:lnTo>
                      <a:pt x="2837637" y="10236"/>
                    </a:lnTo>
                    <a:lnTo>
                      <a:pt x="2837637" y="0"/>
                    </a:lnTo>
                    <a:close/>
                  </a:path>
                  <a:path w="4312920" h="10795">
                    <a:moveTo>
                      <a:pt x="2899105" y="0"/>
                    </a:moveTo>
                    <a:lnTo>
                      <a:pt x="2888856" y="0"/>
                    </a:lnTo>
                    <a:lnTo>
                      <a:pt x="2888856" y="10236"/>
                    </a:lnTo>
                    <a:lnTo>
                      <a:pt x="2899105" y="10236"/>
                    </a:lnTo>
                    <a:lnTo>
                      <a:pt x="2899105" y="0"/>
                    </a:lnTo>
                    <a:close/>
                  </a:path>
                  <a:path w="4312920" h="10795">
                    <a:moveTo>
                      <a:pt x="2960573" y="0"/>
                    </a:moveTo>
                    <a:lnTo>
                      <a:pt x="2950324" y="0"/>
                    </a:lnTo>
                    <a:lnTo>
                      <a:pt x="2950324" y="10236"/>
                    </a:lnTo>
                    <a:lnTo>
                      <a:pt x="2960573" y="10236"/>
                    </a:lnTo>
                    <a:lnTo>
                      <a:pt x="2960573" y="0"/>
                    </a:lnTo>
                    <a:close/>
                  </a:path>
                  <a:path w="4312920" h="10795">
                    <a:moveTo>
                      <a:pt x="3022041" y="0"/>
                    </a:moveTo>
                    <a:lnTo>
                      <a:pt x="3011792" y="0"/>
                    </a:lnTo>
                    <a:lnTo>
                      <a:pt x="3011792" y="10236"/>
                    </a:lnTo>
                    <a:lnTo>
                      <a:pt x="3022041" y="10236"/>
                    </a:lnTo>
                    <a:lnTo>
                      <a:pt x="3022041" y="0"/>
                    </a:lnTo>
                    <a:close/>
                  </a:path>
                  <a:path w="4312920" h="10795">
                    <a:moveTo>
                      <a:pt x="3083496" y="0"/>
                    </a:moveTo>
                    <a:lnTo>
                      <a:pt x="3073260" y="0"/>
                    </a:lnTo>
                    <a:lnTo>
                      <a:pt x="3073260" y="10236"/>
                    </a:lnTo>
                    <a:lnTo>
                      <a:pt x="3083496" y="10236"/>
                    </a:lnTo>
                    <a:lnTo>
                      <a:pt x="3083496" y="0"/>
                    </a:lnTo>
                    <a:close/>
                  </a:path>
                  <a:path w="4312920" h="10795">
                    <a:moveTo>
                      <a:pt x="3144964" y="0"/>
                    </a:moveTo>
                    <a:lnTo>
                      <a:pt x="3134728" y="0"/>
                    </a:lnTo>
                    <a:lnTo>
                      <a:pt x="3134728" y="10236"/>
                    </a:lnTo>
                    <a:lnTo>
                      <a:pt x="3144964" y="10236"/>
                    </a:lnTo>
                    <a:lnTo>
                      <a:pt x="3144964" y="0"/>
                    </a:lnTo>
                    <a:close/>
                  </a:path>
                  <a:path w="4312920" h="10795">
                    <a:moveTo>
                      <a:pt x="3206432" y="0"/>
                    </a:moveTo>
                    <a:lnTo>
                      <a:pt x="3196183" y="0"/>
                    </a:lnTo>
                    <a:lnTo>
                      <a:pt x="3196183" y="10236"/>
                    </a:lnTo>
                    <a:lnTo>
                      <a:pt x="3206432" y="10236"/>
                    </a:lnTo>
                    <a:lnTo>
                      <a:pt x="3206432" y="0"/>
                    </a:lnTo>
                    <a:close/>
                  </a:path>
                  <a:path w="4312920" h="10795">
                    <a:moveTo>
                      <a:pt x="3267900" y="0"/>
                    </a:moveTo>
                    <a:lnTo>
                      <a:pt x="3257651" y="0"/>
                    </a:lnTo>
                    <a:lnTo>
                      <a:pt x="3257651" y="10236"/>
                    </a:lnTo>
                    <a:lnTo>
                      <a:pt x="3267900" y="10236"/>
                    </a:lnTo>
                    <a:lnTo>
                      <a:pt x="3267900" y="0"/>
                    </a:lnTo>
                    <a:close/>
                  </a:path>
                  <a:path w="4312920" h="10795">
                    <a:moveTo>
                      <a:pt x="3329368" y="0"/>
                    </a:moveTo>
                    <a:lnTo>
                      <a:pt x="3319119" y="0"/>
                    </a:lnTo>
                    <a:lnTo>
                      <a:pt x="3319119" y="10236"/>
                    </a:lnTo>
                    <a:lnTo>
                      <a:pt x="3329368" y="10236"/>
                    </a:lnTo>
                    <a:lnTo>
                      <a:pt x="3329368" y="0"/>
                    </a:lnTo>
                    <a:close/>
                  </a:path>
                  <a:path w="4312920" h="10795">
                    <a:moveTo>
                      <a:pt x="3390823" y="0"/>
                    </a:moveTo>
                    <a:lnTo>
                      <a:pt x="3380587" y="0"/>
                    </a:lnTo>
                    <a:lnTo>
                      <a:pt x="3380587" y="10236"/>
                    </a:lnTo>
                    <a:lnTo>
                      <a:pt x="3390823" y="10236"/>
                    </a:lnTo>
                    <a:lnTo>
                      <a:pt x="3390823" y="0"/>
                    </a:lnTo>
                    <a:close/>
                  </a:path>
                  <a:path w="4312920" h="10795">
                    <a:moveTo>
                      <a:pt x="3452291" y="0"/>
                    </a:moveTo>
                    <a:lnTo>
                      <a:pt x="3442055" y="0"/>
                    </a:lnTo>
                    <a:lnTo>
                      <a:pt x="3442055" y="10236"/>
                    </a:lnTo>
                    <a:lnTo>
                      <a:pt x="3452291" y="10236"/>
                    </a:lnTo>
                    <a:lnTo>
                      <a:pt x="3452291" y="0"/>
                    </a:lnTo>
                    <a:close/>
                  </a:path>
                  <a:path w="4312920" h="10795">
                    <a:moveTo>
                      <a:pt x="3513759" y="0"/>
                    </a:moveTo>
                    <a:lnTo>
                      <a:pt x="3503511" y="0"/>
                    </a:lnTo>
                    <a:lnTo>
                      <a:pt x="3503511" y="10236"/>
                    </a:lnTo>
                    <a:lnTo>
                      <a:pt x="3513759" y="10236"/>
                    </a:lnTo>
                    <a:lnTo>
                      <a:pt x="3513759" y="0"/>
                    </a:lnTo>
                    <a:close/>
                  </a:path>
                  <a:path w="4312920" h="10795">
                    <a:moveTo>
                      <a:pt x="3575227" y="0"/>
                    </a:moveTo>
                    <a:lnTo>
                      <a:pt x="3564979" y="0"/>
                    </a:lnTo>
                    <a:lnTo>
                      <a:pt x="3564979" y="10236"/>
                    </a:lnTo>
                    <a:lnTo>
                      <a:pt x="3575227" y="10236"/>
                    </a:lnTo>
                    <a:lnTo>
                      <a:pt x="3575227" y="0"/>
                    </a:lnTo>
                    <a:close/>
                  </a:path>
                  <a:path w="4312920" h="10795">
                    <a:moveTo>
                      <a:pt x="3636683" y="0"/>
                    </a:moveTo>
                    <a:lnTo>
                      <a:pt x="3626447" y="0"/>
                    </a:lnTo>
                    <a:lnTo>
                      <a:pt x="3626447" y="10236"/>
                    </a:lnTo>
                    <a:lnTo>
                      <a:pt x="3636683" y="10236"/>
                    </a:lnTo>
                    <a:lnTo>
                      <a:pt x="3636683" y="0"/>
                    </a:lnTo>
                    <a:close/>
                  </a:path>
                  <a:path w="4312920" h="10795">
                    <a:moveTo>
                      <a:pt x="3698151" y="0"/>
                    </a:moveTo>
                    <a:lnTo>
                      <a:pt x="3687915" y="0"/>
                    </a:lnTo>
                    <a:lnTo>
                      <a:pt x="3687915" y="10236"/>
                    </a:lnTo>
                    <a:lnTo>
                      <a:pt x="3698151" y="10236"/>
                    </a:lnTo>
                    <a:lnTo>
                      <a:pt x="3698151" y="0"/>
                    </a:lnTo>
                    <a:close/>
                  </a:path>
                  <a:path w="4312920" h="10795">
                    <a:moveTo>
                      <a:pt x="3759619" y="0"/>
                    </a:moveTo>
                    <a:lnTo>
                      <a:pt x="3749370" y="0"/>
                    </a:lnTo>
                    <a:lnTo>
                      <a:pt x="3749370" y="10236"/>
                    </a:lnTo>
                    <a:lnTo>
                      <a:pt x="3759619" y="10236"/>
                    </a:lnTo>
                    <a:lnTo>
                      <a:pt x="3759619" y="0"/>
                    </a:lnTo>
                    <a:close/>
                  </a:path>
                  <a:path w="4312920" h="10795">
                    <a:moveTo>
                      <a:pt x="3821087" y="0"/>
                    </a:moveTo>
                    <a:lnTo>
                      <a:pt x="3810838" y="0"/>
                    </a:lnTo>
                    <a:lnTo>
                      <a:pt x="3810838" y="10236"/>
                    </a:lnTo>
                    <a:lnTo>
                      <a:pt x="3821087" y="10236"/>
                    </a:lnTo>
                    <a:lnTo>
                      <a:pt x="3821087" y="0"/>
                    </a:lnTo>
                    <a:close/>
                  </a:path>
                  <a:path w="4312920" h="10795">
                    <a:moveTo>
                      <a:pt x="3882555" y="0"/>
                    </a:moveTo>
                    <a:lnTo>
                      <a:pt x="3872306" y="0"/>
                    </a:lnTo>
                    <a:lnTo>
                      <a:pt x="3872306" y="10236"/>
                    </a:lnTo>
                    <a:lnTo>
                      <a:pt x="3882555" y="10236"/>
                    </a:lnTo>
                    <a:lnTo>
                      <a:pt x="3882555" y="0"/>
                    </a:lnTo>
                    <a:close/>
                  </a:path>
                  <a:path w="4312920" h="10795">
                    <a:moveTo>
                      <a:pt x="3944010" y="0"/>
                    </a:moveTo>
                    <a:lnTo>
                      <a:pt x="3933774" y="0"/>
                    </a:lnTo>
                    <a:lnTo>
                      <a:pt x="3933774" y="10236"/>
                    </a:lnTo>
                    <a:lnTo>
                      <a:pt x="3944010" y="10236"/>
                    </a:lnTo>
                    <a:lnTo>
                      <a:pt x="3944010" y="0"/>
                    </a:lnTo>
                    <a:close/>
                  </a:path>
                  <a:path w="4312920" h="10795">
                    <a:moveTo>
                      <a:pt x="4005478" y="0"/>
                    </a:moveTo>
                    <a:lnTo>
                      <a:pt x="3995242" y="0"/>
                    </a:lnTo>
                    <a:lnTo>
                      <a:pt x="3995242" y="10236"/>
                    </a:lnTo>
                    <a:lnTo>
                      <a:pt x="4005478" y="10236"/>
                    </a:lnTo>
                    <a:lnTo>
                      <a:pt x="4005478" y="0"/>
                    </a:lnTo>
                    <a:close/>
                  </a:path>
                  <a:path w="4312920" h="10795">
                    <a:moveTo>
                      <a:pt x="4066946" y="0"/>
                    </a:moveTo>
                    <a:lnTo>
                      <a:pt x="4056697" y="0"/>
                    </a:lnTo>
                    <a:lnTo>
                      <a:pt x="4056697" y="10236"/>
                    </a:lnTo>
                    <a:lnTo>
                      <a:pt x="4066946" y="10236"/>
                    </a:lnTo>
                    <a:lnTo>
                      <a:pt x="4066946" y="0"/>
                    </a:lnTo>
                    <a:close/>
                  </a:path>
                  <a:path w="4312920" h="10795">
                    <a:moveTo>
                      <a:pt x="4128414" y="0"/>
                    </a:moveTo>
                    <a:lnTo>
                      <a:pt x="4118165" y="0"/>
                    </a:lnTo>
                    <a:lnTo>
                      <a:pt x="4118165" y="10236"/>
                    </a:lnTo>
                    <a:lnTo>
                      <a:pt x="4128414" y="10236"/>
                    </a:lnTo>
                    <a:lnTo>
                      <a:pt x="4128414" y="0"/>
                    </a:lnTo>
                    <a:close/>
                  </a:path>
                  <a:path w="4312920" h="10795">
                    <a:moveTo>
                      <a:pt x="4189882" y="0"/>
                    </a:moveTo>
                    <a:lnTo>
                      <a:pt x="4179633" y="0"/>
                    </a:lnTo>
                    <a:lnTo>
                      <a:pt x="4179633" y="10236"/>
                    </a:lnTo>
                    <a:lnTo>
                      <a:pt x="4189882" y="10236"/>
                    </a:lnTo>
                    <a:lnTo>
                      <a:pt x="4189882" y="0"/>
                    </a:lnTo>
                    <a:close/>
                  </a:path>
                  <a:path w="4312920" h="10795">
                    <a:moveTo>
                      <a:pt x="4251337" y="0"/>
                    </a:moveTo>
                    <a:lnTo>
                      <a:pt x="4241101" y="0"/>
                    </a:lnTo>
                    <a:lnTo>
                      <a:pt x="4241101" y="10236"/>
                    </a:lnTo>
                    <a:lnTo>
                      <a:pt x="4251337" y="10236"/>
                    </a:lnTo>
                    <a:lnTo>
                      <a:pt x="4251337" y="0"/>
                    </a:lnTo>
                    <a:close/>
                  </a:path>
                  <a:path w="4312920" h="10795">
                    <a:moveTo>
                      <a:pt x="4312805" y="0"/>
                    </a:moveTo>
                    <a:lnTo>
                      <a:pt x="4302557" y="0"/>
                    </a:lnTo>
                    <a:lnTo>
                      <a:pt x="4302557" y="10236"/>
                    </a:lnTo>
                    <a:lnTo>
                      <a:pt x="4312805" y="10236"/>
                    </a:lnTo>
                    <a:lnTo>
                      <a:pt x="4312805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5" name="object 5"/>
              <p:cNvSpPr/>
              <p:nvPr/>
            </p:nvSpPr>
            <p:spPr>
              <a:xfrm>
                <a:off x="7414602" y="3115728"/>
                <a:ext cx="5480685" cy="412115"/>
              </a:xfrm>
              <a:custGeom>
                <a:avLst/>
                <a:gdLst/>
                <a:ahLst/>
                <a:cxnLst/>
                <a:rect l="l" t="t" r="r" b="b"/>
                <a:pathLst>
                  <a:path w="5480684" h="412114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48"/>
                    </a:lnTo>
                    <a:lnTo>
                      <a:pt x="10236" y="10248"/>
                    </a:lnTo>
                    <a:lnTo>
                      <a:pt x="10236" y="0"/>
                    </a:lnTo>
                    <a:close/>
                  </a:path>
                  <a:path w="5480684" h="412114">
                    <a:moveTo>
                      <a:pt x="71704" y="0"/>
                    </a:moveTo>
                    <a:lnTo>
                      <a:pt x="61455" y="0"/>
                    </a:lnTo>
                    <a:lnTo>
                      <a:pt x="61455" y="10248"/>
                    </a:lnTo>
                    <a:lnTo>
                      <a:pt x="71704" y="10248"/>
                    </a:lnTo>
                    <a:lnTo>
                      <a:pt x="71704" y="0"/>
                    </a:lnTo>
                    <a:close/>
                  </a:path>
                  <a:path w="5480684" h="412114">
                    <a:moveTo>
                      <a:pt x="133172" y="0"/>
                    </a:moveTo>
                    <a:lnTo>
                      <a:pt x="122923" y="0"/>
                    </a:lnTo>
                    <a:lnTo>
                      <a:pt x="122923" y="10248"/>
                    </a:lnTo>
                    <a:lnTo>
                      <a:pt x="133172" y="10248"/>
                    </a:lnTo>
                    <a:lnTo>
                      <a:pt x="133172" y="0"/>
                    </a:lnTo>
                    <a:close/>
                  </a:path>
                  <a:path w="5480684" h="412114">
                    <a:moveTo>
                      <a:pt x="194640" y="0"/>
                    </a:moveTo>
                    <a:lnTo>
                      <a:pt x="184391" y="0"/>
                    </a:lnTo>
                    <a:lnTo>
                      <a:pt x="184391" y="10248"/>
                    </a:lnTo>
                    <a:lnTo>
                      <a:pt x="194640" y="10248"/>
                    </a:lnTo>
                    <a:lnTo>
                      <a:pt x="194640" y="0"/>
                    </a:lnTo>
                    <a:close/>
                  </a:path>
                  <a:path w="5480684" h="412114">
                    <a:moveTo>
                      <a:pt x="256095" y="0"/>
                    </a:moveTo>
                    <a:lnTo>
                      <a:pt x="245859" y="0"/>
                    </a:lnTo>
                    <a:lnTo>
                      <a:pt x="245859" y="10248"/>
                    </a:lnTo>
                    <a:lnTo>
                      <a:pt x="256095" y="10248"/>
                    </a:lnTo>
                    <a:lnTo>
                      <a:pt x="256095" y="0"/>
                    </a:lnTo>
                    <a:close/>
                  </a:path>
                  <a:path w="5480684" h="412114">
                    <a:moveTo>
                      <a:pt x="317563" y="0"/>
                    </a:moveTo>
                    <a:lnTo>
                      <a:pt x="307327" y="0"/>
                    </a:lnTo>
                    <a:lnTo>
                      <a:pt x="307327" y="10248"/>
                    </a:lnTo>
                    <a:lnTo>
                      <a:pt x="317563" y="10248"/>
                    </a:lnTo>
                    <a:lnTo>
                      <a:pt x="317563" y="0"/>
                    </a:lnTo>
                    <a:close/>
                  </a:path>
                  <a:path w="5480684" h="412114">
                    <a:moveTo>
                      <a:pt x="379031" y="0"/>
                    </a:moveTo>
                    <a:lnTo>
                      <a:pt x="368782" y="0"/>
                    </a:lnTo>
                    <a:lnTo>
                      <a:pt x="368782" y="10248"/>
                    </a:lnTo>
                    <a:lnTo>
                      <a:pt x="379031" y="10248"/>
                    </a:lnTo>
                    <a:lnTo>
                      <a:pt x="379031" y="0"/>
                    </a:lnTo>
                    <a:close/>
                  </a:path>
                  <a:path w="5480684" h="412114">
                    <a:moveTo>
                      <a:pt x="440499" y="0"/>
                    </a:moveTo>
                    <a:lnTo>
                      <a:pt x="430250" y="0"/>
                    </a:lnTo>
                    <a:lnTo>
                      <a:pt x="430250" y="10248"/>
                    </a:lnTo>
                    <a:lnTo>
                      <a:pt x="440499" y="10248"/>
                    </a:lnTo>
                    <a:lnTo>
                      <a:pt x="440499" y="0"/>
                    </a:lnTo>
                    <a:close/>
                  </a:path>
                  <a:path w="5480684" h="412114">
                    <a:moveTo>
                      <a:pt x="501967" y="0"/>
                    </a:moveTo>
                    <a:lnTo>
                      <a:pt x="491718" y="0"/>
                    </a:lnTo>
                    <a:lnTo>
                      <a:pt x="491718" y="10248"/>
                    </a:lnTo>
                    <a:lnTo>
                      <a:pt x="501967" y="10248"/>
                    </a:lnTo>
                    <a:lnTo>
                      <a:pt x="501967" y="0"/>
                    </a:lnTo>
                    <a:close/>
                  </a:path>
                  <a:path w="5480684" h="412114">
                    <a:moveTo>
                      <a:pt x="563422" y="0"/>
                    </a:moveTo>
                    <a:lnTo>
                      <a:pt x="553186" y="0"/>
                    </a:lnTo>
                    <a:lnTo>
                      <a:pt x="553186" y="10248"/>
                    </a:lnTo>
                    <a:lnTo>
                      <a:pt x="563422" y="10248"/>
                    </a:lnTo>
                    <a:lnTo>
                      <a:pt x="563422" y="0"/>
                    </a:lnTo>
                    <a:close/>
                  </a:path>
                  <a:path w="5480684" h="412114">
                    <a:moveTo>
                      <a:pt x="624890" y="0"/>
                    </a:moveTo>
                    <a:lnTo>
                      <a:pt x="614641" y="0"/>
                    </a:lnTo>
                    <a:lnTo>
                      <a:pt x="614641" y="10248"/>
                    </a:lnTo>
                    <a:lnTo>
                      <a:pt x="624890" y="10248"/>
                    </a:lnTo>
                    <a:lnTo>
                      <a:pt x="624890" y="0"/>
                    </a:lnTo>
                    <a:close/>
                  </a:path>
                  <a:path w="5480684" h="412114">
                    <a:moveTo>
                      <a:pt x="686358" y="0"/>
                    </a:moveTo>
                    <a:lnTo>
                      <a:pt x="676109" y="0"/>
                    </a:lnTo>
                    <a:lnTo>
                      <a:pt x="676109" y="10248"/>
                    </a:lnTo>
                    <a:lnTo>
                      <a:pt x="686358" y="10248"/>
                    </a:lnTo>
                    <a:lnTo>
                      <a:pt x="686358" y="0"/>
                    </a:lnTo>
                    <a:close/>
                  </a:path>
                  <a:path w="5480684" h="412114">
                    <a:moveTo>
                      <a:pt x="747826" y="0"/>
                    </a:moveTo>
                    <a:lnTo>
                      <a:pt x="737577" y="0"/>
                    </a:lnTo>
                    <a:lnTo>
                      <a:pt x="737577" y="10248"/>
                    </a:lnTo>
                    <a:lnTo>
                      <a:pt x="747826" y="10248"/>
                    </a:lnTo>
                    <a:lnTo>
                      <a:pt x="747826" y="0"/>
                    </a:lnTo>
                    <a:close/>
                  </a:path>
                  <a:path w="5480684" h="412114">
                    <a:moveTo>
                      <a:pt x="809282" y="0"/>
                    </a:moveTo>
                    <a:lnTo>
                      <a:pt x="799045" y="0"/>
                    </a:lnTo>
                    <a:lnTo>
                      <a:pt x="799045" y="10248"/>
                    </a:lnTo>
                    <a:lnTo>
                      <a:pt x="809282" y="10248"/>
                    </a:lnTo>
                    <a:lnTo>
                      <a:pt x="809282" y="0"/>
                    </a:lnTo>
                    <a:close/>
                  </a:path>
                  <a:path w="5480684" h="412114">
                    <a:moveTo>
                      <a:pt x="870750" y="0"/>
                    </a:moveTo>
                    <a:lnTo>
                      <a:pt x="860513" y="0"/>
                    </a:lnTo>
                    <a:lnTo>
                      <a:pt x="860513" y="10248"/>
                    </a:lnTo>
                    <a:lnTo>
                      <a:pt x="870750" y="10248"/>
                    </a:lnTo>
                    <a:lnTo>
                      <a:pt x="870750" y="0"/>
                    </a:lnTo>
                    <a:close/>
                  </a:path>
                  <a:path w="5480684" h="412114">
                    <a:moveTo>
                      <a:pt x="932218" y="0"/>
                    </a:moveTo>
                    <a:lnTo>
                      <a:pt x="921969" y="0"/>
                    </a:lnTo>
                    <a:lnTo>
                      <a:pt x="921969" y="10248"/>
                    </a:lnTo>
                    <a:lnTo>
                      <a:pt x="932218" y="10248"/>
                    </a:lnTo>
                    <a:lnTo>
                      <a:pt x="932218" y="0"/>
                    </a:lnTo>
                    <a:close/>
                  </a:path>
                  <a:path w="5480684" h="412114">
                    <a:moveTo>
                      <a:pt x="993686" y="0"/>
                    </a:moveTo>
                    <a:lnTo>
                      <a:pt x="983437" y="0"/>
                    </a:lnTo>
                    <a:lnTo>
                      <a:pt x="983437" y="10248"/>
                    </a:lnTo>
                    <a:lnTo>
                      <a:pt x="993686" y="10248"/>
                    </a:lnTo>
                    <a:lnTo>
                      <a:pt x="993686" y="0"/>
                    </a:lnTo>
                    <a:close/>
                  </a:path>
                  <a:path w="5480684" h="412114">
                    <a:moveTo>
                      <a:pt x="1055154" y="0"/>
                    </a:moveTo>
                    <a:lnTo>
                      <a:pt x="1044905" y="0"/>
                    </a:lnTo>
                    <a:lnTo>
                      <a:pt x="1044905" y="10248"/>
                    </a:lnTo>
                    <a:lnTo>
                      <a:pt x="1055154" y="10248"/>
                    </a:lnTo>
                    <a:lnTo>
                      <a:pt x="1055154" y="0"/>
                    </a:lnTo>
                    <a:close/>
                  </a:path>
                  <a:path w="5480684" h="412114">
                    <a:moveTo>
                      <a:pt x="1116609" y="0"/>
                    </a:moveTo>
                    <a:lnTo>
                      <a:pt x="1106373" y="0"/>
                    </a:lnTo>
                    <a:lnTo>
                      <a:pt x="1106373" y="10248"/>
                    </a:lnTo>
                    <a:lnTo>
                      <a:pt x="1116609" y="10248"/>
                    </a:lnTo>
                    <a:lnTo>
                      <a:pt x="1116609" y="0"/>
                    </a:lnTo>
                    <a:close/>
                  </a:path>
                  <a:path w="5480684" h="412114">
                    <a:moveTo>
                      <a:pt x="1178077" y="0"/>
                    </a:moveTo>
                    <a:lnTo>
                      <a:pt x="1167841" y="0"/>
                    </a:lnTo>
                    <a:lnTo>
                      <a:pt x="1167841" y="10248"/>
                    </a:lnTo>
                    <a:lnTo>
                      <a:pt x="1178077" y="10248"/>
                    </a:lnTo>
                    <a:lnTo>
                      <a:pt x="1178077" y="0"/>
                    </a:lnTo>
                    <a:close/>
                  </a:path>
                  <a:path w="5480684" h="412114">
                    <a:moveTo>
                      <a:pt x="1239545" y="0"/>
                    </a:moveTo>
                    <a:lnTo>
                      <a:pt x="1229296" y="0"/>
                    </a:lnTo>
                    <a:lnTo>
                      <a:pt x="1229296" y="10248"/>
                    </a:lnTo>
                    <a:lnTo>
                      <a:pt x="1239545" y="10248"/>
                    </a:lnTo>
                    <a:lnTo>
                      <a:pt x="1239545" y="0"/>
                    </a:lnTo>
                    <a:close/>
                  </a:path>
                  <a:path w="5480684" h="412114">
                    <a:moveTo>
                      <a:pt x="1301013" y="0"/>
                    </a:moveTo>
                    <a:lnTo>
                      <a:pt x="1290764" y="0"/>
                    </a:lnTo>
                    <a:lnTo>
                      <a:pt x="1290764" y="10248"/>
                    </a:lnTo>
                    <a:lnTo>
                      <a:pt x="1301013" y="10248"/>
                    </a:lnTo>
                    <a:lnTo>
                      <a:pt x="1301013" y="0"/>
                    </a:lnTo>
                    <a:close/>
                  </a:path>
                  <a:path w="5480684" h="412114">
                    <a:moveTo>
                      <a:pt x="1362468" y="0"/>
                    </a:moveTo>
                    <a:lnTo>
                      <a:pt x="1352232" y="0"/>
                    </a:lnTo>
                    <a:lnTo>
                      <a:pt x="1352232" y="10248"/>
                    </a:lnTo>
                    <a:lnTo>
                      <a:pt x="1362468" y="10248"/>
                    </a:lnTo>
                    <a:lnTo>
                      <a:pt x="1362468" y="0"/>
                    </a:lnTo>
                    <a:close/>
                  </a:path>
                  <a:path w="5480684" h="412114">
                    <a:moveTo>
                      <a:pt x="1423936" y="0"/>
                    </a:moveTo>
                    <a:lnTo>
                      <a:pt x="1413700" y="0"/>
                    </a:lnTo>
                    <a:lnTo>
                      <a:pt x="1413700" y="10248"/>
                    </a:lnTo>
                    <a:lnTo>
                      <a:pt x="1423936" y="10248"/>
                    </a:lnTo>
                    <a:lnTo>
                      <a:pt x="1423936" y="0"/>
                    </a:lnTo>
                    <a:close/>
                  </a:path>
                  <a:path w="5480684" h="412114">
                    <a:moveTo>
                      <a:pt x="1485404" y="0"/>
                    </a:moveTo>
                    <a:lnTo>
                      <a:pt x="1475155" y="0"/>
                    </a:lnTo>
                    <a:lnTo>
                      <a:pt x="1475155" y="10248"/>
                    </a:lnTo>
                    <a:lnTo>
                      <a:pt x="1485404" y="10248"/>
                    </a:lnTo>
                    <a:lnTo>
                      <a:pt x="1485404" y="0"/>
                    </a:lnTo>
                    <a:close/>
                  </a:path>
                  <a:path w="5480684" h="412114">
                    <a:moveTo>
                      <a:pt x="1546872" y="0"/>
                    </a:moveTo>
                    <a:lnTo>
                      <a:pt x="1536623" y="0"/>
                    </a:lnTo>
                    <a:lnTo>
                      <a:pt x="1536623" y="10248"/>
                    </a:lnTo>
                    <a:lnTo>
                      <a:pt x="1546872" y="10248"/>
                    </a:lnTo>
                    <a:lnTo>
                      <a:pt x="1546872" y="0"/>
                    </a:lnTo>
                    <a:close/>
                  </a:path>
                  <a:path w="5480684" h="412114">
                    <a:moveTo>
                      <a:pt x="1608340" y="0"/>
                    </a:moveTo>
                    <a:lnTo>
                      <a:pt x="1598091" y="0"/>
                    </a:lnTo>
                    <a:lnTo>
                      <a:pt x="1598091" y="10248"/>
                    </a:lnTo>
                    <a:lnTo>
                      <a:pt x="1608340" y="10248"/>
                    </a:lnTo>
                    <a:lnTo>
                      <a:pt x="1608340" y="0"/>
                    </a:lnTo>
                    <a:close/>
                  </a:path>
                  <a:path w="5480684" h="412114">
                    <a:moveTo>
                      <a:pt x="1669796" y="0"/>
                    </a:moveTo>
                    <a:lnTo>
                      <a:pt x="1659559" y="0"/>
                    </a:lnTo>
                    <a:lnTo>
                      <a:pt x="1659559" y="10248"/>
                    </a:lnTo>
                    <a:lnTo>
                      <a:pt x="1669796" y="10248"/>
                    </a:lnTo>
                    <a:lnTo>
                      <a:pt x="1669796" y="0"/>
                    </a:lnTo>
                    <a:close/>
                  </a:path>
                  <a:path w="5480684" h="412114">
                    <a:moveTo>
                      <a:pt x="1731264" y="0"/>
                    </a:moveTo>
                    <a:lnTo>
                      <a:pt x="1721027" y="0"/>
                    </a:lnTo>
                    <a:lnTo>
                      <a:pt x="1721027" y="10248"/>
                    </a:lnTo>
                    <a:lnTo>
                      <a:pt x="1731264" y="10248"/>
                    </a:lnTo>
                    <a:lnTo>
                      <a:pt x="1731264" y="0"/>
                    </a:lnTo>
                    <a:close/>
                  </a:path>
                  <a:path w="5480684" h="412114">
                    <a:moveTo>
                      <a:pt x="1792732" y="0"/>
                    </a:moveTo>
                    <a:lnTo>
                      <a:pt x="1782483" y="0"/>
                    </a:lnTo>
                    <a:lnTo>
                      <a:pt x="1782483" y="10248"/>
                    </a:lnTo>
                    <a:lnTo>
                      <a:pt x="1792732" y="10248"/>
                    </a:lnTo>
                    <a:lnTo>
                      <a:pt x="1792732" y="0"/>
                    </a:lnTo>
                    <a:close/>
                  </a:path>
                  <a:path w="5480684" h="412114">
                    <a:moveTo>
                      <a:pt x="1854200" y="0"/>
                    </a:moveTo>
                    <a:lnTo>
                      <a:pt x="1843951" y="0"/>
                    </a:lnTo>
                    <a:lnTo>
                      <a:pt x="1843951" y="10248"/>
                    </a:lnTo>
                    <a:lnTo>
                      <a:pt x="1854200" y="10248"/>
                    </a:lnTo>
                    <a:lnTo>
                      <a:pt x="1854200" y="0"/>
                    </a:lnTo>
                    <a:close/>
                  </a:path>
                  <a:path w="5480684" h="412114">
                    <a:moveTo>
                      <a:pt x="1915668" y="0"/>
                    </a:moveTo>
                    <a:lnTo>
                      <a:pt x="1905419" y="0"/>
                    </a:lnTo>
                    <a:lnTo>
                      <a:pt x="1905419" y="10248"/>
                    </a:lnTo>
                    <a:lnTo>
                      <a:pt x="1915668" y="10248"/>
                    </a:lnTo>
                    <a:lnTo>
                      <a:pt x="1915668" y="0"/>
                    </a:lnTo>
                    <a:close/>
                  </a:path>
                  <a:path w="5480684" h="412114">
                    <a:moveTo>
                      <a:pt x="1977123" y="0"/>
                    </a:moveTo>
                    <a:lnTo>
                      <a:pt x="1966887" y="0"/>
                    </a:lnTo>
                    <a:lnTo>
                      <a:pt x="1966887" y="10248"/>
                    </a:lnTo>
                    <a:lnTo>
                      <a:pt x="1977123" y="10248"/>
                    </a:lnTo>
                    <a:lnTo>
                      <a:pt x="1977123" y="0"/>
                    </a:lnTo>
                    <a:close/>
                  </a:path>
                  <a:path w="5480684" h="412114">
                    <a:moveTo>
                      <a:pt x="2038591" y="0"/>
                    </a:moveTo>
                    <a:lnTo>
                      <a:pt x="2028342" y="0"/>
                    </a:lnTo>
                    <a:lnTo>
                      <a:pt x="2028342" y="10248"/>
                    </a:lnTo>
                    <a:lnTo>
                      <a:pt x="2038591" y="10248"/>
                    </a:lnTo>
                    <a:lnTo>
                      <a:pt x="2038591" y="0"/>
                    </a:lnTo>
                    <a:close/>
                  </a:path>
                  <a:path w="5480684" h="412114">
                    <a:moveTo>
                      <a:pt x="2100059" y="0"/>
                    </a:moveTo>
                    <a:lnTo>
                      <a:pt x="2089810" y="0"/>
                    </a:lnTo>
                    <a:lnTo>
                      <a:pt x="2089810" y="10248"/>
                    </a:lnTo>
                    <a:lnTo>
                      <a:pt x="2100059" y="10248"/>
                    </a:lnTo>
                    <a:lnTo>
                      <a:pt x="2100059" y="0"/>
                    </a:lnTo>
                    <a:close/>
                  </a:path>
                  <a:path w="5480684" h="412114">
                    <a:moveTo>
                      <a:pt x="2161527" y="0"/>
                    </a:moveTo>
                    <a:lnTo>
                      <a:pt x="2151278" y="0"/>
                    </a:lnTo>
                    <a:lnTo>
                      <a:pt x="2151278" y="10248"/>
                    </a:lnTo>
                    <a:lnTo>
                      <a:pt x="2161527" y="10248"/>
                    </a:lnTo>
                    <a:lnTo>
                      <a:pt x="2161527" y="0"/>
                    </a:lnTo>
                    <a:close/>
                  </a:path>
                  <a:path w="5480684" h="412114">
                    <a:moveTo>
                      <a:pt x="2222982" y="0"/>
                    </a:moveTo>
                    <a:lnTo>
                      <a:pt x="2212746" y="0"/>
                    </a:lnTo>
                    <a:lnTo>
                      <a:pt x="2212746" y="10248"/>
                    </a:lnTo>
                    <a:lnTo>
                      <a:pt x="2222982" y="10248"/>
                    </a:lnTo>
                    <a:lnTo>
                      <a:pt x="2222982" y="0"/>
                    </a:lnTo>
                    <a:close/>
                  </a:path>
                  <a:path w="5480684" h="412114">
                    <a:moveTo>
                      <a:pt x="2284450" y="0"/>
                    </a:moveTo>
                    <a:lnTo>
                      <a:pt x="2274214" y="0"/>
                    </a:lnTo>
                    <a:lnTo>
                      <a:pt x="2274214" y="10248"/>
                    </a:lnTo>
                    <a:lnTo>
                      <a:pt x="2284450" y="10248"/>
                    </a:lnTo>
                    <a:lnTo>
                      <a:pt x="2284450" y="0"/>
                    </a:lnTo>
                    <a:close/>
                  </a:path>
                  <a:path w="5480684" h="412114">
                    <a:moveTo>
                      <a:pt x="2345918" y="0"/>
                    </a:moveTo>
                    <a:lnTo>
                      <a:pt x="2335669" y="0"/>
                    </a:lnTo>
                    <a:lnTo>
                      <a:pt x="2335669" y="10248"/>
                    </a:lnTo>
                    <a:lnTo>
                      <a:pt x="2345918" y="10248"/>
                    </a:lnTo>
                    <a:lnTo>
                      <a:pt x="2345918" y="0"/>
                    </a:lnTo>
                    <a:close/>
                  </a:path>
                  <a:path w="5480684" h="412114">
                    <a:moveTo>
                      <a:pt x="2407386" y="0"/>
                    </a:moveTo>
                    <a:lnTo>
                      <a:pt x="2397137" y="0"/>
                    </a:lnTo>
                    <a:lnTo>
                      <a:pt x="2397137" y="10248"/>
                    </a:lnTo>
                    <a:lnTo>
                      <a:pt x="2407386" y="10248"/>
                    </a:lnTo>
                    <a:lnTo>
                      <a:pt x="2407386" y="0"/>
                    </a:lnTo>
                    <a:close/>
                  </a:path>
                  <a:path w="5480684" h="412114">
                    <a:moveTo>
                      <a:pt x="2468854" y="0"/>
                    </a:moveTo>
                    <a:lnTo>
                      <a:pt x="2458605" y="0"/>
                    </a:lnTo>
                    <a:lnTo>
                      <a:pt x="2458605" y="10248"/>
                    </a:lnTo>
                    <a:lnTo>
                      <a:pt x="2468854" y="10248"/>
                    </a:lnTo>
                    <a:lnTo>
                      <a:pt x="2468854" y="0"/>
                    </a:lnTo>
                    <a:close/>
                  </a:path>
                  <a:path w="5480684" h="412114">
                    <a:moveTo>
                      <a:pt x="2530310" y="0"/>
                    </a:moveTo>
                    <a:lnTo>
                      <a:pt x="2520073" y="0"/>
                    </a:lnTo>
                    <a:lnTo>
                      <a:pt x="2520073" y="10248"/>
                    </a:lnTo>
                    <a:lnTo>
                      <a:pt x="2530310" y="10248"/>
                    </a:lnTo>
                    <a:lnTo>
                      <a:pt x="2530310" y="0"/>
                    </a:lnTo>
                    <a:close/>
                  </a:path>
                  <a:path w="5480684" h="412114">
                    <a:moveTo>
                      <a:pt x="2591778" y="0"/>
                    </a:moveTo>
                    <a:lnTo>
                      <a:pt x="2581541" y="0"/>
                    </a:lnTo>
                    <a:lnTo>
                      <a:pt x="2581541" y="10248"/>
                    </a:lnTo>
                    <a:lnTo>
                      <a:pt x="2591778" y="10248"/>
                    </a:lnTo>
                    <a:lnTo>
                      <a:pt x="2591778" y="0"/>
                    </a:lnTo>
                    <a:close/>
                  </a:path>
                  <a:path w="5480684" h="412114">
                    <a:moveTo>
                      <a:pt x="2653246" y="0"/>
                    </a:moveTo>
                    <a:lnTo>
                      <a:pt x="2642997" y="0"/>
                    </a:lnTo>
                    <a:lnTo>
                      <a:pt x="2642997" y="10248"/>
                    </a:lnTo>
                    <a:lnTo>
                      <a:pt x="2653246" y="10248"/>
                    </a:lnTo>
                    <a:lnTo>
                      <a:pt x="2653246" y="0"/>
                    </a:lnTo>
                    <a:close/>
                  </a:path>
                  <a:path w="5480684" h="412114">
                    <a:moveTo>
                      <a:pt x="2714714" y="0"/>
                    </a:moveTo>
                    <a:lnTo>
                      <a:pt x="2704465" y="0"/>
                    </a:lnTo>
                    <a:lnTo>
                      <a:pt x="2704465" y="10248"/>
                    </a:lnTo>
                    <a:lnTo>
                      <a:pt x="2714714" y="10248"/>
                    </a:lnTo>
                    <a:lnTo>
                      <a:pt x="2714714" y="0"/>
                    </a:lnTo>
                    <a:close/>
                  </a:path>
                  <a:path w="5480684" h="412114">
                    <a:moveTo>
                      <a:pt x="2776182" y="0"/>
                    </a:moveTo>
                    <a:lnTo>
                      <a:pt x="2765933" y="0"/>
                    </a:lnTo>
                    <a:lnTo>
                      <a:pt x="2765933" y="10248"/>
                    </a:lnTo>
                    <a:lnTo>
                      <a:pt x="2776182" y="10248"/>
                    </a:lnTo>
                    <a:lnTo>
                      <a:pt x="2776182" y="0"/>
                    </a:lnTo>
                    <a:close/>
                  </a:path>
                  <a:path w="5480684" h="412114">
                    <a:moveTo>
                      <a:pt x="2837637" y="0"/>
                    </a:moveTo>
                    <a:lnTo>
                      <a:pt x="2827401" y="0"/>
                    </a:lnTo>
                    <a:lnTo>
                      <a:pt x="2827401" y="10248"/>
                    </a:lnTo>
                    <a:lnTo>
                      <a:pt x="2837637" y="10248"/>
                    </a:lnTo>
                    <a:lnTo>
                      <a:pt x="2837637" y="0"/>
                    </a:lnTo>
                    <a:close/>
                  </a:path>
                  <a:path w="5480684" h="412114">
                    <a:moveTo>
                      <a:pt x="2899105" y="0"/>
                    </a:moveTo>
                    <a:lnTo>
                      <a:pt x="2888856" y="0"/>
                    </a:lnTo>
                    <a:lnTo>
                      <a:pt x="2888856" y="10248"/>
                    </a:lnTo>
                    <a:lnTo>
                      <a:pt x="2899105" y="10248"/>
                    </a:lnTo>
                    <a:lnTo>
                      <a:pt x="2899105" y="0"/>
                    </a:lnTo>
                    <a:close/>
                  </a:path>
                  <a:path w="5480684" h="412114">
                    <a:moveTo>
                      <a:pt x="2960573" y="0"/>
                    </a:moveTo>
                    <a:lnTo>
                      <a:pt x="2950324" y="0"/>
                    </a:lnTo>
                    <a:lnTo>
                      <a:pt x="2950324" y="10248"/>
                    </a:lnTo>
                    <a:lnTo>
                      <a:pt x="2960573" y="10248"/>
                    </a:lnTo>
                    <a:lnTo>
                      <a:pt x="2960573" y="0"/>
                    </a:lnTo>
                    <a:close/>
                  </a:path>
                  <a:path w="5480684" h="412114">
                    <a:moveTo>
                      <a:pt x="3022041" y="0"/>
                    </a:moveTo>
                    <a:lnTo>
                      <a:pt x="3011792" y="0"/>
                    </a:lnTo>
                    <a:lnTo>
                      <a:pt x="3011792" y="10248"/>
                    </a:lnTo>
                    <a:lnTo>
                      <a:pt x="3022041" y="10248"/>
                    </a:lnTo>
                    <a:lnTo>
                      <a:pt x="3022041" y="0"/>
                    </a:lnTo>
                    <a:close/>
                  </a:path>
                  <a:path w="5480684" h="412114">
                    <a:moveTo>
                      <a:pt x="3083496" y="0"/>
                    </a:moveTo>
                    <a:lnTo>
                      <a:pt x="3073260" y="0"/>
                    </a:lnTo>
                    <a:lnTo>
                      <a:pt x="3073260" y="10248"/>
                    </a:lnTo>
                    <a:lnTo>
                      <a:pt x="3083496" y="10248"/>
                    </a:lnTo>
                    <a:lnTo>
                      <a:pt x="3083496" y="0"/>
                    </a:lnTo>
                    <a:close/>
                  </a:path>
                  <a:path w="5480684" h="412114">
                    <a:moveTo>
                      <a:pt x="4312805" y="401764"/>
                    </a:moveTo>
                    <a:lnTo>
                      <a:pt x="4302557" y="401764"/>
                    </a:lnTo>
                    <a:lnTo>
                      <a:pt x="4302557" y="412000"/>
                    </a:lnTo>
                    <a:lnTo>
                      <a:pt x="4312805" y="412000"/>
                    </a:lnTo>
                    <a:lnTo>
                      <a:pt x="4312805" y="401764"/>
                    </a:lnTo>
                    <a:close/>
                  </a:path>
                  <a:path w="5480684" h="412114">
                    <a:moveTo>
                      <a:pt x="4374273" y="401764"/>
                    </a:moveTo>
                    <a:lnTo>
                      <a:pt x="4364025" y="401764"/>
                    </a:lnTo>
                    <a:lnTo>
                      <a:pt x="4364025" y="412000"/>
                    </a:lnTo>
                    <a:lnTo>
                      <a:pt x="4374273" y="412000"/>
                    </a:lnTo>
                    <a:lnTo>
                      <a:pt x="4374273" y="401764"/>
                    </a:lnTo>
                    <a:close/>
                  </a:path>
                  <a:path w="5480684" h="412114">
                    <a:moveTo>
                      <a:pt x="4435741" y="401764"/>
                    </a:moveTo>
                    <a:lnTo>
                      <a:pt x="4425493" y="401764"/>
                    </a:lnTo>
                    <a:lnTo>
                      <a:pt x="4425493" y="412000"/>
                    </a:lnTo>
                    <a:lnTo>
                      <a:pt x="4435741" y="412000"/>
                    </a:lnTo>
                    <a:lnTo>
                      <a:pt x="4435741" y="401764"/>
                    </a:lnTo>
                    <a:close/>
                  </a:path>
                  <a:path w="5480684" h="412114">
                    <a:moveTo>
                      <a:pt x="4497197" y="401764"/>
                    </a:moveTo>
                    <a:lnTo>
                      <a:pt x="4486961" y="401764"/>
                    </a:lnTo>
                    <a:lnTo>
                      <a:pt x="4486961" y="412000"/>
                    </a:lnTo>
                    <a:lnTo>
                      <a:pt x="4497197" y="412000"/>
                    </a:lnTo>
                    <a:lnTo>
                      <a:pt x="4497197" y="401764"/>
                    </a:lnTo>
                    <a:close/>
                  </a:path>
                  <a:path w="5480684" h="412114">
                    <a:moveTo>
                      <a:pt x="4558665" y="401764"/>
                    </a:moveTo>
                    <a:lnTo>
                      <a:pt x="4548429" y="401764"/>
                    </a:lnTo>
                    <a:lnTo>
                      <a:pt x="4548429" y="412000"/>
                    </a:lnTo>
                    <a:lnTo>
                      <a:pt x="4558665" y="412000"/>
                    </a:lnTo>
                    <a:lnTo>
                      <a:pt x="4558665" y="401764"/>
                    </a:lnTo>
                    <a:close/>
                  </a:path>
                  <a:path w="5480684" h="412114">
                    <a:moveTo>
                      <a:pt x="4620133" y="401764"/>
                    </a:moveTo>
                    <a:lnTo>
                      <a:pt x="4609884" y="401764"/>
                    </a:lnTo>
                    <a:lnTo>
                      <a:pt x="4609884" y="412000"/>
                    </a:lnTo>
                    <a:lnTo>
                      <a:pt x="4620133" y="412000"/>
                    </a:lnTo>
                    <a:lnTo>
                      <a:pt x="4620133" y="401764"/>
                    </a:lnTo>
                    <a:close/>
                  </a:path>
                  <a:path w="5480684" h="412114">
                    <a:moveTo>
                      <a:pt x="4681601" y="401764"/>
                    </a:moveTo>
                    <a:lnTo>
                      <a:pt x="4671352" y="401764"/>
                    </a:lnTo>
                    <a:lnTo>
                      <a:pt x="4671352" y="412000"/>
                    </a:lnTo>
                    <a:lnTo>
                      <a:pt x="4681601" y="412000"/>
                    </a:lnTo>
                    <a:lnTo>
                      <a:pt x="4681601" y="401764"/>
                    </a:lnTo>
                    <a:close/>
                  </a:path>
                  <a:path w="5480684" h="412114">
                    <a:moveTo>
                      <a:pt x="4743069" y="401764"/>
                    </a:moveTo>
                    <a:lnTo>
                      <a:pt x="4732820" y="401764"/>
                    </a:lnTo>
                    <a:lnTo>
                      <a:pt x="4732820" y="412000"/>
                    </a:lnTo>
                    <a:lnTo>
                      <a:pt x="4743069" y="412000"/>
                    </a:lnTo>
                    <a:lnTo>
                      <a:pt x="4743069" y="401764"/>
                    </a:lnTo>
                    <a:close/>
                  </a:path>
                  <a:path w="5480684" h="412114">
                    <a:moveTo>
                      <a:pt x="4804524" y="401764"/>
                    </a:moveTo>
                    <a:lnTo>
                      <a:pt x="4794288" y="401764"/>
                    </a:lnTo>
                    <a:lnTo>
                      <a:pt x="4794288" y="412000"/>
                    </a:lnTo>
                    <a:lnTo>
                      <a:pt x="4804524" y="412000"/>
                    </a:lnTo>
                    <a:lnTo>
                      <a:pt x="4804524" y="401764"/>
                    </a:lnTo>
                    <a:close/>
                  </a:path>
                  <a:path w="5480684" h="412114">
                    <a:moveTo>
                      <a:pt x="4865992" y="401764"/>
                    </a:moveTo>
                    <a:lnTo>
                      <a:pt x="4855756" y="401764"/>
                    </a:lnTo>
                    <a:lnTo>
                      <a:pt x="4855756" y="412000"/>
                    </a:lnTo>
                    <a:lnTo>
                      <a:pt x="4865992" y="412000"/>
                    </a:lnTo>
                    <a:lnTo>
                      <a:pt x="4865992" y="401764"/>
                    </a:lnTo>
                    <a:close/>
                  </a:path>
                  <a:path w="5480684" h="412114">
                    <a:moveTo>
                      <a:pt x="4927460" y="401764"/>
                    </a:moveTo>
                    <a:lnTo>
                      <a:pt x="4917211" y="401764"/>
                    </a:lnTo>
                    <a:lnTo>
                      <a:pt x="4917211" y="412000"/>
                    </a:lnTo>
                    <a:lnTo>
                      <a:pt x="4927460" y="412000"/>
                    </a:lnTo>
                    <a:lnTo>
                      <a:pt x="4927460" y="401764"/>
                    </a:lnTo>
                    <a:close/>
                  </a:path>
                  <a:path w="5480684" h="412114">
                    <a:moveTo>
                      <a:pt x="4988928" y="401764"/>
                    </a:moveTo>
                    <a:lnTo>
                      <a:pt x="4978679" y="401764"/>
                    </a:lnTo>
                    <a:lnTo>
                      <a:pt x="4978679" y="412000"/>
                    </a:lnTo>
                    <a:lnTo>
                      <a:pt x="4988928" y="412000"/>
                    </a:lnTo>
                    <a:lnTo>
                      <a:pt x="4988928" y="401764"/>
                    </a:lnTo>
                    <a:close/>
                  </a:path>
                  <a:path w="5480684" h="412114">
                    <a:moveTo>
                      <a:pt x="5050396" y="401764"/>
                    </a:moveTo>
                    <a:lnTo>
                      <a:pt x="5040147" y="401764"/>
                    </a:lnTo>
                    <a:lnTo>
                      <a:pt x="5040147" y="412000"/>
                    </a:lnTo>
                    <a:lnTo>
                      <a:pt x="5050396" y="412000"/>
                    </a:lnTo>
                    <a:lnTo>
                      <a:pt x="5050396" y="401764"/>
                    </a:lnTo>
                    <a:close/>
                  </a:path>
                  <a:path w="5480684" h="412114">
                    <a:moveTo>
                      <a:pt x="5111851" y="401764"/>
                    </a:moveTo>
                    <a:lnTo>
                      <a:pt x="5101615" y="401764"/>
                    </a:lnTo>
                    <a:lnTo>
                      <a:pt x="5101615" y="412000"/>
                    </a:lnTo>
                    <a:lnTo>
                      <a:pt x="5111851" y="412000"/>
                    </a:lnTo>
                    <a:lnTo>
                      <a:pt x="5111851" y="401764"/>
                    </a:lnTo>
                    <a:close/>
                  </a:path>
                  <a:path w="5480684" h="412114">
                    <a:moveTo>
                      <a:pt x="5173319" y="401764"/>
                    </a:moveTo>
                    <a:lnTo>
                      <a:pt x="5163070" y="401764"/>
                    </a:lnTo>
                    <a:lnTo>
                      <a:pt x="5163070" y="412000"/>
                    </a:lnTo>
                    <a:lnTo>
                      <a:pt x="5173319" y="412000"/>
                    </a:lnTo>
                    <a:lnTo>
                      <a:pt x="5173319" y="401764"/>
                    </a:lnTo>
                    <a:close/>
                  </a:path>
                  <a:path w="5480684" h="412114">
                    <a:moveTo>
                      <a:pt x="5234787" y="401764"/>
                    </a:moveTo>
                    <a:lnTo>
                      <a:pt x="5224538" y="401764"/>
                    </a:lnTo>
                    <a:lnTo>
                      <a:pt x="5224538" y="412000"/>
                    </a:lnTo>
                    <a:lnTo>
                      <a:pt x="5234787" y="412000"/>
                    </a:lnTo>
                    <a:lnTo>
                      <a:pt x="5234787" y="401764"/>
                    </a:lnTo>
                    <a:close/>
                  </a:path>
                  <a:path w="5480684" h="412114">
                    <a:moveTo>
                      <a:pt x="5296255" y="401764"/>
                    </a:moveTo>
                    <a:lnTo>
                      <a:pt x="5286006" y="401764"/>
                    </a:lnTo>
                    <a:lnTo>
                      <a:pt x="5286006" y="412000"/>
                    </a:lnTo>
                    <a:lnTo>
                      <a:pt x="5296255" y="412000"/>
                    </a:lnTo>
                    <a:lnTo>
                      <a:pt x="5296255" y="401764"/>
                    </a:lnTo>
                    <a:close/>
                  </a:path>
                  <a:path w="5480684" h="412114">
                    <a:moveTo>
                      <a:pt x="5357711" y="401764"/>
                    </a:moveTo>
                    <a:lnTo>
                      <a:pt x="5347474" y="401764"/>
                    </a:lnTo>
                    <a:lnTo>
                      <a:pt x="5347474" y="412000"/>
                    </a:lnTo>
                    <a:lnTo>
                      <a:pt x="5357711" y="412000"/>
                    </a:lnTo>
                    <a:lnTo>
                      <a:pt x="5357711" y="401764"/>
                    </a:lnTo>
                    <a:close/>
                  </a:path>
                  <a:path w="5480684" h="412114">
                    <a:moveTo>
                      <a:pt x="5419179" y="401764"/>
                    </a:moveTo>
                    <a:lnTo>
                      <a:pt x="5408942" y="401764"/>
                    </a:lnTo>
                    <a:lnTo>
                      <a:pt x="5408942" y="412000"/>
                    </a:lnTo>
                    <a:lnTo>
                      <a:pt x="5419179" y="412000"/>
                    </a:lnTo>
                    <a:lnTo>
                      <a:pt x="5419179" y="401764"/>
                    </a:lnTo>
                    <a:close/>
                  </a:path>
                  <a:path w="5480684" h="412114">
                    <a:moveTo>
                      <a:pt x="5480647" y="401764"/>
                    </a:moveTo>
                    <a:lnTo>
                      <a:pt x="5470398" y="401764"/>
                    </a:lnTo>
                    <a:lnTo>
                      <a:pt x="5470398" y="412000"/>
                    </a:lnTo>
                    <a:lnTo>
                      <a:pt x="5480647" y="412000"/>
                    </a:lnTo>
                    <a:lnTo>
                      <a:pt x="5480647" y="401764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6" name="object 6"/>
              <p:cNvSpPr/>
              <p:nvPr/>
            </p:nvSpPr>
            <p:spPr>
              <a:xfrm>
                <a:off x="7414602" y="2713964"/>
                <a:ext cx="5480685" cy="412115"/>
              </a:xfrm>
              <a:custGeom>
                <a:avLst/>
                <a:gdLst/>
                <a:ahLst/>
                <a:cxnLst/>
                <a:rect l="l" t="t" r="r" b="b"/>
                <a:pathLst>
                  <a:path w="5480684" h="412114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48"/>
                    </a:lnTo>
                    <a:lnTo>
                      <a:pt x="10236" y="10248"/>
                    </a:lnTo>
                    <a:lnTo>
                      <a:pt x="10236" y="0"/>
                    </a:lnTo>
                    <a:close/>
                  </a:path>
                  <a:path w="5480684" h="412114">
                    <a:moveTo>
                      <a:pt x="71704" y="0"/>
                    </a:moveTo>
                    <a:lnTo>
                      <a:pt x="61455" y="0"/>
                    </a:lnTo>
                    <a:lnTo>
                      <a:pt x="61455" y="10248"/>
                    </a:lnTo>
                    <a:lnTo>
                      <a:pt x="71704" y="10248"/>
                    </a:lnTo>
                    <a:lnTo>
                      <a:pt x="71704" y="0"/>
                    </a:lnTo>
                    <a:close/>
                  </a:path>
                  <a:path w="5480684" h="412114">
                    <a:moveTo>
                      <a:pt x="133172" y="0"/>
                    </a:moveTo>
                    <a:lnTo>
                      <a:pt x="122923" y="0"/>
                    </a:lnTo>
                    <a:lnTo>
                      <a:pt x="122923" y="10248"/>
                    </a:lnTo>
                    <a:lnTo>
                      <a:pt x="133172" y="10248"/>
                    </a:lnTo>
                    <a:lnTo>
                      <a:pt x="133172" y="0"/>
                    </a:lnTo>
                    <a:close/>
                  </a:path>
                  <a:path w="5480684" h="412114">
                    <a:moveTo>
                      <a:pt x="194640" y="0"/>
                    </a:moveTo>
                    <a:lnTo>
                      <a:pt x="184391" y="0"/>
                    </a:lnTo>
                    <a:lnTo>
                      <a:pt x="184391" y="10248"/>
                    </a:lnTo>
                    <a:lnTo>
                      <a:pt x="194640" y="10248"/>
                    </a:lnTo>
                    <a:lnTo>
                      <a:pt x="194640" y="0"/>
                    </a:lnTo>
                    <a:close/>
                  </a:path>
                  <a:path w="5480684" h="412114">
                    <a:moveTo>
                      <a:pt x="256095" y="0"/>
                    </a:moveTo>
                    <a:lnTo>
                      <a:pt x="245859" y="0"/>
                    </a:lnTo>
                    <a:lnTo>
                      <a:pt x="245859" y="10248"/>
                    </a:lnTo>
                    <a:lnTo>
                      <a:pt x="256095" y="10248"/>
                    </a:lnTo>
                    <a:lnTo>
                      <a:pt x="256095" y="0"/>
                    </a:lnTo>
                    <a:close/>
                  </a:path>
                  <a:path w="5480684" h="412114">
                    <a:moveTo>
                      <a:pt x="317563" y="0"/>
                    </a:moveTo>
                    <a:lnTo>
                      <a:pt x="307327" y="0"/>
                    </a:lnTo>
                    <a:lnTo>
                      <a:pt x="307327" y="10248"/>
                    </a:lnTo>
                    <a:lnTo>
                      <a:pt x="317563" y="10248"/>
                    </a:lnTo>
                    <a:lnTo>
                      <a:pt x="317563" y="0"/>
                    </a:lnTo>
                    <a:close/>
                  </a:path>
                  <a:path w="5480684" h="412114">
                    <a:moveTo>
                      <a:pt x="379031" y="0"/>
                    </a:moveTo>
                    <a:lnTo>
                      <a:pt x="368782" y="0"/>
                    </a:lnTo>
                    <a:lnTo>
                      <a:pt x="368782" y="10248"/>
                    </a:lnTo>
                    <a:lnTo>
                      <a:pt x="379031" y="10248"/>
                    </a:lnTo>
                    <a:lnTo>
                      <a:pt x="379031" y="0"/>
                    </a:lnTo>
                    <a:close/>
                  </a:path>
                  <a:path w="5480684" h="412114">
                    <a:moveTo>
                      <a:pt x="440499" y="0"/>
                    </a:moveTo>
                    <a:lnTo>
                      <a:pt x="430250" y="0"/>
                    </a:lnTo>
                    <a:lnTo>
                      <a:pt x="430250" y="10248"/>
                    </a:lnTo>
                    <a:lnTo>
                      <a:pt x="440499" y="10248"/>
                    </a:lnTo>
                    <a:lnTo>
                      <a:pt x="440499" y="0"/>
                    </a:lnTo>
                    <a:close/>
                  </a:path>
                  <a:path w="5480684" h="412114">
                    <a:moveTo>
                      <a:pt x="501967" y="0"/>
                    </a:moveTo>
                    <a:lnTo>
                      <a:pt x="491718" y="0"/>
                    </a:lnTo>
                    <a:lnTo>
                      <a:pt x="491718" y="10248"/>
                    </a:lnTo>
                    <a:lnTo>
                      <a:pt x="501967" y="10248"/>
                    </a:lnTo>
                    <a:lnTo>
                      <a:pt x="501967" y="0"/>
                    </a:lnTo>
                    <a:close/>
                  </a:path>
                  <a:path w="5480684" h="412114">
                    <a:moveTo>
                      <a:pt x="563422" y="0"/>
                    </a:moveTo>
                    <a:lnTo>
                      <a:pt x="553186" y="0"/>
                    </a:lnTo>
                    <a:lnTo>
                      <a:pt x="553186" y="10248"/>
                    </a:lnTo>
                    <a:lnTo>
                      <a:pt x="563422" y="10248"/>
                    </a:lnTo>
                    <a:lnTo>
                      <a:pt x="563422" y="0"/>
                    </a:lnTo>
                    <a:close/>
                  </a:path>
                  <a:path w="5480684" h="412114">
                    <a:moveTo>
                      <a:pt x="624890" y="0"/>
                    </a:moveTo>
                    <a:lnTo>
                      <a:pt x="614641" y="0"/>
                    </a:lnTo>
                    <a:lnTo>
                      <a:pt x="614641" y="10248"/>
                    </a:lnTo>
                    <a:lnTo>
                      <a:pt x="624890" y="10248"/>
                    </a:lnTo>
                    <a:lnTo>
                      <a:pt x="624890" y="0"/>
                    </a:lnTo>
                    <a:close/>
                  </a:path>
                  <a:path w="5480684" h="412114">
                    <a:moveTo>
                      <a:pt x="686358" y="0"/>
                    </a:moveTo>
                    <a:lnTo>
                      <a:pt x="676109" y="0"/>
                    </a:lnTo>
                    <a:lnTo>
                      <a:pt x="676109" y="10248"/>
                    </a:lnTo>
                    <a:lnTo>
                      <a:pt x="686358" y="10248"/>
                    </a:lnTo>
                    <a:lnTo>
                      <a:pt x="686358" y="0"/>
                    </a:lnTo>
                    <a:close/>
                  </a:path>
                  <a:path w="5480684" h="412114">
                    <a:moveTo>
                      <a:pt x="747826" y="0"/>
                    </a:moveTo>
                    <a:lnTo>
                      <a:pt x="737577" y="0"/>
                    </a:lnTo>
                    <a:lnTo>
                      <a:pt x="737577" y="10248"/>
                    </a:lnTo>
                    <a:lnTo>
                      <a:pt x="747826" y="10248"/>
                    </a:lnTo>
                    <a:lnTo>
                      <a:pt x="747826" y="0"/>
                    </a:lnTo>
                    <a:close/>
                  </a:path>
                  <a:path w="5480684" h="412114">
                    <a:moveTo>
                      <a:pt x="809282" y="0"/>
                    </a:moveTo>
                    <a:lnTo>
                      <a:pt x="799045" y="0"/>
                    </a:lnTo>
                    <a:lnTo>
                      <a:pt x="799045" y="10248"/>
                    </a:lnTo>
                    <a:lnTo>
                      <a:pt x="809282" y="10248"/>
                    </a:lnTo>
                    <a:lnTo>
                      <a:pt x="809282" y="0"/>
                    </a:lnTo>
                    <a:close/>
                  </a:path>
                  <a:path w="5480684" h="412114">
                    <a:moveTo>
                      <a:pt x="870750" y="0"/>
                    </a:moveTo>
                    <a:lnTo>
                      <a:pt x="860513" y="0"/>
                    </a:lnTo>
                    <a:lnTo>
                      <a:pt x="860513" y="10248"/>
                    </a:lnTo>
                    <a:lnTo>
                      <a:pt x="870750" y="10248"/>
                    </a:lnTo>
                    <a:lnTo>
                      <a:pt x="870750" y="0"/>
                    </a:lnTo>
                    <a:close/>
                  </a:path>
                  <a:path w="5480684" h="412114">
                    <a:moveTo>
                      <a:pt x="932218" y="0"/>
                    </a:moveTo>
                    <a:lnTo>
                      <a:pt x="921969" y="0"/>
                    </a:lnTo>
                    <a:lnTo>
                      <a:pt x="921969" y="10248"/>
                    </a:lnTo>
                    <a:lnTo>
                      <a:pt x="932218" y="10248"/>
                    </a:lnTo>
                    <a:lnTo>
                      <a:pt x="932218" y="0"/>
                    </a:lnTo>
                    <a:close/>
                  </a:path>
                  <a:path w="5480684" h="412114">
                    <a:moveTo>
                      <a:pt x="993686" y="0"/>
                    </a:moveTo>
                    <a:lnTo>
                      <a:pt x="983437" y="0"/>
                    </a:lnTo>
                    <a:lnTo>
                      <a:pt x="983437" y="10248"/>
                    </a:lnTo>
                    <a:lnTo>
                      <a:pt x="993686" y="10248"/>
                    </a:lnTo>
                    <a:lnTo>
                      <a:pt x="993686" y="0"/>
                    </a:lnTo>
                    <a:close/>
                  </a:path>
                  <a:path w="5480684" h="412114">
                    <a:moveTo>
                      <a:pt x="1055154" y="0"/>
                    </a:moveTo>
                    <a:lnTo>
                      <a:pt x="1044905" y="0"/>
                    </a:lnTo>
                    <a:lnTo>
                      <a:pt x="1044905" y="10248"/>
                    </a:lnTo>
                    <a:lnTo>
                      <a:pt x="1055154" y="10248"/>
                    </a:lnTo>
                    <a:lnTo>
                      <a:pt x="1055154" y="0"/>
                    </a:lnTo>
                    <a:close/>
                  </a:path>
                  <a:path w="5480684" h="412114">
                    <a:moveTo>
                      <a:pt x="1116609" y="0"/>
                    </a:moveTo>
                    <a:lnTo>
                      <a:pt x="1106373" y="0"/>
                    </a:lnTo>
                    <a:lnTo>
                      <a:pt x="1106373" y="10248"/>
                    </a:lnTo>
                    <a:lnTo>
                      <a:pt x="1116609" y="10248"/>
                    </a:lnTo>
                    <a:lnTo>
                      <a:pt x="1116609" y="0"/>
                    </a:lnTo>
                    <a:close/>
                  </a:path>
                  <a:path w="5480684" h="412114">
                    <a:moveTo>
                      <a:pt x="1178077" y="0"/>
                    </a:moveTo>
                    <a:lnTo>
                      <a:pt x="1167841" y="0"/>
                    </a:lnTo>
                    <a:lnTo>
                      <a:pt x="1167841" y="10248"/>
                    </a:lnTo>
                    <a:lnTo>
                      <a:pt x="1178077" y="10248"/>
                    </a:lnTo>
                    <a:lnTo>
                      <a:pt x="1178077" y="0"/>
                    </a:lnTo>
                    <a:close/>
                  </a:path>
                  <a:path w="5480684" h="412114">
                    <a:moveTo>
                      <a:pt x="1239545" y="0"/>
                    </a:moveTo>
                    <a:lnTo>
                      <a:pt x="1229296" y="0"/>
                    </a:lnTo>
                    <a:lnTo>
                      <a:pt x="1229296" y="10248"/>
                    </a:lnTo>
                    <a:lnTo>
                      <a:pt x="1239545" y="10248"/>
                    </a:lnTo>
                    <a:lnTo>
                      <a:pt x="1239545" y="0"/>
                    </a:lnTo>
                    <a:close/>
                  </a:path>
                  <a:path w="5480684" h="412114">
                    <a:moveTo>
                      <a:pt x="1301013" y="0"/>
                    </a:moveTo>
                    <a:lnTo>
                      <a:pt x="1290764" y="0"/>
                    </a:lnTo>
                    <a:lnTo>
                      <a:pt x="1290764" y="10248"/>
                    </a:lnTo>
                    <a:lnTo>
                      <a:pt x="1301013" y="10248"/>
                    </a:lnTo>
                    <a:lnTo>
                      <a:pt x="1301013" y="0"/>
                    </a:lnTo>
                    <a:close/>
                  </a:path>
                  <a:path w="5480684" h="412114">
                    <a:moveTo>
                      <a:pt x="1362468" y="0"/>
                    </a:moveTo>
                    <a:lnTo>
                      <a:pt x="1352232" y="0"/>
                    </a:lnTo>
                    <a:lnTo>
                      <a:pt x="1352232" y="10248"/>
                    </a:lnTo>
                    <a:lnTo>
                      <a:pt x="1362468" y="10248"/>
                    </a:lnTo>
                    <a:lnTo>
                      <a:pt x="1362468" y="0"/>
                    </a:lnTo>
                    <a:close/>
                  </a:path>
                  <a:path w="5480684" h="412114">
                    <a:moveTo>
                      <a:pt x="1423936" y="0"/>
                    </a:moveTo>
                    <a:lnTo>
                      <a:pt x="1413700" y="0"/>
                    </a:lnTo>
                    <a:lnTo>
                      <a:pt x="1413700" y="10248"/>
                    </a:lnTo>
                    <a:lnTo>
                      <a:pt x="1423936" y="10248"/>
                    </a:lnTo>
                    <a:lnTo>
                      <a:pt x="1423936" y="0"/>
                    </a:lnTo>
                    <a:close/>
                  </a:path>
                  <a:path w="5480684" h="412114">
                    <a:moveTo>
                      <a:pt x="1485404" y="0"/>
                    </a:moveTo>
                    <a:lnTo>
                      <a:pt x="1475155" y="0"/>
                    </a:lnTo>
                    <a:lnTo>
                      <a:pt x="1475155" y="10248"/>
                    </a:lnTo>
                    <a:lnTo>
                      <a:pt x="1485404" y="10248"/>
                    </a:lnTo>
                    <a:lnTo>
                      <a:pt x="1485404" y="0"/>
                    </a:lnTo>
                    <a:close/>
                  </a:path>
                  <a:path w="5480684" h="412114">
                    <a:moveTo>
                      <a:pt x="1546872" y="0"/>
                    </a:moveTo>
                    <a:lnTo>
                      <a:pt x="1536623" y="0"/>
                    </a:lnTo>
                    <a:lnTo>
                      <a:pt x="1536623" y="10248"/>
                    </a:lnTo>
                    <a:lnTo>
                      <a:pt x="1546872" y="10248"/>
                    </a:lnTo>
                    <a:lnTo>
                      <a:pt x="1546872" y="0"/>
                    </a:lnTo>
                    <a:close/>
                  </a:path>
                  <a:path w="5480684" h="412114">
                    <a:moveTo>
                      <a:pt x="1608340" y="0"/>
                    </a:moveTo>
                    <a:lnTo>
                      <a:pt x="1598091" y="0"/>
                    </a:lnTo>
                    <a:lnTo>
                      <a:pt x="1598091" y="10248"/>
                    </a:lnTo>
                    <a:lnTo>
                      <a:pt x="1608340" y="10248"/>
                    </a:lnTo>
                    <a:lnTo>
                      <a:pt x="1608340" y="0"/>
                    </a:lnTo>
                    <a:close/>
                  </a:path>
                  <a:path w="5480684" h="412114">
                    <a:moveTo>
                      <a:pt x="1669796" y="0"/>
                    </a:moveTo>
                    <a:lnTo>
                      <a:pt x="1659559" y="0"/>
                    </a:lnTo>
                    <a:lnTo>
                      <a:pt x="1659559" y="10248"/>
                    </a:lnTo>
                    <a:lnTo>
                      <a:pt x="1669796" y="10248"/>
                    </a:lnTo>
                    <a:lnTo>
                      <a:pt x="1669796" y="0"/>
                    </a:lnTo>
                    <a:close/>
                  </a:path>
                  <a:path w="5480684" h="412114">
                    <a:moveTo>
                      <a:pt x="1731264" y="0"/>
                    </a:moveTo>
                    <a:lnTo>
                      <a:pt x="1721027" y="0"/>
                    </a:lnTo>
                    <a:lnTo>
                      <a:pt x="1721027" y="10248"/>
                    </a:lnTo>
                    <a:lnTo>
                      <a:pt x="1731264" y="10248"/>
                    </a:lnTo>
                    <a:lnTo>
                      <a:pt x="1731264" y="0"/>
                    </a:lnTo>
                    <a:close/>
                  </a:path>
                  <a:path w="5480684" h="412114">
                    <a:moveTo>
                      <a:pt x="1792732" y="0"/>
                    </a:moveTo>
                    <a:lnTo>
                      <a:pt x="1782483" y="0"/>
                    </a:lnTo>
                    <a:lnTo>
                      <a:pt x="1782483" y="10248"/>
                    </a:lnTo>
                    <a:lnTo>
                      <a:pt x="1792732" y="10248"/>
                    </a:lnTo>
                    <a:lnTo>
                      <a:pt x="1792732" y="0"/>
                    </a:lnTo>
                    <a:close/>
                  </a:path>
                  <a:path w="5480684" h="412114">
                    <a:moveTo>
                      <a:pt x="1854200" y="0"/>
                    </a:moveTo>
                    <a:lnTo>
                      <a:pt x="1843951" y="0"/>
                    </a:lnTo>
                    <a:lnTo>
                      <a:pt x="1843951" y="10248"/>
                    </a:lnTo>
                    <a:lnTo>
                      <a:pt x="1854200" y="10248"/>
                    </a:lnTo>
                    <a:lnTo>
                      <a:pt x="1854200" y="0"/>
                    </a:lnTo>
                    <a:close/>
                  </a:path>
                  <a:path w="5480684" h="412114">
                    <a:moveTo>
                      <a:pt x="3083496" y="401764"/>
                    </a:moveTo>
                    <a:lnTo>
                      <a:pt x="3073260" y="401764"/>
                    </a:lnTo>
                    <a:lnTo>
                      <a:pt x="3073260" y="412013"/>
                    </a:lnTo>
                    <a:lnTo>
                      <a:pt x="3083496" y="412013"/>
                    </a:lnTo>
                    <a:lnTo>
                      <a:pt x="3083496" y="401764"/>
                    </a:lnTo>
                    <a:close/>
                  </a:path>
                  <a:path w="5480684" h="412114">
                    <a:moveTo>
                      <a:pt x="3144964" y="401764"/>
                    </a:moveTo>
                    <a:lnTo>
                      <a:pt x="3134728" y="401764"/>
                    </a:lnTo>
                    <a:lnTo>
                      <a:pt x="3134728" y="412013"/>
                    </a:lnTo>
                    <a:lnTo>
                      <a:pt x="3144964" y="412013"/>
                    </a:lnTo>
                    <a:lnTo>
                      <a:pt x="3144964" y="401764"/>
                    </a:lnTo>
                    <a:close/>
                  </a:path>
                  <a:path w="5480684" h="412114">
                    <a:moveTo>
                      <a:pt x="3206432" y="401764"/>
                    </a:moveTo>
                    <a:lnTo>
                      <a:pt x="3196183" y="401764"/>
                    </a:lnTo>
                    <a:lnTo>
                      <a:pt x="3196183" y="412013"/>
                    </a:lnTo>
                    <a:lnTo>
                      <a:pt x="3206432" y="412013"/>
                    </a:lnTo>
                    <a:lnTo>
                      <a:pt x="3206432" y="401764"/>
                    </a:lnTo>
                    <a:close/>
                  </a:path>
                  <a:path w="5480684" h="412114">
                    <a:moveTo>
                      <a:pt x="3267900" y="401764"/>
                    </a:moveTo>
                    <a:lnTo>
                      <a:pt x="3257651" y="401764"/>
                    </a:lnTo>
                    <a:lnTo>
                      <a:pt x="3257651" y="412013"/>
                    </a:lnTo>
                    <a:lnTo>
                      <a:pt x="3267900" y="412013"/>
                    </a:lnTo>
                    <a:lnTo>
                      <a:pt x="3267900" y="401764"/>
                    </a:lnTo>
                    <a:close/>
                  </a:path>
                  <a:path w="5480684" h="412114">
                    <a:moveTo>
                      <a:pt x="3329368" y="401764"/>
                    </a:moveTo>
                    <a:lnTo>
                      <a:pt x="3319119" y="401764"/>
                    </a:lnTo>
                    <a:lnTo>
                      <a:pt x="3319119" y="412013"/>
                    </a:lnTo>
                    <a:lnTo>
                      <a:pt x="3329368" y="412013"/>
                    </a:lnTo>
                    <a:lnTo>
                      <a:pt x="3329368" y="401764"/>
                    </a:lnTo>
                    <a:close/>
                  </a:path>
                  <a:path w="5480684" h="412114">
                    <a:moveTo>
                      <a:pt x="3390823" y="401764"/>
                    </a:moveTo>
                    <a:lnTo>
                      <a:pt x="3380587" y="401764"/>
                    </a:lnTo>
                    <a:lnTo>
                      <a:pt x="3380587" y="412013"/>
                    </a:lnTo>
                    <a:lnTo>
                      <a:pt x="3390823" y="412013"/>
                    </a:lnTo>
                    <a:lnTo>
                      <a:pt x="3390823" y="401764"/>
                    </a:lnTo>
                    <a:close/>
                  </a:path>
                  <a:path w="5480684" h="412114">
                    <a:moveTo>
                      <a:pt x="3452291" y="401764"/>
                    </a:moveTo>
                    <a:lnTo>
                      <a:pt x="3442055" y="401764"/>
                    </a:lnTo>
                    <a:lnTo>
                      <a:pt x="3442055" y="412013"/>
                    </a:lnTo>
                    <a:lnTo>
                      <a:pt x="3452291" y="412013"/>
                    </a:lnTo>
                    <a:lnTo>
                      <a:pt x="3452291" y="401764"/>
                    </a:lnTo>
                    <a:close/>
                  </a:path>
                  <a:path w="5480684" h="412114">
                    <a:moveTo>
                      <a:pt x="3513759" y="401764"/>
                    </a:moveTo>
                    <a:lnTo>
                      <a:pt x="3503511" y="401764"/>
                    </a:lnTo>
                    <a:lnTo>
                      <a:pt x="3503511" y="412013"/>
                    </a:lnTo>
                    <a:lnTo>
                      <a:pt x="3513759" y="412013"/>
                    </a:lnTo>
                    <a:lnTo>
                      <a:pt x="3513759" y="401764"/>
                    </a:lnTo>
                    <a:close/>
                  </a:path>
                  <a:path w="5480684" h="412114">
                    <a:moveTo>
                      <a:pt x="3575227" y="401764"/>
                    </a:moveTo>
                    <a:lnTo>
                      <a:pt x="3564979" y="401764"/>
                    </a:lnTo>
                    <a:lnTo>
                      <a:pt x="3564979" y="412013"/>
                    </a:lnTo>
                    <a:lnTo>
                      <a:pt x="3575227" y="412013"/>
                    </a:lnTo>
                    <a:lnTo>
                      <a:pt x="3575227" y="401764"/>
                    </a:lnTo>
                    <a:close/>
                  </a:path>
                  <a:path w="5480684" h="412114">
                    <a:moveTo>
                      <a:pt x="3636683" y="401764"/>
                    </a:moveTo>
                    <a:lnTo>
                      <a:pt x="3626447" y="401764"/>
                    </a:lnTo>
                    <a:lnTo>
                      <a:pt x="3626447" y="412013"/>
                    </a:lnTo>
                    <a:lnTo>
                      <a:pt x="3636683" y="412013"/>
                    </a:lnTo>
                    <a:lnTo>
                      <a:pt x="3636683" y="401764"/>
                    </a:lnTo>
                    <a:close/>
                  </a:path>
                  <a:path w="5480684" h="412114">
                    <a:moveTo>
                      <a:pt x="3698151" y="401764"/>
                    </a:moveTo>
                    <a:lnTo>
                      <a:pt x="3687915" y="401764"/>
                    </a:lnTo>
                    <a:lnTo>
                      <a:pt x="3687915" y="412013"/>
                    </a:lnTo>
                    <a:lnTo>
                      <a:pt x="3698151" y="412013"/>
                    </a:lnTo>
                    <a:lnTo>
                      <a:pt x="3698151" y="401764"/>
                    </a:lnTo>
                    <a:close/>
                  </a:path>
                  <a:path w="5480684" h="412114">
                    <a:moveTo>
                      <a:pt x="3759619" y="401764"/>
                    </a:moveTo>
                    <a:lnTo>
                      <a:pt x="3749370" y="401764"/>
                    </a:lnTo>
                    <a:lnTo>
                      <a:pt x="3749370" y="412013"/>
                    </a:lnTo>
                    <a:lnTo>
                      <a:pt x="3759619" y="412013"/>
                    </a:lnTo>
                    <a:lnTo>
                      <a:pt x="3759619" y="401764"/>
                    </a:lnTo>
                    <a:close/>
                  </a:path>
                  <a:path w="5480684" h="412114">
                    <a:moveTo>
                      <a:pt x="3821087" y="401764"/>
                    </a:moveTo>
                    <a:lnTo>
                      <a:pt x="3810838" y="401764"/>
                    </a:lnTo>
                    <a:lnTo>
                      <a:pt x="3810838" y="412013"/>
                    </a:lnTo>
                    <a:lnTo>
                      <a:pt x="3821087" y="412013"/>
                    </a:lnTo>
                    <a:lnTo>
                      <a:pt x="3821087" y="401764"/>
                    </a:lnTo>
                    <a:close/>
                  </a:path>
                  <a:path w="5480684" h="412114">
                    <a:moveTo>
                      <a:pt x="3882555" y="401764"/>
                    </a:moveTo>
                    <a:lnTo>
                      <a:pt x="3872306" y="401764"/>
                    </a:lnTo>
                    <a:lnTo>
                      <a:pt x="3872306" y="412013"/>
                    </a:lnTo>
                    <a:lnTo>
                      <a:pt x="3882555" y="412013"/>
                    </a:lnTo>
                    <a:lnTo>
                      <a:pt x="3882555" y="401764"/>
                    </a:lnTo>
                    <a:close/>
                  </a:path>
                  <a:path w="5480684" h="412114">
                    <a:moveTo>
                      <a:pt x="3944010" y="401764"/>
                    </a:moveTo>
                    <a:lnTo>
                      <a:pt x="3933774" y="401764"/>
                    </a:lnTo>
                    <a:lnTo>
                      <a:pt x="3933774" y="412013"/>
                    </a:lnTo>
                    <a:lnTo>
                      <a:pt x="3944010" y="412013"/>
                    </a:lnTo>
                    <a:lnTo>
                      <a:pt x="3944010" y="401764"/>
                    </a:lnTo>
                    <a:close/>
                  </a:path>
                  <a:path w="5480684" h="412114">
                    <a:moveTo>
                      <a:pt x="4005478" y="401764"/>
                    </a:moveTo>
                    <a:lnTo>
                      <a:pt x="3995242" y="401764"/>
                    </a:lnTo>
                    <a:lnTo>
                      <a:pt x="3995242" y="412013"/>
                    </a:lnTo>
                    <a:lnTo>
                      <a:pt x="4005478" y="412013"/>
                    </a:lnTo>
                    <a:lnTo>
                      <a:pt x="4005478" y="401764"/>
                    </a:lnTo>
                    <a:close/>
                  </a:path>
                  <a:path w="5480684" h="412114">
                    <a:moveTo>
                      <a:pt x="4066946" y="401764"/>
                    </a:moveTo>
                    <a:lnTo>
                      <a:pt x="4056697" y="401764"/>
                    </a:lnTo>
                    <a:lnTo>
                      <a:pt x="4056697" y="412013"/>
                    </a:lnTo>
                    <a:lnTo>
                      <a:pt x="4066946" y="412013"/>
                    </a:lnTo>
                    <a:lnTo>
                      <a:pt x="4066946" y="401764"/>
                    </a:lnTo>
                    <a:close/>
                  </a:path>
                  <a:path w="5480684" h="412114">
                    <a:moveTo>
                      <a:pt x="4128414" y="401764"/>
                    </a:moveTo>
                    <a:lnTo>
                      <a:pt x="4118165" y="401764"/>
                    </a:lnTo>
                    <a:lnTo>
                      <a:pt x="4118165" y="412013"/>
                    </a:lnTo>
                    <a:lnTo>
                      <a:pt x="4128414" y="412013"/>
                    </a:lnTo>
                    <a:lnTo>
                      <a:pt x="4128414" y="401764"/>
                    </a:lnTo>
                    <a:close/>
                  </a:path>
                  <a:path w="5480684" h="412114">
                    <a:moveTo>
                      <a:pt x="4189882" y="401764"/>
                    </a:moveTo>
                    <a:lnTo>
                      <a:pt x="4179633" y="401764"/>
                    </a:lnTo>
                    <a:lnTo>
                      <a:pt x="4179633" y="412013"/>
                    </a:lnTo>
                    <a:lnTo>
                      <a:pt x="4189882" y="412013"/>
                    </a:lnTo>
                    <a:lnTo>
                      <a:pt x="4189882" y="401764"/>
                    </a:lnTo>
                    <a:close/>
                  </a:path>
                  <a:path w="5480684" h="412114">
                    <a:moveTo>
                      <a:pt x="4251337" y="401764"/>
                    </a:moveTo>
                    <a:lnTo>
                      <a:pt x="4241101" y="401764"/>
                    </a:lnTo>
                    <a:lnTo>
                      <a:pt x="4241101" y="412013"/>
                    </a:lnTo>
                    <a:lnTo>
                      <a:pt x="4251337" y="412013"/>
                    </a:lnTo>
                    <a:lnTo>
                      <a:pt x="4251337" y="401764"/>
                    </a:lnTo>
                    <a:close/>
                  </a:path>
                  <a:path w="5480684" h="412114">
                    <a:moveTo>
                      <a:pt x="4312805" y="401764"/>
                    </a:moveTo>
                    <a:lnTo>
                      <a:pt x="4302557" y="401764"/>
                    </a:lnTo>
                    <a:lnTo>
                      <a:pt x="4302557" y="412013"/>
                    </a:lnTo>
                    <a:lnTo>
                      <a:pt x="4312805" y="412013"/>
                    </a:lnTo>
                    <a:lnTo>
                      <a:pt x="4312805" y="401764"/>
                    </a:lnTo>
                    <a:close/>
                  </a:path>
                  <a:path w="5480684" h="412114">
                    <a:moveTo>
                      <a:pt x="4374273" y="401764"/>
                    </a:moveTo>
                    <a:lnTo>
                      <a:pt x="4364025" y="401764"/>
                    </a:lnTo>
                    <a:lnTo>
                      <a:pt x="4364025" y="412013"/>
                    </a:lnTo>
                    <a:lnTo>
                      <a:pt x="4374273" y="412013"/>
                    </a:lnTo>
                    <a:lnTo>
                      <a:pt x="4374273" y="401764"/>
                    </a:lnTo>
                    <a:close/>
                  </a:path>
                  <a:path w="5480684" h="412114">
                    <a:moveTo>
                      <a:pt x="4435741" y="401764"/>
                    </a:moveTo>
                    <a:lnTo>
                      <a:pt x="4425493" y="401764"/>
                    </a:lnTo>
                    <a:lnTo>
                      <a:pt x="4425493" y="412013"/>
                    </a:lnTo>
                    <a:lnTo>
                      <a:pt x="4435741" y="412013"/>
                    </a:lnTo>
                    <a:lnTo>
                      <a:pt x="4435741" y="401764"/>
                    </a:lnTo>
                    <a:close/>
                  </a:path>
                  <a:path w="5480684" h="412114">
                    <a:moveTo>
                      <a:pt x="4497197" y="401764"/>
                    </a:moveTo>
                    <a:lnTo>
                      <a:pt x="4486961" y="401764"/>
                    </a:lnTo>
                    <a:lnTo>
                      <a:pt x="4486961" y="412013"/>
                    </a:lnTo>
                    <a:lnTo>
                      <a:pt x="4497197" y="412013"/>
                    </a:lnTo>
                    <a:lnTo>
                      <a:pt x="4497197" y="401764"/>
                    </a:lnTo>
                    <a:close/>
                  </a:path>
                  <a:path w="5480684" h="412114">
                    <a:moveTo>
                      <a:pt x="4558665" y="401764"/>
                    </a:moveTo>
                    <a:lnTo>
                      <a:pt x="4548429" y="401764"/>
                    </a:lnTo>
                    <a:lnTo>
                      <a:pt x="4548429" y="412013"/>
                    </a:lnTo>
                    <a:lnTo>
                      <a:pt x="4558665" y="412013"/>
                    </a:lnTo>
                    <a:lnTo>
                      <a:pt x="4558665" y="401764"/>
                    </a:lnTo>
                    <a:close/>
                  </a:path>
                  <a:path w="5480684" h="412114">
                    <a:moveTo>
                      <a:pt x="4620133" y="401764"/>
                    </a:moveTo>
                    <a:lnTo>
                      <a:pt x="4609884" y="401764"/>
                    </a:lnTo>
                    <a:lnTo>
                      <a:pt x="4609884" y="412013"/>
                    </a:lnTo>
                    <a:lnTo>
                      <a:pt x="4620133" y="412013"/>
                    </a:lnTo>
                    <a:lnTo>
                      <a:pt x="4620133" y="401764"/>
                    </a:lnTo>
                    <a:close/>
                  </a:path>
                  <a:path w="5480684" h="412114">
                    <a:moveTo>
                      <a:pt x="4681601" y="401764"/>
                    </a:moveTo>
                    <a:lnTo>
                      <a:pt x="4671352" y="401764"/>
                    </a:lnTo>
                    <a:lnTo>
                      <a:pt x="4671352" y="412013"/>
                    </a:lnTo>
                    <a:lnTo>
                      <a:pt x="4681601" y="412013"/>
                    </a:lnTo>
                    <a:lnTo>
                      <a:pt x="4681601" y="401764"/>
                    </a:lnTo>
                    <a:close/>
                  </a:path>
                  <a:path w="5480684" h="412114">
                    <a:moveTo>
                      <a:pt x="4743069" y="401764"/>
                    </a:moveTo>
                    <a:lnTo>
                      <a:pt x="4732820" y="401764"/>
                    </a:lnTo>
                    <a:lnTo>
                      <a:pt x="4732820" y="412013"/>
                    </a:lnTo>
                    <a:lnTo>
                      <a:pt x="4743069" y="412013"/>
                    </a:lnTo>
                    <a:lnTo>
                      <a:pt x="4743069" y="401764"/>
                    </a:lnTo>
                    <a:close/>
                  </a:path>
                  <a:path w="5480684" h="412114">
                    <a:moveTo>
                      <a:pt x="4804524" y="401764"/>
                    </a:moveTo>
                    <a:lnTo>
                      <a:pt x="4794288" y="401764"/>
                    </a:lnTo>
                    <a:lnTo>
                      <a:pt x="4794288" y="412013"/>
                    </a:lnTo>
                    <a:lnTo>
                      <a:pt x="4804524" y="412013"/>
                    </a:lnTo>
                    <a:lnTo>
                      <a:pt x="4804524" y="401764"/>
                    </a:lnTo>
                    <a:close/>
                  </a:path>
                  <a:path w="5480684" h="412114">
                    <a:moveTo>
                      <a:pt x="4865992" y="401764"/>
                    </a:moveTo>
                    <a:lnTo>
                      <a:pt x="4855756" y="401764"/>
                    </a:lnTo>
                    <a:lnTo>
                      <a:pt x="4855756" y="412013"/>
                    </a:lnTo>
                    <a:lnTo>
                      <a:pt x="4865992" y="412013"/>
                    </a:lnTo>
                    <a:lnTo>
                      <a:pt x="4865992" y="401764"/>
                    </a:lnTo>
                    <a:close/>
                  </a:path>
                  <a:path w="5480684" h="412114">
                    <a:moveTo>
                      <a:pt x="4927460" y="401764"/>
                    </a:moveTo>
                    <a:lnTo>
                      <a:pt x="4917211" y="401764"/>
                    </a:lnTo>
                    <a:lnTo>
                      <a:pt x="4917211" y="412013"/>
                    </a:lnTo>
                    <a:lnTo>
                      <a:pt x="4927460" y="412013"/>
                    </a:lnTo>
                    <a:lnTo>
                      <a:pt x="4927460" y="401764"/>
                    </a:lnTo>
                    <a:close/>
                  </a:path>
                  <a:path w="5480684" h="412114">
                    <a:moveTo>
                      <a:pt x="4988928" y="401764"/>
                    </a:moveTo>
                    <a:lnTo>
                      <a:pt x="4978679" y="401764"/>
                    </a:lnTo>
                    <a:lnTo>
                      <a:pt x="4978679" y="412013"/>
                    </a:lnTo>
                    <a:lnTo>
                      <a:pt x="4988928" y="412013"/>
                    </a:lnTo>
                    <a:lnTo>
                      <a:pt x="4988928" y="401764"/>
                    </a:lnTo>
                    <a:close/>
                  </a:path>
                  <a:path w="5480684" h="412114">
                    <a:moveTo>
                      <a:pt x="5050396" y="401764"/>
                    </a:moveTo>
                    <a:lnTo>
                      <a:pt x="5040147" y="401764"/>
                    </a:lnTo>
                    <a:lnTo>
                      <a:pt x="5040147" y="412013"/>
                    </a:lnTo>
                    <a:lnTo>
                      <a:pt x="5050396" y="412013"/>
                    </a:lnTo>
                    <a:lnTo>
                      <a:pt x="5050396" y="401764"/>
                    </a:lnTo>
                    <a:close/>
                  </a:path>
                  <a:path w="5480684" h="412114">
                    <a:moveTo>
                      <a:pt x="5111851" y="401764"/>
                    </a:moveTo>
                    <a:lnTo>
                      <a:pt x="5101615" y="401764"/>
                    </a:lnTo>
                    <a:lnTo>
                      <a:pt x="5101615" y="412013"/>
                    </a:lnTo>
                    <a:lnTo>
                      <a:pt x="5111851" y="412013"/>
                    </a:lnTo>
                    <a:lnTo>
                      <a:pt x="5111851" y="401764"/>
                    </a:lnTo>
                    <a:close/>
                  </a:path>
                  <a:path w="5480684" h="412114">
                    <a:moveTo>
                      <a:pt x="5173319" y="401764"/>
                    </a:moveTo>
                    <a:lnTo>
                      <a:pt x="5163070" y="401764"/>
                    </a:lnTo>
                    <a:lnTo>
                      <a:pt x="5163070" y="412013"/>
                    </a:lnTo>
                    <a:lnTo>
                      <a:pt x="5173319" y="412013"/>
                    </a:lnTo>
                    <a:lnTo>
                      <a:pt x="5173319" y="401764"/>
                    </a:lnTo>
                    <a:close/>
                  </a:path>
                  <a:path w="5480684" h="412114">
                    <a:moveTo>
                      <a:pt x="5234787" y="401764"/>
                    </a:moveTo>
                    <a:lnTo>
                      <a:pt x="5224538" y="401764"/>
                    </a:lnTo>
                    <a:lnTo>
                      <a:pt x="5224538" y="412013"/>
                    </a:lnTo>
                    <a:lnTo>
                      <a:pt x="5234787" y="412013"/>
                    </a:lnTo>
                    <a:lnTo>
                      <a:pt x="5234787" y="401764"/>
                    </a:lnTo>
                    <a:close/>
                  </a:path>
                  <a:path w="5480684" h="412114">
                    <a:moveTo>
                      <a:pt x="5296255" y="401764"/>
                    </a:moveTo>
                    <a:lnTo>
                      <a:pt x="5286006" y="401764"/>
                    </a:lnTo>
                    <a:lnTo>
                      <a:pt x="5286006" y="412013"/>
                    </a:lnTo>
                    <a:lnTo>
                      <a:pt x="5296255" y="412013"/>
                    </a:lnTo>
                    <a:lnTo>
                      <a:pt x="5296255" y="401764"/>
                    </a:lnTo>
                    <a:close/>
                  </a:path>
                  <a:path w="5480684" h="412114">
                    <a:moveTo>
                      <a:pt x="5357711" y="401764"/>
                    </a:moveTo>
                    <a:lnTo>
                      <a:pt x="5347474" y="401764"/>
                    </a:lnTo>
                    <a:lnTo>
                      <a:pt x="5347474" y="412013"/>
                    </a:lnTo>
                    <a:lnTo>
                      <a:pt x="5357711" y="412013"/>
                    </a:lnTo>
                    <a:lnTo>
                      <a:pt x="5357711" y="401764"/>
                    </a:lnTo>
                    <a:close/>
                  </a:path>
                  <a:path w="5480684" h="412114">
                    <a:moveTo>
                      <a:pt x="5419179" y="401764"/>
                    </a:moveTo>
                    <a:lnTo>
                      <a:pt x="5408942" y="401764"/>
                    </a:lnTo>
                    <a:lnTo>
                      <a:pt x="5408942" y="412013"/>
                    </a:lnTo>
                    <a:lnTo>
                      <a:pt x="5419179" y="412013"/>
                    </a:lnTo>
                    <a:lnTo>
                      <a:pt x="5419179" y="401764"/>
                    </a:lnTo>
                    <a:close/>
                  </a:path>
                  <a:path w="5480684" h="412114">
                    <a:moveTo>
                      <a:pt x="5480647" y="401764"/>
                    </a:moveTo>
                    <a:lnTo>
                      <a:pt x="5470398" y="401764"/>
                    </a:lnTo>
                    <a:lnTo>
                      <a:pt x="5470398" y="412013"/>
                    </a:lnTo>
                    <a:lnTo>
                      <a:pt x="5480647" y="412013"/>
                    </a:lnTo>
                    <a:lnTo>
                      <a:pt x="5480647" y="401764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7" name="object 7"/>
              <p:cNvSpPr/>
              <p:nvPr/>
            </p:nvSpPr>
            <p:spPr>
              <a:xfrm>
                <a:off x="7414602" y="2312212"/>
                <a:ext cx="5480685" cy="412115"/>
              </a:xfrm>
              <a:custGeom>
                <a:avLst/>
                <a:gdLst/>
                <a:ahLst/>
                <a:cxnLst/>
                <a:rect l="l" t="t" r="r" b="b"/>
                <a:pathLst>
                  <a:path w="5480684" h="412114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36" y="10236"/>
                    </a:lnTo>
                    <a:lnTo>
                      <a:pt x="10236" y="0"/>
                    </a:lnTo>
                    <a:close/>
                  </a:path>
                  <a:path w="5480684" h="412114">
                    <a:moveTo>
                      <a:pt x="71704" y="0"/>
                    </a:moveTo>
                    <a:lnTo>
                      <a:pt x="61455" y="0"/>
                    </a:lnTo>
                    <a:lnTo>
                      <a:pt x="61455" y="10236"/>
                    </a:lnTo>
                    <a:lnTo>
                      <a:pt x="71704" y="10236"/>
                    </a:lnTo>
                    <a:lnTo>
                      <a:pt x="71704" y="0"/>
                    </a:lnTo>
                    <a:close/>
                  </a:path>
                  <a:path w="5480684" h="412114">
                    <a:moveTo>
                      <a:pt x="133172" y="0"/>
                    </a:moveTo>
                    <a:lnTo>
                      <a:pt x="122923" y="0"/>
                    </a:lnTo>
                    <a:lnTo>
                      <a:pt x="122923" y="10236"/>
                    </a:lnTo>
                    <a:lnTo>
                      <a:pt x="133172" y="10236"/>
                    </a:lnTo>
                    <a:lnTo>
                      <a:pt x="133172" y="0"/>
                    </a:lnTo>
                    <a:close/>
                  </a:path>
                  <a:path w="5480684" h="412114">
                    <a:moveTo>
                      <a:pt x="194640" y="0"/>
                    </a:moveTo>
                    <a:lnTo>
                      <a:pt x="184391" y="0"/>
                    </a:lnTo>
                    <a:lnTo>
                      <a:pt x="184391" y="10236"/>
                    </a:lnTo>
                    <a:lnTo>
                      <a:pt x="194640" y="10236"/>
                    </a:lnTo>
                    <a:lnTo>
                      <a:pt x="194640" y="0"/>
                    </a:lnTo>
                    <a:close/>
                  </a:path>
                  <a:path w="5480684" h="412114">
                    <a:moveTo>
                      <a:pt x="256095" y="0"/>
                    </a:moveTo>
                    <a:lnTo>
                      <a:pt x="245859" y="0"/>
                    </a:lnTo>
                    <a:lnTo>
                      <a:pt x="245859" y="10236"/>
                    </a:lnTo>
                    <a:lnTo>
                      <a:pt x="256095" y="10236"/>
                    </a:lnTo>
                    <a:lnTo>
                      <a:pt x="256095" y="0"/>
                    </a:lnTo>
                    <a:close/>
                  </a:path>
                  <a:path w="5480684" h="412114">
                    <a:moveTo>
                      <a:pt x="317563" y="0"/>
                    </a:moveTo>
                    <a:lnTo>
                      <a:pt x="307327" y="0"/>
                    </a:lnTo>
                    <a:lnTo>
                      <a:pt x="307327" y="10236"/>
                    </a:lnTo>
                    <a:lnTo>
                      <a:pt x="317563" y="10236"/>
                    </a:lnTo>
                    <a:lnTo>
                      <a:pt x="317563" y="0"/>
                    </a:lnTo>
                    <a:close/>
                  </a:path>
                  <a:path w="5480684" h="412114">
                    <a:moveTo>
                      <a:pt x="379031" y="0"/>
                    </a:moveTo>
                    <a:lnTo>
                      <a:pt x="368782" y="0"/>
                    </a:lnTo>
                    <a:lnTo>
                      <a:pt x="368782" y="10236"/>
                    </a:lnTo>
                    <a:lnTo>
                      <a:pt x="379031" y="10236"/>
                    </a:lnTo>
                    <a:lnTo>
                      <a:pt x="379031" y="0"/>
                    </a:lnTo>
                    <a:close/>
                  </a:path>
                  <a:path w="5480684" h="412114">
                    <a:moveTo>
                      <a:pt x="440499" y="0"/>
                    </a:moveTo>
                    <a:lnTo>
                      <a:pt x="430250" y="0"/>
                    </a:lnTo>
                    <a:lnTo>
                      <a:pt x="430250" y="10236"/>
                    </a:lnTo>
                    <a:lnTo>
                      <a:pt x="440499" y="10236"/>
                    </a:lnTo>
                    <a:lnTo>
                      <a:pt x="440499" y="0"/>
                    </a:lnTo>
                    <a:close/>
                  </a:path>
                  <a:path w="5480684" h="412114">
                    <a:moveTo>
                      <a:pt x="501967" y="0"/>
                    </a:moveTo>
                    <a:lnTo>
                      <a:pt x="491718" y="0"/>
                    </a:lnTo>
                    <a:lnTo>
                      <a:pt x="491718" y="10236"/>
                    </a:lnTo>
                    <a:lnTo>
                      <a:pt x="501967" y="10236"/>
                    </a:lnTo>
                    <a:lnTo>
                      <a:pt x="501967" y="0"/>
                    </a:lnTo>
                    <a:close/>
                  </a:path>
                  <a:path w="5480684" h="412114">
                    <a:moveTo>
                      <a:pt x="563422" y="0"/>
                    </a:moveTo>
                    <a:lnTo>
                      <a:pt x="553186" y="0"/>
                    </a:lnTo>
                    <a:lnTo>
                      <a:pt x="553186" y="10236"/>
                    </a:lnTo>
                    <a:lnTo>
                      <a:pt x="563422" y="10236"/>
                    </a:lnTo>
                    <a:lnTo>
                      <a:pt x="563422" y="0"/>
                    </a:lnTo>
                    <a:close/>
                  </a:path>
                  <a:path w="5480684" h="412114">
                    <a:moveTo>
                      <a:pt x="624890" y="0"/>
                    </a:moveTo>
                    <a:lnTo>
                      <a:pt x="614641" y="0"/>
                    </a:lnTo>
                    <a:lnTo>
                      <a:pt x="614641" y="10236"/>
                    </a:lnTo>
                    <a:lnTo>
                      <a:pt x="624890" y="10236"/>
                    </a:lnTo>
                    <a:lnTo>
                      <a:pt x="624890" y="0"/>
                    </a:lnTo>
                    <a:close/>
                  </a:path>
                  <a:path w="5480684" h="412114">
                    <a:moveTo>
                      <a:pt x="1854200" y="401751"/>
                    </a:moveTo>
                    <a:lnTo>
                      <a:pt x="1843951" y="401751"/>
                    </a:lnTo>
                    <a:lnTo>
                      <a:pt x="1843951" y="412000"/>
                    </a:lnTo>
                    <a:lnTo>
                      <a:pt x="1854200" y="412000"/>
                    </a:lnTo>
                    <a:lnTo>
                      <a:pt x="1854200" y="401751"/>
                    </a:lnTo>
                    <a:close/>
                  </a:path>
                  <a:path w="5480684" h="412114">
                    <a:moveTo>
                      <a:pt x="1915668" y="401751"/>
                    </a:moveTo>
                    <a:lnTo>
                      <a:pt x="1905419" y="401751"/>
                    </a:lnTo>
                    <a:lnTo>
                      <a:pt x="1905419" y="412000"/>
                    </a:lnTo>
                    <a:lnTo>
                      <a:pt x="1915668" y="412000"/>
                    </a:lnTo>
                    <a:lnTo>
                      <a:pt x="1915668" y="401751"/>
                    </a:lnTo>
                    <a:close/>
                  </a:path>
                  <a:path w="5480684" h="412114">
                    <a:moveTo>
                      <a:pt x="1977123" y="401751"/>
                    </a:moveTo>
                    <a:lnTo>
                      <a:pt x="1966887" y="401751"/>
                    </a:lnTo>
                    <a:lnTo>
                      <a:pt x="1966887" y="412000"/>
                    </a:lnTo>
                    <a:lnTo>
                      <a:pt x="1977123" y="412000"/>
                    </a:lnTo>
                    <a:lnTo>
                      <a:pt x="1977123" y="401751"/>
                    </a:lnTo>
                    <a:close/>
                  </a:path>
                  <a:path w="5480684" h="412114">
                    <a:moveTo>
                      <a:pt x="2038591" y="401751"/>
                    </a:moveTo>
                    <a:lnTo>
                      <a:pt x="2028342" y="401751"/>
                    </a:lnTo>
                    <a:lnTo>
                      <a:pt x="2028342" y="412000"/>
                    </a:lnTo>
                    <a:lnTo>
                      <a:pt x="2038591" y="412000"/>
                    </a:lnTo>
                    <a:lnTo>
                      <a:pt x="2038591" y="401751"/>
                    </a:lnTo>
                    <a:close/>
                  </a:path>
                  <a:path w="5480684" h="412114">
                    <a:moveTo>
                      <a:pt x="2100059" y="401751"/>
                    </a:moveTo>
                    <a:lnTo>
                      <a:pt x="2089810" y="401751"/>
                    </a:lnTo>
                    <a:lnTo>
                      <a:pt x="2089810" y="412000"/>
                    </a:lnTo>
                    <a:lnTo>
                      <a:pt x="2100059" y="412000"/>
                    </a:lnTo>
                    <a:lnTo>
                      <a:pt x="2100059" y="401751"/>
                    </a:lnTo>
                    <a:close/>
                  </a:path>
                  <a:path w="5480684" h="412114">
                    <a:moveTo>
                      <a:pt x="2161527" y="401751"/>
                    </a:moveTo>
                    <a:lnTo>
                      <a:pt x="2151278" y="401751"/>
                    </a:lnTo>
                    <a:lnTo>
                      <a:pt x="2151278" y="412000"/>
                    </a:lnTo>
                    <a:lnTo>
                      <a:pt x="2161527" y="412000"/>
                    </a:lnTo>
                    <a:lnTo>
                      <a:pt x="2161527" y="401751"/>
                    </a:lnTo>
                    <a:close/>
                  </a:path>
                  <a:path w="5480684" h="412114">
                    <a:moveTo>
                      <a:pt x="2222982" y="401751"/>
                    </a:moveTo>
                    <a:lnTo>
                      <a:pt x="2212746" y="401751"/>
                    </a:lnTo>
                    <a:lnTo>
                      <a:pt x="2212746" y="412000"/>
                    </a:lnTo>
                    <a:lnTo>
                      <a:pt x="2222982" y="412000"/>
                    </a:lnTo>
                    <a:lnTo>
                      <a:pt x="2222982" y="401751"/>
                    </a:lnTo>
                    <a:close/>
                  </a:path>
                  <a:path w="5480684" h="412114">
                    <a:moveTo>
                      <a:pt x="2284450" y="401751"/>
                    </a:moveTo>
                    <a:lnTo>
                      <a:pt x="2274214" y="401751"/>
                    </a:lnTo>
                    <a:lnTo>
                      <a:pt x="2274214" y="412000"/>
                    </a:lnTo>
                    <a:lnTo>
                      <a:pt x="2284450" y="412000"/>
                    </a:lnTo>
                    <a:lnTo>
                      <a:pt x="2284450" y="401751"/>
                    </a:lnTo>
                    <a:close/>
                  </a:path>
                  <a:path w="5480684" h="412114">
                    <a:moveTo>
                      <a:pt x="2345918" y="401751"/>
                    </a:moveTo>
                    <a:lnTo>
                      <a:pt x="2335669" y="401751"/>
                    </a:lnTo>
                    <a:lnTo>
                      <a:pt x="2335669" y="412000"/>
                    </a:lnTo>
                    <a:lnTo>
                      <a:pt x="2345918" y="412000"/>
                    </a:lnTo>
                    <a:lnTo>
                      <a:pt x="2345918" y="401751"/>
                    </a:lnTo>
                    <a:close/>
                  </a:path>
                  <a:path w="5480684" h="412114">
                    <a:moveTo>
                      <a:pt x="2407386" y="401751"/>
                    </a:moveTo>
                    <a:lnTo>
                      <a:pt x="2397137" y="401751"/>
                    </a:lnTo>
                    <a:lnTo>
                      <a:pt x="2397137" y="412000"/>
                    </a:lnTo>
                    <a:lnTo>
                      <a:pt x="2407386" y="412000"/>
                    </a:lnTo>
                    <a:lnTo>
                      <a:pt x="2407386" y="401751"/>
                    </a:lnTo>
                    <a:close/>
                  </a:path>
                  <a:path w="5480684" h="412114">
                    <a:moveTo>
                      <a:pt x="2468854" y="401751"/>
                    </a:moveTo>
                    <a:lnTo>
                      <a:pt x="2458605" y="401751"/>
                    </a:lnTo>
                    <a:lnTo>
                      <a:pt x="2458605" y="412000"/>
                    </a:lnTo>
                    <a:lnTo>
                      <a:pt x="2468854" y="412000"/>
                    </a:lnTo>
                    <a:lnTo>
                      <a:pt x="2468854" y="401751"/>
                    </a:lnTo>
                    <a:close/>
                  </a:path>
                  <a:path w="5480684" h="412114">
                    <a:moveTo>
                      <a:pt x="2530310" y="401751"/>
                    </a:moveTo>
                    <a:lnTo>
                      <a:pt x="2520073" y="401751"/>
                    </a:lnTo>
                    <a:lnTo>
                      <a:pt x="2520073" y="412000"/>
                    </a:lnTo>
                    <a:lnTo>
                      <a:pt x="2530310" y="412000"/>
                    </a:lnTo>
                    <a:lnTo>
                      <a:pt x="2530310" y="401751"/>
                    </a:lnTo>
                    <a:close/>
                  </a:path>
                  <a:path w="5480684" h="412114">
                    <a:moveTo>
                      <a:pt x="2591778" y="401751"/>
                    </a:moveTo>
                    <a:lnTo>
                      <a:pt x="2581541" y="401751"/>
                    </a:lnTo>
                    <a:lnTo>
                      <a:pt x="2581541" y="412000"/>
                    </a:lnTo>
                    <a:lnTo>
                      <a:pt x="2591778" y="412000"/>
                    </a:lnTo>
                    <a:lnTo>
                      <a:pt x="2591778" y="401751"/>
                    </a:lnTo>
                    <a:close/>
                  </a:path>
                  <a:path w="5480684" h="412114">
                    <a:moveTo>
                      <a:pt x="2653246" y="401751"/>
                    </a:moveTo>
                    <a:lnTo>
                      <a:pt x="2642997" y="401751"/>
                    </a:lnTo>
                    <a:lnTo>
                      <a:pt x="2642997" y="412000"/>
                    </a:lnTo>
                    <a:lnTo>
                      <a:pt x="2653246" y="412000"/>
                    </a:lnTo>
                    <a:lnTo>
                      <a:pt x="2653246" y="401751"/>
                    </a:lnTo>
                    <a:close/>
                  </a:path>
                  <a:path w="5480684" h="412114">
                    <a:moveTo>
                      <a:pt x="2714714" y="401751"/>
                    </a:moveTo>
                    <a:lnTo>
                      <a:pt x="2704465" y="401751"/>
                    </a:lnTo>
                    <a:lnTo>
                      <a:pt x="2704465" y="412000"/>
                    </a:lnTo>
                    <a:lnTo>
                      <a:pt x="2714714" y="412000"/>
                    </a:lnTo>
                    <a:lnTo>
                      <a:pt x="2714714" y="401751"/>
                    </a:lnTo>
                    <a:close/>
                  </a:path>
                  <a:path w="5480684" h="412114">
                    <a:moveTo>
                      <a:pt x="2776182" y="401751"/>
                    </a:moveTo>
                    <a:lnTo>
                      <a:pt x="2765933" y="401751"/>
                    </a:lnTo>
                    <a:lnTo>
                      <a:pt x="2765933" y="412000"/>
                    </a:lnTo>
                    <a:lnTo>
                      <a:pt x="2776182" y="412000"/>
                    </a:lnTo>
                    <a:lnTo>
                      <a:pt x="2776182" y="401751"/>
                    </a:lnTo>
                    <a:close/>
                  </a:path>
                  <a:path w="5480684" h="412114">
                    <a:moveTo>
                      <a:pt x="2837637" y="401751"/>
                    </a:moveTo>
                    <a:lnTo>
                      <a:pt x="2827401" y="401751"/>
                    </a:lnTo>
                    <a:lnTo>
                      <a:pt x="2827401" y="412000"/>
                    </a:lnTo>
                    <a:lnTo>
                      <a:pt x="2837637" y="412000"/>
                    </a:lnTo>
                    <a:lnTo>
                      <a:pt x="2837637" y="401751"/>
                    </a:lnTo>
                    <a:close/>
                  </a:path>
                  <a:path w="5480684" h="412114">
                    <a:moveTo>
                      <a:pt x="2899105" y="401751"/>
                    </a:moveTo>
                    <a:lnTo>
                      <a:pt x="2888856" y="401751"/>
                    </a:lnTo>
                    <a:lnTo>
                      <a:pt x="2888856" y="412000"/>
                    </a:lnTo>
                    <a:lnTo>
                      <a:pt x="2899105" y="412000"/>
                    </a:lnTo>
                    <a:lnTo>
                      <a:pt x="2899105" y="401751"/>
                    </a:lnTo>
                    <a:close/>
                  </a:path>
                  <a:path w="5480684" h="412114">
                    <a:moveTo>
                      <a:pt x="2960573" y="401751"/>
                    </a:moveTo>
                    <a:lnTo>
                      <a:pt x="2950324" y="401751"/>
                    </a:lnTo>
                    <a:lnTo>
                      <a:pt x="2950324" y="412000"/>
                    </a:lnTo>
                    <a:lnTo>
                      <a:pt x="2960573" y="412000"/>
                    </a:lnTo>
                    <a:lnTo>
                      <a:pt x="2960573" y="401751"/>
                    </a:lnTo>
                    <a:close/>
                  </a:path>
                  <a:path w="5480684" h="412114">
                    <a:moveTo>
                      <a:pt x="3022041" y="401751"/>
                    </a:moveTo>
                    <a:lnTo>
                      <a:pt x="3011792" y="401751"/>
                    </a:lnTo>
                    <a:lnTo>
                      <a:pt x="3011792" y="412000"/>
                    </a:lnTo>
                    <a:lnTo>
                      <a:pt x="3022041" y="412000"/>
                    </a:lnTo>
                    <a:lnTo>
                      <a:pt x="3022041" y="401751"/>
                    </a:lnTo>
                    <a:close/>
                  </a:path>
                  <a:path w="5480684" h="412114">
                    <a:moveTo>
                      <a:pt x="3083496" y="401751"/>
                    </a:moveTo>
                    <a:lnTo>
                      <a:pt x="3073260" y="401751"/>
                    </a:lnTo>
                    <a:lnTo>
                      <a:pt x="3073260" y="412000"/>
                    </a:lnTo>
                    <a:lnTo>
                      <a:pt x="3083496" y="412000"/>
                    </a:lnTo>
                    <a:lnTo>
                      <a:pt x="3083496" y="401751"/>
                    </a:lnTo>
                    <a:close/>
                  </a:path>
                  <a:path w="5480684" h="412114">
                    <a:moveTo>
                      <a:pt x="3144964" y="401751"/>
                    </a:moveTo>
                    <a:lnTo>
                      <a:pt x="3134728" y="401751"/>
                    </a:lnTo>
                    <a:lnTo>
                      <a:pt x="3134728" y="412000"/>
                    </a:lnTo>
                    <a:lnTo>
                      <a:pt x="3144964" y="412000"/>
                    </a:lnTo>
                    <a:lnTo>
                      <a:pt x="3144964" y="401751"/>
                    </a:lnTo>
                    <a:close/>
                  </a:path>
                  <a:path w="5480684" h="412114">
                    <a:moveTo>
                      <a:pt x="3206432" y="401751"/>
                    </a:moveTo>
                    <a:lnTo>
                      <a:pt x="3196183" y="401751"/>
                    </a:lnTo>
                    <a:lnTo>
                      <a:pt x="3196183" y="412000"/>
                    </a:lnTo>
                    <a:lnTo>
                      <a:pt x="3206432" y="412000"/>
                    </a:lnTo>
                    <a:lnTo>
                      <a:pt x="3206432" y="401751"/>
                    </a:lnTo>
                    <a:close/>
                  </a:path>
                  <a:path w="5480684" h="412114">
                    <a:moveTo>
                      <a:pt x="3267900" y="401751"/>
                    </a:moveTo>
                    <a:lnTo>
                      <a:pt x="3257651" y="401751"/>
                    </a:lnTo>
                    <a:lnTo>
                      <a:pt x="3257651" y="412000"/>
                    </a:lnTo>
                    <a:lnTo>
                      <a:pt x="3267900" y="412000"/>
                    </a:lnTo>
                    <a:lnTo>
                      <a:pt x="3267900" y="401751"/>
                    </a:lnTo>
                    <a:close/>
                  </a:path>
                  <a:path w="5480684" h="412114">
                    <a:moveTo>
                      <a:pt x="3329368" y="401751"/>
                    </a:moveTo>
                    <a:lnTo>
                      <a:pt x="3319119" y="401751"/>
                    </a:lnTo>
                    <a:lnTo>
                      <a:pt x="3319119" y="412000"/>
                    </a:lnTo>
                    <a:lnTo>
                      <a:pt x="3329368" y="412000"/>
                    </a:lnTo>
                    <a:lnTo>
                      <a:pt x="3329368" y="401751"/>
                    </a:lnTo>
                    <a:close/>
                  </a:path>
                  <a:path w="5480684" h="412114">
                    <a:moveTo>
                      <a:pt x="3390823" y="401751"/>
                    </a:moveTo>
                    <a:lnTo>
                      <a:pt x="3380587" y="401751"/>
                    </a:lnTo>
                    <a:lnTo>
                      <a:pt x="3380587" y="412000"/>
                    </a:lnTo>
                    <a:lnTo>
                      <a:pt x="3390823" y="412000"/>
                    </a:lnTo>
                    <a:lnTo>
                      <a:pt x="3390823" y="401751"/>
                    </a:lnTo>
                    <a:close/>
                  </a:path>
                  <a:path w="5480684" h="412114">
                    <a:moveTo>
                      <a:pt x="3452291" y="401751"/>
                    </a:moveTo>
                    <a:lnTo>
                      <a:pt x="3442055" y="401751"/>
                    </a:lnTo>
                    <a:lnTo>
                      <a:pt x="3442055" y="412000"/>
                    </a:lnTo>
                    <a:lnTo>
                      <a:pt x="3452291" y="412000"/>
                    </a:lnTo>
                    <a:lnTo>
                      <a:pt x="3452291" y="401751"/>
                    </a:lnTo>
                    <a:close/>
                  </a:path>
                  <a:path w="5480684" h="412114">
                    <a:moveTo>
                      <a:pt x="3513759" y="401751"/>
                    </a:moveTo>
                    <a:lnTo>
                      <a:pt x="3503511" y="401751"/>
                    </a:lnTo>
                    <a:lnTo>
                      <a:pt x="3503511" y="412000"/>
                    </a:lnTo>
                    <a:lnTo>
                      <a:pt x="3513759" y="412000"/>
                    </a:lnTo>
                    <a:lnTo>
                      <a:pt x="3513759" y="401751"/>
                    </a:lnTo>
                    <a:close/>
                  </a:path>
                  <a:path w="5480684" h="412114">
                    <a:moveTo>
                      <a:pt x="3575227" y="401751"/>
                    </a:moveTo>
                    <a:lnTo>
                      <a:pt x="3564979" y="401751"/>
                    </a:lnTo>
                    <a:lnTo>
                      <a:pt x="3564979" y="412000"/>
                    </a:lnTo>
                    <a:lnTo>
                      <a:pt x="3575227" y="412000"/>
                    </a:lnTo>
                    <a:lnTo>
                      <a:pt x="3575227" y="401751"/>
                    </a:lnTo>
                    <a:close/>
                  </a:path>
                  <a:path w="5480684" h="412114">
                    <a:moveTo>
                      <a:pt x="3636683" y="401751"/>
                    </a:moveTo>
                    <a:lnTo>
                      <a:pt x="3626447" y="401751"/>
                    </a:lnTo>
                    <a:lnTo>
                      <a:pt x="3626447" y="412000"/>
                    </a:lnTo>
                    <a:lnTo>
                      <a:pt x="3636683" y="412000"/>
                    </a:lnTo>
                    <a:lnTo>
                      <a:pt x="3636683" y="401751"/>
                    </a:lnTo>
                    <a:close/>
                  </a:path>
                  <a:path w="5480684" h="412114">
                    <a:moveTo>
                      <a:pt x="3698151" y="401751"/>
                    </a:moveTo>
                    <a:lnTo>
                      <a:pt x="3687915" y="401751"/>
                    </a:lnTo>
                    <a:lnTo>
                      <a:pt x="3687915" y="412000"/>
                    </a:lnTo>
                    <a:lnTo>
                      <a:pt x="3698151" y="412000"/>
                    </a:lnTo>
                    <a:lnTo>
                      <a:pt x="3698151" y="401751"/>
                    </a:lnTo>
                    <a:close/>
                  </a:path>
                  <a:path w="5480684" h="412114">
                    <a:moveTo>
                      <a:pt x="3759619" y="401751"/>
                    </a:moveTo>
                    <a:lnTo>
                      <a:pt x="3749370" y="401751"/>
                    </a:lnTo>
                    <a:lnTo>
                      <a:pt x="3749370" y="412000"/>
                    </a:lnTo>
                    <a:lnTo>
                      <a:pt x="3759619" y="412000"/>
                    </a:lnTo>
                    <a:lnTo>
                      <a:pt x="3759619" y="401751"/>
                    </a:lnTo>
                    <a:close/>
                  </a:path>
                  <a:path w="5480684" h="412114">
                    <a:moveTo>
                      <a:pt x="3821087" y="401751"/>
                    </a:moveTo>
                    <a:lnTo>
                      <a:pt x="3810838" y="401751"/>
                    </a:lnTo>
                    <a:lnTo>
                      <a:pt x="3810838" y="412000"/>
                    </a:lnTo>
                    <a:lnTo>
                      <a:pt x="3821087" y="412000"/>
                    </a:lnTo>
                    <a:lnTo>
                      <a:pt x="3821087" y="401751"/>
                    </a:lnTo>
                    <a:close/>
                  </a:path>
                  <a:path w="5480684" h="412114">
                    <a:moveTo>
                      <a:pt x="3882555" y="401751"/>
                    </a:moveTo>
                    <a:lnTo>
                      <a:pt x="3872306" y="401751"/>
                    </a:lnTo>
                    <a:lnTo>
                      <a:pt x="3872306" y="412000"/>
                    </a:lnTo>
                    <a:lnTo>
                      <a:pt x="3882555" y="412000"/>
                    </a:lnTo>
                    <a:lnTo>
                      <a:pt x="3882555" y="401751"/>
                    </a:lnTo>
                    <a:close/>
                  </a:path>
                  <a:path w="5480684" h="412114">
                    <a:moveTo>
                      <a:pt x="3944010" y="401751"/>
                    </a:moveTo>
                    <a:lnTo>
                      <a:pt x="3933774" y="401751"/>
                    </a:lnTo>
                    <a:lnTo>
                      <a:pt x="3933774" y="412000"/>
                    </a:lnTo>
                    <a:lnTo>
                      <a:pt x="3944010" y="412000"/>
                    </a:lnTo>
                    <a:lnTo>
                      <a:pt x="3944010" y="401751"/>
                    </a:lnTo>
                    <a:close/>
                  </a:path>
                  <a:path w="5480684" h="412114">
                    <a:moveTo>
                      <a:pt x="4005478" y="401751"/>
                    </a:moveTo>
                    <a:lnTo>
                      <a:pt x="3995242" y="401751"/>
                    </a:lnTo>
                    <a:lnTo>
                      <a:pt x="3995242" y="412000"/>
                    </a:lnTo>
                    <a:lnTo>
                      <a:pt x="4005478" y="412000"/>
                    </a:lnTo>
                    <a:lnTo>
                      <a:pt x="4005478" y="401751"/>
                    </a:lnTo>
                    <a:close/>
                  </a:path>
                  <a:path w="5480684" h="412114">
                    <a:moveTo>
                      <a:pt x="4066946" y="401751"/>
                    </a:moveTo>
                    <a:lnTo>
                      <a:pt x="4056697" y="401751"/>
                    </a:lnTo>
                    <a:lnTo>
                      <a:pt x="4056697" y="412000"/>
                    </a:lnTo>
                    <a:lnTo>
                      <a:pt x="4066946" y="412000"/>
                    </a:lnTo>
                    <a:lnTo>
                      <a:pt x="4066946" y="401751"/>
                    </a:lnTo>
                    <a:close/>
                  </a:path>
                  <a:path w="5480684" h="412114">
                    <a:moveTo>
                      <a:pt x="4128414" y="401751"/>
                    </a:moveTo>
                    <a:lnTo>
                      <a:pt x="4118165" y="401751"/>
                    </a:lnTo>
                    <a:lnTo>
                      <a:pt x="4118165" y="412000"/>
                    </a:lnTo>
                    <a:lnTo>
                      <a:pt x="4128414" y="412000"/>
                    </a:lnTo>
                    <a:lnTo>
                      <a:pt x="4128414" y="401751"/>
                    </a:lnTo>
                    <a:close/>
                  </a:path>
                  <a:path w="5480684" h="412114">
                    <a:moveTo>
                      <a:pt x="4189882" y="401751"/>
                    </a:moveTo>
                    <a:lnTo>
                      <a:pt x="4179633" y="401751"/>
                    </a:lnTo>
                    <a:lnTo>
                      <a:pt x="4179633" y="412000"/>
                    </a:lnTo>
                    <a:lnTo>
                      <a:pt x="4189882" y="412000"/>
                    </a:lnTo>
                    <a:lnTo>
                      <a:pt x="4189882" y="401751"/>
                    </a:lnTo>
                    <a:close/>
                  </a:path>
                  <a:path w="5480684" h="412114">
                    <a:moveTo>
                      <a:pt x="4251337" y="401751"/>
                    </a:moveTo>
                    <a:lnTo>
                      <a:pt x="4241101" y="401751"/>
                    </a:lnTo>
                    <a:lnTo>
                      <a:pt x="4241101" y="412000"/>
                    </a:lnTo>
                    <a:lnTo>
                      <a:pt x="4251337" y="412000"/>
                    </a:lnTo>
                    <a:lnTo>
                      <a:pt x="4251337" y="401751"/>
                    </a:lnTo>
                    <a:close/>
                  </a:path>
                  <a:path w="5480684" h="412114">
                    <a:moveTo>
                      <a:pt x="4312805" y="401751"/>
                    </a:moveTo>
                    <a:lnTo>
                      <a:pt x="4302557" y="401751"/>
                    </a:lnTo>
                    <a:lnTo>
                      <a:pt x="4302557" y="412000"/>
                    </a:lnTo>
                    <a:lnTo>
                      <a:pt x="4312805" y="412000"/>
                    </a:lnTo>
                    <a:lnTo>
                      <a:pt x="4312805" y="401751"/>
                    </a:lnTo>
                    <a:close/>
                  </a:path>
                  <a:path w="5480684" h="412114">
                    <a:moveTo>
                      <a:pt x="4374273" y="401751"/>
                    </a:moveTo>
                    <a:lnTo>
                      <a:pt x="4364025" y="401751"/>
                    </a:lnTo>
                    <a:lnTo>
                      <a:pt x="4364025" y="412000"/>
                    </a:lnTo>
                    <a:lnTo>
                      <a:pt x="4374273" y="412000"/>
                    </a:lnTo>
                    <a:lnTo>
                      <a:pt x="4374273" y="401751"/>
                    </a:lnTo>
                    <a:close/>
                  </a:path>
                  <a:path w="5480684" h="412114">
                    <a:moveTo>
                      <a:pt x="4435741" y="401751"/>
                    </a:moveTo>
                    <a:lnTo>
                      <a:pt x="4425493" y="401751"/>
                    </a:lnTo>
                    <a:lnTo>
                      <a:pt x="4425493" y="412000"/>
                    </a:lnTo>
                    <a:lnTo>
                      <a:pt x="4435741" y="412000"/>
                    </a:lnTo>
                    <a:lnTo>
                      <a:pt x="4435741" y="401751"/>
                    </a:lnTo>
                    <a:close/>
                  </a:path>
                  <a:path w="5480684" h="412114">
                    <a:moveTo>
                      <a:pt x="4497197" y="401751"/>
                    </a:moveTo>
                    <a:lnTo>
                      <a:pt x="4486961" y="401751"/>
                    </a:lnTo>
                    <a:lnTo>
                      <a:pt x="4486961" y="412000"/>
                    </a:lnTo>
                    <a:lnTo>
                      <a:pt x="4497197" y="412000"/>
                    </a:lnTo>
                    <a:lnTo>
                      <a:pt x="4497197" y="401751"/>
                    </a:lnTo>
                    <a:close/>
                  </a:path>
                  <a:path w="5480684" h="412114">
                    <a:moveTo>
                      <a:pt x="4558665" y="401751"/>
                    </a:moveTo>
                    <a:lnTo>
                      <a:pt x="4548429" y="401751"/>
                    </a:lnTo>
                    <a:lnTo>
                      <a:pt x="4548429" y="412000"/>
                    </a:lnTo>
                    <a:lnTo>
                      <a:pt x="4558665" y="412000"/>
                    </a:lnTo>
                    <a:lnTo>
                      <a:pt x="4558665" y="401751"/>
                    </a:lnTo>
                    <a:close/>
                  </a:path>
                  <a:path w="5480684" h="412114">
                    <a:moveTo>
                      <a:pt x="4620133" y="401751"/>
                    </a:moveTo>
                    <a:lnTo>
                      <a:pt x="4609884" y="401751"/>
                    </a:lnTo>
                    <a:lnTo>
                      <a:pt x="4609884" y="412000"/>
                    </a:lnTo>
                    <a:lnTo>
                      <a:pt x="4620133" y="412000"/>
                    </a:lnTo>
                    <a:lnTo>
                      <a:pt x="4620133" y="401751"/>
                    </a:lnTo>
                    <a:close/>
                  </a:path>
                  <a:path w="5480684" h="412114">
                    <a:moveTo>
                      <a:pt x="4681601" y="401751"/>
                    </a:moveTo>
                    <a:lnTo>
                      <a:pt x="4671352" y="401751"/>
                    </a:lnTo>
                    <a:lnTo>
                      <a:pt x="4671352" y="412000"/>
                    </a:lnTo>
                    <a:lnTo>
                      <a:pt x="4681601" y="412000"/>
                    </a:lnTo>
                    <a:lnTo>
                      <a:pt x="4681601" y="401751"/>
                    </a:lnTo>
                    <a:close/>
                  </a:path>
                  <a:path w="5480684" h="412114">
                    <a:moveTo>
                      <a:pt x="4743069" y="401751"/>
                    </a:moveTo>
                    <a:lnTo>
                      <a:pt x="4732820" y="401751"/>
                    </a:lnTo>
                    <a:lnTo>
                      <a:pt x="4732820" y="412000"/>
                    </a:lnTo>
                    <a:lnTo>
                      <a:pt x="4743069" y="412000"/>
                    </a:lnTo>
                    <a:lnTo>
                      <a:pt x="4743069" y="401751"/>
                    </a:lnTo>
                    <a:close/>
                  </a:path>
                  <a:path w="5480684" h="412114">
                    <a:moveTo>
                      <a:pt x="4804524" y="401751"/>
                    </a:moveTo>
                    <a:lnTo>
                      <a:pt x="4794288" y="401751"/>
                    </a:lnTo>
                    <a:lnTo>
                      <a:pt x="4794288" y="412000"/>
                    </a:lnTo>
                    <a:lnTo>
                      <a:pt x="4804524" y="412000"/>
                    </a:lnTo>
                    <a:lnTo>
                      <a:pt x="4804524" y="401751"/>
                    </a:lnTo>
                    <a:close/>
                  </a:path>
                  <a:path w="5480684" h="412114">
                    <a:moveTo>
                      <a:pt x="4865992" y="401751"/>
                    </a:moveTo>
                    <a:lnTo>
                      <a:pt x="4855756" y="401751"/>
                    </a:lnTo>
                    <a:lnTo>
                      <a:pt x="4855756" y="412000"/>
                    </a:lnTo>
                    <a:lnTo>
                      <a:pt x="4865992" y="412000"/>
                    </a:lnTo>
                    <a:lnTo>
                      <a:pt x="4865992" y="401751"/>
                    </a:lnTo>
                    <a:close/>
                  </a:path>
                  <a:path w="5480684" h="412114">
                    <a:moveTo>
                      <a:pt x="4927460" y="401751"/>
                    </a:moveTo>
                    <a:lnTo>
                      <a:pt x="4917211" y="401751"/>
                    </a:lnTo>
                    <a:lnTo>
                      <a:pt x="4917211" y="412000"/>
                    </a:lnTo>
                    <a:lnTo>
                      <a:pt x="4927460" y="412000"/>
                    </a:lnTo>
                    <a:lnTo>
                      <a:pt x="4927460" y="401751"/>
                    </a:lnTo>
                    <a:close/>
                  </a:path>
                  <a:path w="5480684" h="412114">
                    <a:moveTo>
                      <a:pt x="4988928" y="401751"/>
                    </a:moveTo>
                    <a:lnTo>
                      <a:pt x="4978679" y="401751"/>
                    </a:lnTo>
                    <a:lnTo>
                      <a:pt x="4978679" y="412000"/>
                    </a:lnTo>
                    <a:lnTo>
                      <a:pt x="4988928" y="412000"/>
                    </a:lnTo>
                    <a:lnTo>
                      <a:pt x="4988928" y="401751"/>
                    </a:lnTo>
                    <a:close/>
                  </a:path>
                  <a:path w="5480684" h="412114">
                    <a:moveTo>
                      <a:pt x="5050396" y="401751"/>
                    </a:moveTo>
                    <a:lnTo>
                      <a:pt x="5040147" y="401751"/>
                    </a:lnTo>
                    <a:lnTo>
                      <a:pt x="5040147" y="412000"/>
                    </a:lnTo>
                    <a:lnTo>
                      <a:pt x="5050396" y="412000"/>
                    </a:lnTo>
                    <a:lnTo>
                      <a:pt x="5050396" y="401751"/>
                    </a:lnTo>
                    <a:close/>
                  </a:path>
                  <a:path w="5480684" h="412114">
                    <a:moveTo>
                      <a:pt x="5111851" y="401751"/>
                    </a:moveTo>
                    <a:lnTo>
                      <a:pt x="5101615" y="401751"/>
                    </a:lnTo>
                    <a:lnTo>
                      <a:pt x="5101615" y="412000"/>
                    </a:lnTo>
                    <a:lnTo>
                      <a:pt x="5111851" y="412000"/>
                    </a:lnTo>
                    <a:lnTo>
                      <a:pt x="5111851" y="401751"/>
                    </a:lnTo>
                    <a:close/>
                  </a:path>
                  <a:path w="5480684" h="412114">
                    <a:moveTo>
                      <a:pt x="5173319" y="401751"/>
                    </a:moveTo>
                    <a:lnTo>
                      <a:pt x="5163070" y="401751"/>
                    </a:lnTo>
                    <a:lnTo>
                      <a:pt x="5163070" y="412000"/>
                    </a:lnTo>
                    <a:lnTo>
                      <a:pt x="5173319" y="412000"/>
                    </a:lnTo>
                    <a:lnTo>
                      <a:pt x="5173319" y="401751"/>
                    </a:lnTo>
                    <a:close/>
                  </a:path>
                  <a:path w="5480684" h="412114">
                    <a:moveTo>
                      <a:pt x="5234787" y="401751"/>
                    </a:moveTo>
                    <a:lnTo>
                      <a:pt x="5224538" y="401751"/>
                    </a:lnTo>
                    <a:lnTo>
                      <a:pt x="5224538" y="412000"/>
                    </a:lnTo>
                    <a:lnTo>
                      <a:pt x="5234787" y="412000"/>
                    </a:lnTo>
                    <a:lnTo>
                      <a:pt x="5234787" y="401751"/>
                    </a:lnTo>
                    <a:close/>
                  </a:path>
                  <a:path w="5480684" h="412114">
                    <a:moveTo>
                      <a:pt x="5296255" y="401751"/>
                    </a:moveTo>
                    <a:lnTo>
                      <a:pt x="5286006" y="401751"/>
                    </a:lnTo>
                    <a:lnTo>
                      <a:pt x="5286006" y="412000"/>
                    </a:lnTo>
                    <a:lnTo>
                      <a:pt x="5296255" y="412000"/>
                    </a:lnTo>
                    <a:lnTo>
                      <a:pt x="5296255" y="401751"/>
                    </a:lnTo>
                    <a:close/>
                  </a:path>
                  <a:path w="5480684" h="412114">
                    <a:moveTo>
                      <a:pt x="5357711" y="401751"/>
                    </a:moveTo>
                    <a:lnTo>
                      <a:pt x="5347474" y="401751"/>
                    </a:lnTo>
                    <a:lnTo>
                      <a:pt x="5347474" y="412000"/>
                    </a:lnTo>
                    <a:lnTo>
                      <a:pt x="5357711" y="412000"/>
                    </a:lnTo>
                    <a:lnTo>
                      <a:pt x="5357711" y="401751"/>
                    </a:lnTo>
                    <a:close/>
                  </a:path>
                  <a:path w="5480684" h="412114">
                    <a:moveTo>
                      <a:pt x="5419179" y="401751"/>
                    </a:moveTo>
                    <a:lnTo>
                      <a:pt x="5408942" y="401751"/>
                    </a:lnTo>
                    <a:lnTo>
                      <a:pt x="5408942" y="412000"/>
                    </a:lnTo>
                    <a:lnTo>
                      <a:pt x="5419179" y="412000"/>
                    </a:lnTo>
                    <a:lnTo>
                      <a:pt x="5419179" y="401751"/>
                    </a:lnTo>
                    <a:close/>
                  </a:path>
                  <a:path w="5480684" h="412114">
                    <a:moveTo>
                      <a:pt x="5480647" y="401751"/>
                    </a:moveTo>
                    <a:lnTo>
                      <a:pt x="5470398" y="401751"/>
                    </a:lnTo>
                    <a:lnTo>
                      <a:pt x="5470398" y="412000"/>
                    </a:lnTo>
                    <a:lnTo>
                      <a:pt x="5480647" y="412000"/>
                    </a:lnTo>
                    <a:lnTo>
                      <a:pt x="5480647" y="401751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8" name="object 8"/>
              <p:cNvSpPr/>
              <p:nvPr/>
            </p:nvSpPr>
            <p:spPr>
              <a:xfrm>
                <a:off x="8029244" y="2312212"/>
                <a:ext cx="431292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4312920" h="1079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4312920" h="10794">
                    <a:moveTo>
                      <a:pt x="71716" y="0"/>
                    </a:moveTo>
                    <a:lnTo>
                      <a:pt x="61468" y="0"/>
                    </a:lnTo>
                    <a:lnTo>
                      <a:pt x="61468" y="10236"/>
                    </a:lnTo>
                    <a:lnTo>
                      <a:pt x="71716" y="10236"/>
                    </a:lnTo>
                    <a:lnTo>
                      <a:pt x="71716" y="0"/>
                    </a:lnTo>
                    <a:close/>
                  </a:path>
                  <a:path w="4312920" h="10794">
                    <a:moveTo>
                      <a:pt x="133184" y="0"/>
                    </a:moveTo>
                    <a:lnTo>
                      <a:pt x="122936" y="0"/>
                    </a:lnTo>
                    <a:lnTo>
                      <a:pt x="122936" y="10236"/>
                    </a:lnTo>
                    <a:lnTo>
                      <a:pt x="133184" y="10236"/>
                    </a:lnTo>
                    <a:lnTo>
                      <a:pt x="133184" y="0"/>
                    </a:lnTo>
                    <a:close/>
                  </a:path>
                  <a:path w="4312920" h="10794">
                    <a:moveTo>
                      <a:pt x="194640" y="0"/>
                    </a:moveTo>
                    <a:lnTo>
                      <a:pt x="184404" y="0"/>
                    </a:lnTo>
                    <a:lnTo>
                      <a:pt x="184404" y="10236"/>
                    </a:lnTo>
                    <a:lnTo>
                      <a:pt x="194640" y="10236"/>
                    </a:lnTo>
                    <a:lnTo>
                      <a:pt x="194640" y="0"/>
                    </a:lnTo>
                    <a:close/>
                  </a:path>
                  <a:path w="4312920" h="10794">
                    <a:moveTo>
                      <a:pt x="256108" y="0"/>
                    </a:moveTo>
                    <a:lnTo>
                      <a:pt x="245872" y="0"/>
                    </a:lnTo>
                    <a:lnTo>
                      <a:pt x="245872" y="10236"/>
                    </a:lnTo>
                    <a:lnTo>
                      <a:pt x="256108" y="10236"/>
                    </a:lnTo>
                    <a:lnTo>
                      <a:pt x="256108" y="0"/>
                    </a:lnTo>
                    <a:close/>
                  </a:path>
                  <a:path w="4312920" h="10794">
                    <a:moveTo>
                      <a:pt x="317576" y="0"/>
                    </a:moveTo>
                    <a:lnTo>
                      <a:pt x="307327" y="0"/>
                    </a:lnTo>
                    <a:lnTo>
                      <a:pt x="307327" y="10236"/>
                    </a:lnTo>
                    <a:lnTo>
                      <a:pt x="317576" y="10236"/>
                    </a:lnTo>
                    <a:lnTo>
                      <a:pt x="317576" y="0"/>
                    </a:lnTo>
                    <a:close/>
                  </a:path>
                  <a:path w="4312920" h="10794">
                    <a:moveTo>
                      <a:pt x="379044" y="0"/>
                    </a:moveTo>
                    <a:lnTo>
                      <a:pt x="368795" y="0"/>
                    </a:lnTo>
                    <a:lnTo>
                      <a:pt x="368795" y="10236"/>
                    </a:lnTo>
                    <a:lnTo>
                      <a:pt x="379044" y="10236"/>
                    </a:lnTo>
                    <a:lnTo>
                      <a:pt x="379044" y="0"/>
                    </a:lnTo>
                    <a:close/>
                  </a:path>
                  <a:path w="4312920" h="10794">
                    <a:moveTo>
                      <a:pt x="440512" y="0"/>
                    </a:moveTo>
                    <a:lnTo>
                      <a:pt x="430263" y="0"/>
                    </a:lnTo>
                    <a:lnTo>
                      <a:pt x="430263" y="10236"/>
                    </a:lnTo>
                    <a:lnTo>
                      <a:pt x="440512" y="10236"/>
                    </a:lnTo>
                    <a:lnTo>
                      <a:pt x="440512" y="0"/>
                    </a:lnTo>
                    <a:close/>
                  </a:path>
                  <a:path w="4312920" h="10794">
                    <a:moveTo>
                      <a:pt x="501967" y="0"/>
                    </a:moveTo>
                    <a:lnTo>
                      <a:pt x="491731" y="0"/>
                    </a:lnTo>
                    <a:lnTo>
                      <a:pt x="491731" y="10236"/>
                    </a:lnTo>
                    <a:lnTo>
                      <a:pt x="501967" y="10236"/>
                    </a:lnTo>
                    <a:lnTo>
                      <a:pt x="501967" y="0"/>
                    </a:lnTo>
                    <a:close/>
                  </a:path>
                  <a:path w="4312920" h="10794">
                    <a:moveTo>
                      <a:pt x="563435" y="0"/>
                    </a:moveTo>
                    <a:lnTo>
                      <a:pt x="553199" y="0"/>
                    </a:lnTo>
                    <a:lnTo>
                      <a:pt x="553199" y="10236"/>
                    </a:lnTo>
                    <a:lnTo>
                      <a:pt x="563435" y="10236"/>
                    </a:lnTo>
                    <a:lnTo>
                      <a:pt x="563435" y="0"/>
                    </a:lnTo>
                    <a:close/>
                  </a:path>
                  <a:path w="4312920" h="10794">
                    <a:moveTo>
                      <a:pt x="624903" y="0"/>
                    </a:moveTo>
                    <a:lnTo>
                      <a:pt x="614654" y="0"/>
                    </a:lnTo>
                    <a:lnTo>
                      <a:pt x="614654" y="10236"/>
                    </a:lnTo>
                    <a:lnTo>
                      <a:pt x="624903" y="10236"/>
                    </a:lnTo>
                    <a:lnTo>
                      <a:pt x="624903" y="0"/>
                    </a:lnTo>
                    <a:close/>
                  </a:path>
                  <a:path w="4312920" h="10794">
                    <a:moveTo>
                      <a:pt x="686371" y="0"/>
                    </a:moveTo>
                    <a:lnTo>
                      <a:pt x="676122" y="0"/>
                    </a:lnTo>
                    <a:lnTo>
                      <a:pt x="676122" y="10236"/>
                    </a:lnTo>
                    <a:lnTo>
                      <a:pt x="686371" y="10236"/>
                    </a:lnTo>
                    <a:lnTo>
                      <a:pt x="686371" y="0"/>
                    </a:lnTo>
                    <a:close/>
                  </a:path>
                  <a:path w="4312920" h="10794">
                    <a:moveTo>
                      <a:pt x="747826" y="0"/>
                    </a:moveTo>
                    <a:lnTo>
                      <a:pt x="737590" y="0"/>
                    </a:lnTo>
                    <a:lnTo>
                      <a:pt x="737590" y="10236"/>
                    </a:lnTo>
                    <a:lnTo>
                      <a:pt x="747826" y="10236"/>
                    </a:lnTo>
                    <a:lnTo>
                      <a:pt x="747826" y="0"/>
                    </a:lnTo>
                    <a:close/>
                  </a:path>
                  <a:path w="4312920" h="10794">
                    <a:moveTo>
                      <a:pt x="809294" y="0"/>
                    </a:moveTo>
                    <a:lnTo>
                      <a:pt x="799058" y="0"/>
                    </a:lnTo>
                    <a:lnTo>
                      <a:pt x="799058" y="10236"/>
                    </a:lnTo>
                    <a:lnTo>
                      <a:pt x="809294" y="10236"/>
                    </a:lnTo>
                    <a:lnTo>
                      <a:pt x="809294" y="0"/>
                    </a:lnTo>
                    <a:close/>
                  </a:path>
                  <a:path w="4312920" h="10794">
                    <a:moveTo>
                      <a:pt x="870762" y="0"/>
                    </a:moveTo>
                    <a:lnTo>
                      <a:pt x="860513" y="0"/>
                    </a:lnTo>
                    <a:lnTo>
                      <a:pt x="860513" y="10236"/>
                    </a:lnTo>
                    <a:lnTo>
                      <a:pt x="870762" y="10236"/>
                    </a:lnTo>
                    <a:lnTo>
                      <a:pt x="870762" y="0"/>
                    </a:lnTo>
                    <a:close/>
                  </a:path>
                  <a:path w="4312920" h="10794">
                    <a:moveTo>
                      <a:pt x="932230" y="0"/>
                    </a:moveTo>
                    <a:lnTo>
                      <a:pt x="921981" y="0"/>
                    </a:lnTo>
                    <a:lnTo>
                      <a:pt x="921981" y="10236"/>
                    </a:lnTo>
                    <a:lnTo>
                      <a:pt x="932230" y="10236"/>
                    </a:lnTo>
                    <a:lnTo>
                      <a:pt x="932230" y="0"/>
                    </a:lnTo>
                    <a:close/>
                  </a:path>
                  <a:path w="4312920" h="10794">
                    <a:moveTo>
                      <a:pt x="993698" y="0"/>
                    </a:moveTo>
                    <a:lnTo>
                      <a:pt x="983449" y="0"/>
                    </a:lnTo>
                    <a:lnTo>
                      <a:pt x="983449" y="10236"/>
                    </a:lnTo>
                    <a:lnTo>
                      <a:pt x="993698" y="10236"/>
                    </a:lnTo>
                    <a:lnTo>
                      <a:pt x="993698" y="0"/>
                    </a:lnTo>
                    <a:close/>
                  </a:path>
                  <a:path w="4312920" h="10794">
                    <a:moveTo>
                      <a:pt x="1055154" y="0"/>
                    </a:moveTo>
                    <a:lnTo>
                      <a:pt x="1044917" y="0"/>
                    </a:lnTo>
                    <a:lnTo>
                      <a:pt x="1044917" y="10236"/>
                    </a:lnTo>
                    <a:lnTo>
                      <a:pt x="1055154" y="10236"/>
                    </a:lnTo>
                    <a:lnTo>
                      <a:pt x="1055154" y="0"/>
                    </a:lnTo>
                    <a:close/>
                  </a:path>
                  <a:path w="4312920" h="10794">
                    <a:moveTo>
                      <a:pt x="1116622" y="0"/>
                    </a:moveTo>
                    <a:lnTo>
                      <a:pt x="1106385" y="0"/>
                    </a:lnTo>
                    <a:lnTo>
                      <a:pt x="1106385" y="10236"/>
                    </a:lnTo>
                    <a:lnTo>
                      <a:pt x="1116622" y="10236"/>
                    </a:lnTo>
                    <a:lnTo>
                      <a:pt x="1116622" y="0"/>
                    </a:lnTo>
                    <a:close/>
                  </a:path>
                  <a:path w="4312920" h="10794">
                    <a:moveTo>
                      <a:pt x="1178090" y="0"/>
                    </a:moveTo>
                    <a:lnTo>
                      <a:pt x="1167841" y="0"/>
                    </a:lnTo>
                    <a:lnTo>
                      <a:pt x="1167841" y="10236"/>
                    </a:lnTo>
                    <a:lnTo>
                      <a:pt x="1178090" y="10236"/>
                    </a:lnTo>
                    <a:lnTo>
                      <a:pt x="1178090" y="0"/>
                    </a:lnTo>
                    <a:close/>
                  </a:path>
                  <a:path w="4312920" h="10794">
                    <a:moveTo>
                      <a:pt x="1239558" y="0"/>
                    </a:moveTo>
                    <a:lnTo>
                      <a:pt x="1229309" y="0"/>
                    </a:lnTo>
                    <a:lnTo>
                      <a:pt x="1229309" y="10236"/>
                    </a:lnTo>
                    <a:lnTo>
                      <a:pt x="1239558" y="10236"/>
                    </a:lnTo>
                    <a:lnTo>
                      <a:pt x="1239558" y="0"/>
                    </a:lnTo>
                    <a:close/>
                  </a:path>
                  <a:path w="4312920" h="10794">
                    <a:moveTo>
                      <a:pt x="1301026" y="0"/>
                    </a:moveTo>
                    <a:lnTo>
                      <a:pt x="1290777" y="0"/>
                    </a:lnTo>
                    <a:lnTo>
                      <a:pt x="1290777" y="10236"/>
                    </a:lnTo>
                    <a:lnTo>
                      <a:pt x="1301026" y="10236"/>
                    </a:lnTo>
                    <a:lnTo>
                      <a:pt x="1301026" y="0"/>
                    </a:lnTo>
                    <a:close/>
                  </a:path>
                  <a:path w="4312920" h="10794">
                    <a:moveTo>
                      <a:pt x="1362481" y="0"/>
                    </a:moveTo>
                    <a:lnTo>
                      <a:pt x="1352245" y="0"/>
                    </a:lnTo>
                    <a:lnTo>
                      <a:pt x="1352245" y="10236"/>
                    </a:lnTo>
                    <a:lnTo>
                      <a:pt x="1362481" y="10236"/>
                    </a:lnTo>
                    <a:lnTo>
                      <a:pt x="1362481" y="0"/>
                    </a:lnTo>
                    <a:close/>
                  </a:path>
                  <a:path w="4312920" h="10794">
                    <a:moveTo>
                      <a:pt x="1423949" y="0"/>
                    </a:moveTo>
                    <a:lnTo>
                      <a:pt x="1413700" y="0"/>
                    </a:lnTo>
                    <a:lnTo>
                      <a:pt x="1413700" y="10236"/>
                    </a:lnTo>
                    <a:lnTo>
                      <a:pt x="1423949" y="10236"/>
                    </a:lnTo>
                    <a:lnTo>
                      <a:pt x="1423949" y="0"/>
                    </a:lnTo>
                    <a:close/>
                  </a:path>
                  <a:path w="4312920" h="10794">
                    <a:moveTo>
                      <a:pt x="1485417" y="0"/>
                    </a:moveTo>
                    <a:lnTo>
                      <a:pt x="1475168" y="0"/>
                    </a:lnTo>
                    <a:lnTo>
                      <a:pt x="1475168" y="10236"/>
                    </a:lnTo>
                    <a:lnTo>
                      <a:pt x="1485417" y="10236"/>
                    </a:lnTo>
                    <a:lnTo>
                      <a:pt x="1485417" y="0"/>
                    </a:lnTo>
                    <a:close/>
                  </a:path>
                  <a:path w="4312920" h="10794">
                    <a:moveTo>
                      <a:pt x="1546885" y="0"/>
                    </a:moveTo>
                    <a:lnTo>
                      <a:pt x="1536636" y="0"/>
                    </a:lnTo>
                    <a:lnTo>
                      <a:pt x="1536636" y="10236"/>
                    </a:lnTo>
                    <a:lnTo>
                      <a:pt x="1546885" y="10236"/>
                    </a:lnTo>
                    <a:lnTo>
                      <a:pt x="1546885" y="0"/>
                    </a:lnTo>
                    <a:close/>
                  </a:path>
                  <a:path w="4312920" h="10794">
                    <a:moveTo>
                      <a:pt x="1608340" y="0"/>
                    </a:moveTo>
                    <a:lnTo>
                      <a:pt x="1598104" y="0"/>
                    </a:lnTo>
                    <a:lnTo>
                      <a:pt x="1598104" y="10236"/>
                    </a:lnTo>
                    <a:lnTo>
                      <a:pt x="1608340" y="10236"/>
                    </a:lnTo>
                    <a:lnTo>
                      <a:pt x="1608340" y="0"/>
                    </a:lnTo>
                    <a:close/>
                  </a:path>
                  <a:path w="4312920" h="10794">
                    <a:moveTo>
                      <a:pt x="1669808" y="0"/>
                    </a:moveTo>
                    <a:lnTo>
                      <a:pt x="1659572" y="0"/>
                    </a:lnTo>
                    <a:lnTo>
                      <a:pt x="1659572" y="10236"/>
                    </a:lnTo>
                    <a:lnTo>
                      <a:pt x="1669808" y="10236"/>
                    </a:lnTo>
                    <a:lnTo>
                      <a:pt x="1669808" y="0"/>
                    </a:lnTo>
                    <a:close/>
                  </a:path>
                  <a:path w="4312920" h="10794">
                    <a:moveTo>
                      <a:pt x="1731276" y="0"/>
                    </a:moveTo>
                    <a:lnTo>
                      <a:pt x="1721027" y="0"/>
                    </a:lnTo>
                    <a:lnTo>
                      <a:pt x="1721027" y="10236"/>
                    </a:lnTo>
                    <a:lnTo>
                      <a:pt x="1731276" y="10236"/>
                    </a:lnTo>
                    <a:lnTo>
                      <a:pt x="1731276" y="0"/>
                    </a:lnTo>
                    <a:close/>
                  </a:path>
                  <a:path w="4312920" h="10794">
                    <a:moveTo>
                      <a:pt x="1792744" y="0"/>
                    </a:moveTo>
                    <a:lnTo>
                      <a:pt x="1782495" y="0"/>
                    </a:lnTo>
                    <a:lnTo>
                      <a:pt x="1782495" y="10236"/>
                    </a:lnTo>
                    <a:lnTo>
                      <a:pt x="1792744" y="10236"/>
                    </a:lnTo>
                    <a:lnTo>
                      <a:pt x="1792744" y="0"/>
                    </a:lnTo>
                    <a:close/>
                  </a:path>
                  <a:path w="4312920" h="10794">
                    <a:moveTo>
                      <a:pt x="1854212" y="0"/>
                    </a:moveTo>
                    <a:lnTo>
                      <a:pt x="1843963" y="0"/>
                    </a:lnTo>
                    <a:lnTo>
                      <a:pt x="1843963" y="10236"/>
                    </a:lnTo>
                    <a:lnTo>
                      <a:pt x="1854212" y="10236"/>
                    </a:lnTo>
                    <a:lnTo>
                      <a:pt x="1854212" y="0"/>
                    </a:lnTo>
                    <a:close/>
                  </a:path>
                  <a:path w="4312920" h="10794">
                    <a:moveTo>
                      <a:pt x="1915668" y="0"/>
                    </a:moveTo>
                    <a:lnTo>
                      <a:pt x="1905431" y="0"/>
                    </a:lnTo>
                    <a:lnTo>
                      <a:pt x="1905431" y="10236"/>
                    </a:lnTo>
                    <a:lnTo>
                      <a:pt x="1915668" y="10236"/>
                    </a:lnTo>
                    <a:lnTo>
                      <a:pt x="1915668" y="0"/>
                    </a:lnTo>
                    <a:close/>
                  </a:path>
                  <a:path w="4312920" h="10794">
                    <a:moveTo>
                      <a:pt x="1977136" y="0"/>
                    </a:moveTo>
                    <a:lnTo>
                      <a:pt x="1966899" y="0"/>
                    </a:lnTo>
                    <a:lnTo>
                      <a:pt x="1966899" y="10236"/>
                    </a:lnTo>
                    <a:lnTo>
                      <a:pt x="1977136" y="10236"/>
                    </a:lnTo>
                    <a:lnTo>
                      <a:pt x="1977136" y="0"/>
                    </a:lnTo>
                    <a:close/>
                  </a:path>
                  <a:path w="4312920" h="10794">
                    <a:moveTo>
                      <a:pt x="2038604" y="0"/>
                    </a:moveTo>
                    <a:lnTo>
                      <a:pt x="2028355" y="0"/>
                    </a:lnTo>
                    <a:lnTo>
                      <a:pt x="2028355" y="10236"/>
                    </a:lnTo>
                    <a:lnTo>
                      <a:pt x="2038604" y="10236"/>
                    </a:lnTo>
                    <a:lnTo>
                      <a:pt x="2038604" y="0"/>
                    </a:lnTo>
                    <a:close/>
                  </a:path>
                  <a:path w="4312920" h="10794">
                    <a:moveTo>
                      <a:pt x="2100072" y="0"/>
                    </a:moveTo>
                    <a:lnTo>
                      <a:pt x="2089823" y="0"/>
                    </a:lnTo>
                    <a:lnTo>
                      <a:pt x="2089823" y="10236"/>
                    </a:lnTo>
                    <a:lnTo>
                      <a:pt x="2100072" y="10236"/>
                    </a:lnTo>
                    <a:lnTo>
                      <a:pt x="2100072" y="0"/>
                    </a:lnTo>
                    <a:close/>
                  </a:path>
                  <a:path w="4312920" h="10794">
                    <a:moveTo>
                      <a:pt x="2161540" y="0"/>
                    </a:moveTo>
                    <a:lnTo>
                      <a:pt x="2151291" y="0"/>
                    </a:lnTo>
                    <a:lnTo>
                      <a:pt x="2151291" y="10236"/>
                    </a:lnTo>
                    <a:lnTo>
                      <a:pt x="2161540" y="10236"/>
                    </a:lnTo>
                    <a:lnTo>
                      <a:pt x="2161540" y="0"/>
                    </a:lnTo>
                    <a:close/>
                  </a:path>
                  <a:path w="4312920" h="10794">
                    <a:moveTo>
                      <a:pt x="2222995" y="0"/>
                    </a:moveTo>
                    <a:lnTo>
                      <a:pt x="2212759" y="0"/>
                    </a:lnTo>
                    <a:lnTo>
                      <a:pt x="2212759" y="10236"/>
                    </a:lnTo>
                    <a:lnTo>
                      <a:pt x="2222995" y="10236"/>
                    </a:lnTo>
                    <a:lnTo>
                      <a:pt x="2222995" y="0"/>
                    </a:lnTo>
                    <a:close/>
                  </a:path>
                  <a:path w="4312920" h="10794">
                    <a:moveTo>
                      <a:pt x="2284463" y="0"/>
                    </a:moveTo>
                    <a:lnTo>
                      <a:pt x="2274214" y="0"/>
                    </a:lnTo>
                    <a:lnTo>
                      <a:pt x="2274214" y="10236"/>
                    </a:lnTo>
                    <a:lnTo>
                      <a:pt x="2284463" y="10236"/>
                    </a:lnTo>
                    <a:lnTo>
                      <a:pt x="2284463" y="0"/>
                    </a:lnTo>
                    <a:close/>
                  </a:path>
                  <a:path w="4312920" h="10794">
                    <a:moveTo>
                      <a:pt x="2345931" y="0"/>
                    </a:moveTo>
                    <a:lnTo>
                      <a:pt x="2335682" y="0"/>
                    </a:lnTo>
                    <a:lnTo>
                      <a:pt x="2335682" y="10236"/>
                    </a:lnTo>
                    <a:lnTo>
                      <a:pt x="2345931" y="10236"/>
                    </a:lnTo>
                    <a:lnTo>
                      <a:pt x="2345931" y="0"/>
                    </a:lnTo>
                    <a:close/>
                  </a:path>
                  <a:path w="4312920" h="10794">
                    <a:moveTo>
                      <a:pt x="2407399" y="0"/>
                    </a:moveTo>
                    <a:lnTo>
                      <a:pt x="2397150" y="0"/>
                    </a:lnTo>
                    <a:lnTo>
                      <a:pt x="2397150" y="10236"/>
                    </a:lnTo>
                    <a:lnTo>
                      <a:pt x="2407399" y="10236"/>
                    </a:lnTo>
                    <a:lnTo>
                      <a:pt x="2407399" y="0"/>
                    </a:lnTo>
                    <a:close/>
                  </a:path>
                  <a:path w="4312920" h="10794">
                    <a:moveTo>
                      <a:pt x="2468854" y="0"/>
                    </a:moveTo>
                    <a:lnTo>
                      <a:pt x="2458618" y="0"/>
                    </a:lnTo>
                    <a:lnTo>
                      <a:pt x="2458618" y="10236"/>
                    </a:lnTo>
                    <a:lnTo>
                      <a:pt x="2468854" y="10236"/>
                    </a:lnTo>
                    <a:lnTo>
                      <a:pt x="2468854" y="0"/>
                    </a:lnTo>
                    <a:close/>
                  </a:path>
                  <a:path w="4312920" h="10794">
                    <a:moveTo>
                      <a:pt x="2530322" y="0"/>
                    </a:moveTo>
                    <a:lnTo>
                      <a:pt x="2520086" y="0"/>
                    </a:lnTo>
                    <a:lnTo>
                      <a:pt x="2520086" y="10236"/>
                    </a:lnTo>
                    <a:lnTo>
                      <a:pt x="2530322" y="10236"/>
                    </a:lnTo>
                    <a:lnTo>
                      <a:pt x="2530322" y="0"/>
                    </a:lnTo>
                    <a:close/>
                  </a:path>
                  <a:path w="4312920" h="10794">
                    <a:moveTo>
                      <a:pt x="2591790" y="0"/>
                    </a:moveTo>
                    <a:lnTo>
                      <a:pt x="2581541" y="0"/>
                    </a:lnTo>
                    <a:lnTo>
                      <a:pt x="2581541" y="10236"/>
                    </a:lnTo>
                    <a:lnTo>
                      <a:pt x="2591790" y="10236"/>
                    </a:lnTo>
                    <a:lnTo>
                      <a:pt x="2591790" y="0"/>
                    </a:lnTo>
                    <a:close/>
                  </a:path>
                  <a:path w="4312920" h="10794">
                    <a:moveTo>
                      <a:pt x="2653258" y="0"/>
                    </a:moveTo>
                    <a:lnTo>
                      <a:pt x="2643009" y="0"/>
                    </a:lnTo>
                    <a:lnTo>
                      <a:pt x="2643009" y="10236"/>
                    </a:lnTo>
                    <a:lnTo>
                      <a:pt x="2653258" y="10236"/>
                    </a:lnTo>
                    <a:lnTo>
                      <a:pt x="2653258" y="0"/>
                    </a:lnTo>
                    <a:close/>
                  </a:path>
                  <a:path w="4312920" h="10794">
                    <a:moveTo>
                      <a:pt x="2714726" y="0"/>
                    </a:moveTo>
                    <a:lnTo>
                      <a:pt x="2704477" y="0"/>
                    </a:lnTo>
                    <a:lnTo>
                      <a:pt x="2704477" y="10236"/>
                    </a:lnTo>
                    <a:lnTo>
                      <a:pt x="2714726" y="10236"/>
                    </a:lnTo>
                    <a:lnTo>
                      <a:pt x="2714726" y="0"/>
                    </a:lnTo>
                    <a:close/>
                  </a:path>
                  <a:path w="4312920" h="10794">
                    <a:moveTo>
                      <a:pt x="2776182" y="0"/>
                    </a:moveTo>
                    <a:lnTo>
                      <a:pt x="2765945" y="0"/>
                    </a:lnTo>
                    <a:lnTo>
                      <a:pt x="2765945" y="10236"/>
                    </a:lnTo>
                    <a:lnTo>
                      <a:pt x="2776182" y="10236"/>
                    </a:lnTo>
                    <a:lnTo>
                      <a:pt x="2776182" y="0"/>
                    </a:lnTo>
                    <a:close/>
                  </a:path>
                  <a:path w="4312920" h="10794">
                    <a:moveTo>
                      <a:pt x="2837650" y="0"/>
                    </a:moveTo>
                    <a:lnTo>
                      <a:pt x="2827413" y="0"/>
                    </a:lnTo>
                    <a:lnTo>
                      <a:pt x="2827413" y="10236"/>
                    </a:lnTo>
                    <a:lnTo>
                      <a:pt x="2837650" y="10236"/>
                    </a:lnTo>
                    <a:lnTo>
                      <a:pt x="2837650" y="0"/>
                    </a:lnTo>
                    <a:close/>
                  </a:path>
                  <a:path w="4312920" h="10794">
                    <a:moveTo>
                      <a:pt x="2899118" y="0"/>
                    </a:moveTo>
                    <a:lnTo>
                      <a:pt x="2888869" y="0"/>
                    </a:lnTo>
                    <a:lnTo>
                      <a:pt x="2888869" y="10236"/>
                    </a:lnTo>
                    <a:lnTo>
                      <a:pt x="2899118" y="10236"/>
                    </a:lnTo>
                    <a:lnTo>
                      <a:pt x="2899118" y="0"/>
                    </a:lnTo>
                    <a:close/>
                  </a:path>
                  <a:path w="4312920" h="10794">
                    <a:moveTo>
                      <a:pt x="2960586" y="0"/>
                    </a:moveTo>
                    <a:lnTo>
                      <a:pt x="2950337" y="0"/>
                    </a:lnTo>
                    <a:lnTo>
                      <a:pt x="2950337" y="10236"/>
                    </a:lnTo>
                    <a:lnTo>
                      <a:pt x="2960586" y="10236"/>
                    </a:lnTo>
                    <a:lnTo>
                      <a:pt x="2960586" y="0"/>
                    </a:lnTo>
                    <a:close/>
                  </a:path>
                  <a:path w="4312920" h="10794">
                    <a:moveTo>
                      <a:pt x="3022041" y="0"/>
                    </a:moveTo>
                    <a:lnTo>
                      <a:pt x="3011805" y="0"/>
                    </a:lnTo>
                    <a:lnTo>
                      <a:pt x="3011805" y="10236"/>
                    </a:lnTo>
                    <a:lnTo>
                      <a:pt x="3022041" y="10236"/>
                    </a:lnTo>
                    <a:lnTo>
                      <a:pt x="3022041" y="0"/>
                    </a:lnTo>
                    <a:close/>
                  </a:path>
                  <a:path w="4312920" h="10794">
                    <a:moveTo>
                      <a:pt x="3083509" y="0"/>
                    </a:moveTo>
                    <a:lnTo>
                      <a:pt x="3073273" y="0"/>
                    </a:lnTo>
                    <a:lnTo>
                      <a:pt x="3073273" y="10236"/>
                    </a:lnTo>
                    <a:lnTo>
                      <a:pt x="3083509" y="10236"/>
                    </a:lnTo>
                    <a:lnTo>
                      <a:pt x="3083509" y="0"/>
                    </a:lnTo>
                    <a:close/>
                  </a:path>
                  <a:path w="4312920" h="10794">
                    <a:moveTo>
                      <a:pt x="3144977" y="0"/>
                    </a:moveTo>
                    <a:lnTo>
                      <a:pt x="3134728" y="0"/>
                    </a:lnTo>
                    <a:lnTo>
                      <a:pt x="3134728" y="10236"/>
                    </a:lnTo>
                    <a:lnTo>
                      <a:pt x="3144977" y="10236"/>
                    </a:lnTo>
                    <a:lnTo>
                      <a:pt x="3144977" y="0"/>
                    </a:lnTo>
                    <a:close/>
                  </a:path>
                  <a:path w="4312920" h="10794">
                    <a:moveTo>
                      <a:pt x="3206445" y="0"/>
                    </a:moveTo>
                    <a:lnTo>
                      <a:pt x="3196196" y="0"/>
                    </a:lnTo>
                    <a:lnTo>
                      <a:pt x="3196196" y="10236"/>
                    </a:lnTo>
                    <a:lnTo>
                      <a:pt x="3206445" y="10236"/>
                    </a:lnTo>
                    <a:lnTo>
                      <a:pt x="3206445" y="0"/>
                    </a:lnTo>
                    <a:close/>
                  </a:path>
                  <a:path w="4312920" h="10794">
                    <a:moveTo>
                      <a:pt x="3267913" y="0"/>
                    </a:moveTo>
                    <a:lnTo>
                      <a:pt x="3257664" y="0"/>
                    </a:lnTo>
                    <a:lnTo>
                      <a:pt x="3257664" y="10236"/>
                    </a:lnTo>
                    <a:lnTo>
                      <a:pt x="3267913" y="10236"/>
                    </a:lnTo>
                    <a:lnTo>
                      <a:pt x="3267913" y="0"/>
                    </a:lnTo>
                    <a:close/>
                  </a:path>
                  <a:path w="4312920" h="10794">
                    <a:moveTo>
                      <a:pt x="3329368" y="0"/>
                    </a:moveTo>
                    <a:lnTo>
                      <a:pt x="3319132" y="0"/>
                    </a:lnTo>
                    <a:lnTo>
                      <a:pt x="3319132" y="10236"/>
                    </a:lnTo>
                    <a:lnTo>
                      <a:pt x="3329368" y="10236"/>
                    </a:lnTo>
                    <a:lnTo>
                      <a:pt x="3329368" y="0"/>
                    </a:lnTo>
                    <a:close/>
                  </a:path>
                  <a:path w="4312920" h="10794">
                    <a:moveTo>
                      <a:pt x="3390836" y="0"/>
                    </a:moveTo>
                    <a:lnTo>
                      <a:pt x="3380600" y="0"/>
                    </a:lnTo>
                    <a:lnTo>
                      <a:pt x="3380600" y="10236"/>
                    </a:lnTo>
                    <a:lnTo>
                      <a:pt x="3390836" y="10236"/>
                    </a:lnTo>
                    <a:lnTo>
                      <a:pt x="3390836" y="0"/>
                    </a:lnTo>
                    <a:close/>
                  </a:path>
                  <a:path w="4312920" h="10794">
                    <a:moveTo>
                      <a:pt x="3452304" y="0"/>
                    </a:moveTo>
                    <a:lnTo>
                      <a:pt x="3442055" y="0"/>
                    </a:lnTo>
                    <a:lnTo>
                      <a:pt x="3442055" y="10236"/>
                    </a:lnTo>
                    <a:lnTo>
                      <a:pt x="3452304" y="10236"/>
                    </a:lnTo>
                    <a:lnTo>
                      <a:pt x="3452304" y="0"/>
                    </a:lnTo>
                    <a:close/>
                  </a:path>
                  <a:path w="4312920" h="10794">
                    <a:moveTo>
                      <a:pt x="3513772" y="0"/>
                    </a:moveTo>
                    <a:lnTo>
                      <a:pt x="3503523" y="0"/>
                    </a:lnTo>
                    <a:lnTo>
                      <a:pt x="3503523" y="10236"/>
                    </a:lnTo>
                    <a:lnTo>
                      <a:pt x="3513772" y="10236"/>
                    </a:lnTo>
                    <a:lnTo>
                      <a:pt x="3513772" y="0"/>
                    </a:lnTo>
                    <a:close/>
                  </a:path>
                  <a:path w="4312920" h="10794">
                    <a:moveTo>
                      <a:pt x="3575240" y="0"/>
                    </a:moveTo>
                    <a:lnTo>
                      <a:pt x="3564991" y="0"/>
                    </a:lnTo>
                    <a:lnTo>
                      <a:pt x="3564991" y="10236"/>
                    </a:lnTo>
                    <a:lnTo>
                      <a:pt x="3575240" y="10236"/>
                    </a:lnTo>
                    <a:lnTo>
                      <a:pt x="3575240" y="0"/>
                    </a:lnTo>
                    <a:close/>
                  </a:path>
                  <a:path w="4312920" h="10794">
                    <a:moveTo>
                      <a:pt x="3636695" y="0"/>
                    </a:moveTo>
                    <a:lnTo>
                      <a:pt x="3626459" y="0"/>
                    </a:lnTo>
                    <a:lnTo>
                      <a:pt x="3626459" y="10236"/>
                    </a:lnTo>
                    <a:lnTo>
                      <a:pt x="3636695" y="10236"/>
                    </a:lnTo>
                    <a:lnTo>
                      <a:pt x="3636695" y="0"/>
                    </a:lnTo>
                    <a:close/>
                  </a:path>
                  <a:path w="4312920" h="10794">
                    <a:moveTo>
                      <a:pt x="3698163" y="0"/>
                    </a:moveTo>
                    <a:lnTo>
                      <a:pt x="3687915" y="0"/>
                    </a:lnTo>
                    <a:lnTo>
                      <a:pt x="3687915" y="10236"/>
                    </a:lnTo>
                    <a:lnTo>
                      <a:pt x="3698163" y="10236"/>
                    </a:lnTo>
                    <a:lnTo>
                      <a:pt x="3698163" y="0"/>
                    </a:lnTo>
                    <a:close/>
                  </a:path>
                  <a:path w="4312920" h="10794">
                    <a:moveTo>
                      <a:pt x="3759631" y="0"/>
                    </a:moveTo>
                    <a:lnTo>
                      <a:pt x="3749383" y="0"/>
                    </a:lnTo>
                    <a:lnTo>
                      <a:pt x="3749383" y="10236"/>
                    </a:lnTo>
                    <a:lnTo>
                      <a:pt x="3759631" y="10236"/>
                    </a:lnTo>
                    <a:lnTo>
                      <a:pt x="3759631" y="0"/>
                    </a:lnTo>
                    <a:close/>
                  </a:path>
                  <a:path w="4312920" h="10794">
                    <a:moveTo>
                      <a:pt x="3821099" y="0"/>
                    </a:moveTo>
                    <a:lnTo>
                      <a:pt x="3810851" y="0"/>
                    </a:lnTo>
                    <a:lnTo>
                      <a:pt x="3810851" y="10236"/>
                    </a:lnTo>
                    <a:lnTo>
                      <a:pt x="3821099" y="10236"/>
                    </a:lnTo>
                    <a:lnTo>
                      <a:pt x="3821099" y="0"/>
                    </a:lnTo>
                    <a:close/>
                  </a:path>
                  <a:path w="4312920" h="10794">
                    <a:moveTo>
                      <a:pt x="3882555" y="0"/>
                    </a:moveTo>
                    <a:lnTo>
                      <a:pt x="3872319" y="0"/>
                    </a:lnTo>
                    <a:lnTo>
                      <a:pt x="3872319" y="10236"/>
                    </a:lnTo>
                    <a:lnTo>
                      <a:pt x="3882555" y="10236"/>
                    </a:lnTo>
                    <a:lnTo>
                      <a:pt x="3882555" y="0"/>
                    </a:lnTo>
                    <a:close/>
                  </a:path>
                  <a:path w="4312920" h="10794">
                    <a:moveTo>
                      <a:pt x="3944023" y="0"/>
                    </a:moveTo>
                    <a:lnTo>
                      <a:pt x="3933787" y="0"/>
                    </a:lnTo>
                    <a:lnTo>
                      <a:pt x="3933787" y="10236"/>
                    </a:lnTo>
                    <a:lnTo>
                      <a:pt x="3944023" y="10236"/>
                    </a:lnTo>
                    <a:lnTo>
                      <a:pt x="3944023" y="0"/>
                    </a:lnTo>
                    <a:close/>
                  </a:path>
                  <a:path w="4312920" h="10794">
                    <a:moveTo>
                      <a:pt x="4005491" y="0"/>
                    </a:moveTo>
                    <a:lnTo>
                      <a:pt x="3995242" y="0"/>
                    </a:lnTo>
                    <a:lnTo>
                      <a:pt x="3995242" y="10236"/>
                    </a:lnTo>
                    <a:lnTo>
                      <a:pt x="4005491" y="10236"/>
                    </a:lnTo>
                    <a:lnTo>
                      <a:pt x="4005491" y="0"/>
                    </a:lnTo>
                    <a:close/>
                  </a:path>
                  <a:path w="4312920" h="10794">
                    <a:moveTo>
                      <a:pt x="4066959" y="0"/>
                    </a:moveTo>
                    <a:lnTo>
                      <a:pt x="4056710" y="0"/>
                    </a:lnTo>
                    <a:lnTo>
                      <a:pt x="4056710" y="10236"/>
                    </a:lnTo>
                    <a:lnTo>
                      <a:pt x="4066959" y="10236"/>
                    </a:lnTo>
                    <a:lnTo>
                      <a:pt x="4066959" y="0"/>
                    </a:lnTo>
                    <a:close/>
                  </a:path>
                  <a:path w="4312920" h="10794">
                    <a:moveTo>
                      <a:pt x="4128427" y="0"/>
                    </a:moveTo>
                    <a:lnTo>
                      <a:pt x="4118178" y="0"/>
                    </a:lnTo>
                    <a:lnTo>
                      <a:pt x="4118178" y="10236"/>
                    </a:lnTo>
                    <a:lnTo>
                      <a:pt x="4128427" y="10236"/>
                    </a:lnTo>
                    <a:lnTo>
                      <a:pt x="4128427" y="0"/>
                    </a:lnTo>
                    <a:close/>
                  </a:path>
                  <a:path w="4312920" h="10794">
                    <a:moveTo>
                      <a:pt x="4189882" y="0"/>
                    </a:moveTo>
                    <a:lnTo>
                      <a:pt x="4179646" y="0"/>
                    </a:lnTo>
                    <a:lnTo>
                      <a:pt x="4179646" y="10236"/>
                    </a:lnTo>
                    <a:lnTo>
                      <a:pt x="4189882" y="10236"/>
                    </a:lnTo>
                    <a:lnTo>
                      <a:pt x="4189882" y="0"/>
                    </a:lnTo>
                    <a:close/>
                  </a:path>
                  <a:path w="4312920" h="10794">
                    <a:moveTo>
                      <a:pt x="4251350" y="0"/>
                    </a:moveTo>
                    <a:lnTo>
                      <a:pt x="4241114" y="0"/>
                    </a:lnTo>
                    <a:lnTo>
                      <a:pt x="4241114" y="10236"/>
                    </a:lnTo>
                    <a:lnTo>
                      <a:pt x="4251350" y="10236"/>
                    </a:lnTo>
                    <a:lnTo>
                      <a:pt x="4251350" y="0"/>
                    </a:lnTo>
                    <a:close/>
                  </a:path>
                  <a:path w="4312920" h="10794">
                    <a:moveTo>
                      <a:pt x="4312818" y="0"/>
                    </a:moveTo>
                    <a:lnTo>
                      <a:pt x="4302569" y="0"/>
                    </a:lnTo>
                    <a:lnTo>
                      <a:pt x="4302569" y="10236"/>
                    </a:lnTo>
                    <a:lnTo>
                      <a:pt x="4312818" y="10236"/>
                    </a:lnTo>
                    <a:lnTo>
                      <a:pt x="431281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9" name="object 9"/>
              <p:cNvSpPr/>
              <p:nvPr/>
            </p:nvSpPr>
            <p:spPr>
              <a:xfrm>
                <a:off x="7414602" y="1910447"/>
                <a:ext cx="5480685" cy="412115"/>
              </a:xfrm>
              <a:custGeom>
                <a:avLst/>
                <a:gdLst/>
                <a:ahLst/>
                <a:cxnLst/>
                <a:rect l="l" t="t" r="r" b="b"/>
                <a:pathLst>
                  <a:path w="5480684" h="412114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48"/>
                    </a:lnTo>
                    <a:lnTo>
                      <a:pt x="10236" y="10248"/>
                    </a:lnTo>
                    <a:lnTo>
                      <a:pt x="10236" y="0"/>
                    </a:lnTo>
                    <a:close/>
                  </a:path>
                  <a:path w="5480684" h="412114">
                    <a:moveTo>
                      <a:pt x="71704" y="0"/>
                    </a:moveTo>
                    <a:lnTo>
                      <a:pt x="61455" y="0"/>
                    </a:lnTo>
                    <a:lnTo>
                      <a:pt x="61455" y="10248"/>
                    </a:lnTo>
                    <a:lnTo>
                      <a:pt x="71704" y="10248"/>
                    </a:lnTo>
                    <a:lnTo>
                      <a:pt x="71704" y="0"/>
                    </a:lnTo>
                    <a:close/>
                  </a:path>
                  <a:path w="5480684" h="412114">
                    <a:moveTo>
                      <a:pt x="133172" y="0"/>
                    </a:moveTo>
                    <a:lnTo>
                      <a:pt x="122923" y="0"/>
                    </a:lnTo>
                    <a:lnTo>
                      <a:pt x="122923" y="10248"/>
                    </a:lnTo>
                    <a:lnTo>
                      <a:pt x="133172" y="10248"/>
                    </a:lnTo>
                    <a:lnTo>
                      <a:pt x="133172" y="0"/>
                    </a:lnTo>
                    <a:close/>
                  </a:path>
                  <a:path w="5480684" h="412114">
                    <a:moveTo>
                      <a:pt x="194640" y="0"/>
                    </a:moveTo>
                    <a:lnTo>
                      <a:pt x="184391" y="0"/>
                    </a:lnTo>
                    <a:lnTo>
                      <a:pt x="184391" y="10248"/>
                    </a:lnTo>
                    <a:lnTo>
                      <a:pt x="194640" y="10248"/>
                    </a:lnTo>
                    <a:lnTo>
                      <a:pt x="194640" y="0"/>
                    </a:lnTo>
                    <a:close/>
                  </a:path>
                  <a:path w="5480684" h="412114">
                    <a:moveTo>
                      <a:pt x="256095" y="0"/>
                    </a:moveTo>
                    <a:lnTo>
                      <a:pt x="245859" y="0"/>
                    </a:lnTo>
                    <a:lnTo>
                      <a:pt x="245859" y="10248"/>
                    </a:lnTo>
                    <a:lnTo>
                      <a:pt x="256095" y="10248"/>
                    </a:lnTo>
                    <a:lnTo>
                      <a:pt x="256095" y="0"/>
                    </a:lnTo>
                    <a:close/>
                  </a:path>
                  <a:path w="5480684" h="412114">
                    <a:moveTo>
                      <a:pt x="317563" y="0"/>
                    </a:moveTo>
                    <a:lnTo>
                      <a:pt x="307327" y="0"/>
                    </a:lnTo>
                    <a:lnTo>
                      <a:pt x="307327" y="10248"/>
                    </a:lnTo>
                    <a:lnTo>
                      <a:pt x="317563" y="10248"/>
                    </a:lnTo>
                    <a:lnTo>
                      <a:pt x="317563" y="0"/>
                    </a:lnTo>
                    <a:close/>
                  </a:path>
                  <a:path w="5480684" h="412114">
                    <a:moveTo>
                      <a:pt x="379031" y="0"/>
                    </a:moveTo>
                    <a:lnTo>
                      <a:pt x="368782" y="0"/>
                    </a:lnTo>
                    <a:lnTo>
                      <a:pt x="368782" y="10248"/>
                    </a:lnTo>
                    <a:lnTo>
                      <a:pt x="379031" y="10248"/>
                    </a:lnTo>
                    <a:lnTo>
                      <a:pt x="379031" y="0"/>
                    </a:lnTo>
                    <a:close/>
                  </a:path>
                  <a:path w="5480684" h="412114">
                    <a:moveTo>
                      <a:pt x="440499" y="0"/>
                    </a:moveTo>
                    <a:lnTo>
                      <a:pt x="430250" y="0"/>
                    </a:lnTo>
                    <a:lnTo>
                      <a:pt x="430250" y="10248"/>
                    </a:lnTo>
                    <a:lnTo>
                      <a:pt x="440499" y="10248"/>
                    </a:lnTo>
                    <a:lnTo>
                      <a:pt x="440499" y="0"/>
                    </a:lnTo>
                    <a:close/>
                  </a:path>
                  <a:path w="5480684" h="412114">
                    <a:moveTo>
                      <a:pt x="501967" y="0"/>
                    </a:moveTo>
                    <a:lnTo>
                      <a:pt x="491718" y="0"/>
                    </a:lnTo>
                    <a:lnTo>
                      <a:pt x="491718" y="10248"/>
                    </a:lnTo>
                    <a:lnTo>
                      <a:pt x="501967" y="10248"/>
                    </a:lnTo>
                    <a:lnTo>
                      <a:pt x="501967" y="0"/>
                    </a:lnTo>
                    <a:close/>
                  </a:path>
                  <a:path w="5480684" h="412114">
                    <a:moveTo>
                      <a:pt x="563422" y="0"/>
                    </a:moveTo>
                    <a:lnTo>
                      <a:pt x="553186" y="0"/>
                    </a:lnTo>
                    <a:lnTo>
                      <a:pt x="553186" y="10248"/>
                    </a:lnTo>
                    <a:lnTo>
                      <a:pt x="563422" y="10248"/>
                    </a:lnTo>
                    <a:lnTo>
                      <a:pt x="563422" y="0"/>
                    </a:lnTo>
                    <a:close/>
                  </a:path>
                  <a:path w="5480684" h="412114">
                    <a:moveTo>
                      <a:pt x="624890" y="0"/>
                    </a:moveTo>
                    <a:lnTo>
                      <a:pt x="614641" y="0"/>
                    </a:lnTo>
                    <a:lnTo>
                      <a:pt x="614641" y="10248"/>
                    </a:lnTo>
                    <a:lnTo>
                      <a:pt x="624890" y="10248"/>
                    </a:lnTo>
                    <a:lnTo>
                      <a:pt x="624890" y="0"/>
                    </a:lnTo>
                    <a:close/>
                  </a:path>
                  <a:path w="5480684" h="412114">
                    <a:moveTo>
                      <a:pt x="686358" y="0"/>
                    </a:moveTo>
                    <a:lnTo>
                      <a:pt x="676109" y="0"/>
                    </a:lnTo>
                    <a:lnTo>
                      <a:pt x="676109" y="10248"/>
                    </a:lnTo>
                    <a:lnTo>
                      <a:pt x="686358" y="10248"/>
                    </a:lnTo>
                    <a:lnTo>
                      <a:pt x="686358" y="0"/>
                    </a:lnTo>
                    <a:close/>
                  </a:path>
                  <a:path w="5480684" h="412114">
                    <a:moveTo>
                      <a:pt x="747826" y="0"/>
                    </a:moveTo>
                    <a:lnTo>
                      <a:pt x="737577" y="0"/>
                    </a:lnTo>
                    <a:lnTo>
                      <a:pt x="737577" y="10248"/>
                    </a:lnTo>
                    <a:lnTo>
                      <a:pt x="747826" y="10248"/>
                    </a:lnTo>
                    <a:lnTo>
                      <a:pt x="747826" y="0"/>
                    </a:lnTo>
                    <a:close/>
                  </a:path>
                  <a:path w="5480684" h="412114">
                    <a:moveTo>
                      <a:pt x="809282" y="0"/>
                    </a:moveTo>
                    <a:lnTo>
                      <a:pt x="799045" y="0"/>
                    </a:lnTo>
                    <a:lnTo>
                      <a:pt x="799045" y="10248"/>
                    </a:lnTo>
                    <a:lnTo>
                      <a:pt x="809282" y="10248"/>
                    </a:lnTo>
                    <a:lnTo>
                      <a:pt x="809282" y="0"/>
                    </a:lnTo>
                    <a:close/>
                  </a:path>
                  <a:path w="5480684" h="412114">
                    <a:moveTo>
                      <a:pt x="870750" y="0"/>
                    </a:moveTo>
                    <a:lnTo>
                      <a:pt x="860513" y="0"/>
                    </a:lnTo>
                    <a:lnTo>
                      <a:pt x="860513" y="10248"/>
                    </a:lnTo>
                    <a:lnTo>
                      <a:pt x="870750" y="10248"/>
                    </a:lnTo>
                    <a:lnTo>
                      <a:pt x="870750" y="0"/>
                    </a:lnTo>
                    <a:close/>
                  </a:path>
                  <a:path w="5480684" h="412114">
                    <a:moveTo>
                      <a:pt x="932218" y="0"/>
                    </a:moveTo>
                    <a:lnTo>
                      <a:pt x="921969" y="0"/>
                    </a:lnTo>
                    <a:lnTo>
                      <a:pt x="921969" y="10248"/>
                    </a:lnTo>
                    <a:lnTo>
                      <a:pt x="932218" y="10248"/>
                    </a:lnTo>
                    <a:lnTo>
                      <a:pt x="932218" y="0"/>
                    </a:lnTo>
                    <a:close/>
                  </a:path>
                  <a:path w="5480684" h="412114">
                    <a:moveTo>
                      <a:pt x="993686" y="0"/>
                    </a:moveTo>
                    <a:lnTo>
                      <a:pt x="983437" y="0"/>
                    </a:lnTo>
                    <a:lnTo>
                      <a:pt x="983437" y="10248"/>
                    </a:lnTo>
                    <a:lnTo>
                      <a:pt x="993686" y="10248"/>
                    </a:lnTo>
                    <a:lnTo>
                      <a:pt x="993686" y="0"/>
                    </a:lnTo>
                    <a:close/>
                  </a:path>
                  <a:path w="5480684" h="412114">
                    <a:moveTo>
                      <a:pt x="1055154" y="0"/>
                    </a:moveTo>
                    <a:lnTo>
                      <a:pt x="1044905" y="0"/>
                    </a:lnTo>
                    <a:lnTo>
                      <a:pt x="1044905" y="10248"/>
                    </a:lnTo>
                    <a:lnTo>
                      <a:pt x="1055154" y="10248"/>
                    </a:lnTo>
                    <a:lnTo>
                      <a:pt x="1055154" y="0"/>
                    </a:lnTo>
                    <a:close/>
                  </a:path>
                  <a:path w="5480684" h="412114">
                    <a:moveTo>
                      <a:pt x="1116609" y="0"/>
                    </a:moveTo>
                    <a:lnTo>
                      <a:pt x="1106373" y="0"/>
                    </a:lnTo>
                    <a:lnTo>
                      <a:pt x="1106373" y="10248"/>
                    </a:lnTo>
                    <a:lnTo>
                      <a:pt x="1116609" y="10248"/>
                    </a:lnTo>
                    <a:lnTo>
                      <a:pt x="1116609" y="0"/>
                    </a:lnTo>
                    <a:close/>
                  </a:path>
                  <a:path w="5480684" h="412114">
                    <a:moveTo>
                      <a:pt x="1178077" y="0"/>
                    </a:moveTo>
                    <a:lnTo>
                      <a:pt x="1167841" y="0"/>
                    </a:lnTo>
                    <a:lnTo>
                      <a:pt x="1167841" y="10248"/>
                    </a:lnTo>
                    <a:lnTo>
                      <a:pt x="1178077" y="10248"/>
                    </a:lnTo>
                    <a:lnTo>
                      <a:pt x="1178077" y="0"/>
                    </a:lnTo>
                    <a:close/>
                  </a:path>
                  <a:path w="5480684" h="412114">
                    <a:moveTo>
                      <a:pt x="1239545" y="0"/>
                    </a:moveTo>
                    <a:lnTo>
                      <a:pt x="1229296" y="0"/>
                    </a:lnTo>
                    <a:lnTo>
                      <a:pt x="1229296" y="10248"/>
                    </a:lnTo>
                    <a:lnTo>
                      <a:pt x="1239545" y="10248"/>
                    </a:lnTo>
                    <a:lnTo>
                      <a:pt x="1239545" y="0"/>
                    </a:lnTo>
                    <a:close/>
                  </a:path>
                  <a:path w="5480684" h="412114">
                    <a:moveTo>
                      <a:pt x="1301013" y="0"/>
                    </a:moveTo>
                    <a:lnTo>
                      <a:pt x="1290764" y="0"/>
                    </a:lnTo>
                    <a:lnTo>
                      <a:pt x="1290764" y="10248"/>
                    </a:lnTo>
                    <a:lnTo>
                      <a:pt x="1301013" y="10248"/>
                    </a:lnTo>
                    <a:lnTo>
                      <a:pt x="1301013" y="0"/>
                    </a:lnTo>
                    <a:close/>
                  </a:path>
                  <a:path w="5480684" h="412114">
                    <a:moveTo>
                      <a:pt x="1362468" y="0"/>
                    </a:moveTo>
                    <a:lnTo>
                      <a:pt x="1352232" y="0"/>
                    </a:lnTo>
                    <a:lnTo>
                      <a:pt x="1352232" y="10248"/>
                    </a:lnTo>
                    <a:lnTo>
                      <a:pt x="1362468" y="10248"/>
                    </a:lnTo>
                    <a:lnTo>
                      <a:pt x="1362468" y="0"/>
                    </a:lnTo>
                    <a:close/>
                  </a:path>
                  <a:path w="5480684" h="412114">
                    <a:moveTo>
                      <a:pt x="1423936" y="0"/>
                    </a:moveTo>
                    <a:lnTo>
                      <a:pt x="1413700" y="0"/>
                    </a:lnTo>
                    <a:lnTo>
                      <a:pt x="1413700" y="10248"/>
                    </a:lnTo>
                    <a:lnTo>
                      <a:pt x="1423936" y="10248"/>
                    </a:lnTo>
                    <a:lnTo>
                      <a:pt x="1423936" y="0"/>
                    </a:lnTo>
                    <a:close/>
                  </a:path>
                  <a:path w="5480684" h="412114">
                    <a:moveTo>
                      <a:pt x="1485404" y="0"/>
                    </a:moveTo>
                    <a:lnTo>
                      <a:pt x="1475155" y="0"/>
                    </a:lnTo>
                    <a:lnTo>
                      <a:pt x="1475155" y="10248"/>
                    </a:lnTo>
                    <a:lnTo>
                      <a:pt x="1485404" y="10248"/>
                    </a:lnTo>
                    <a:lnTo>
                      <a:pt x="1485404" y="0"/>
                    </a:lnTo>
                    <a:close/>
                  </a:path>
                  <a:path w="5480684" h="412114">
                    <a:moveTo>
                      <a:pt x="1546872" y="0"/>
                    </a:moveTo>
                    <a:lnTo>
                      <a:pt x="1536623" y="0"/>
                    </a:lnTo>
                    <a:lnTo>
                      <a:pt x="1536623" y="10248"/>
                    </a:lnTo>
                    <a:lnTo>
                      <a:pt x="1546872" y="10248"/>
                    </a:lnTo>
                    <a:lnTo>
                      <a:pt x="1546872" y="0"/>
                    </a:lnTo>
                    <a:close/>
                  </a:path>
                  <a:path w="5480684" h="412114">
                    <a:moveTo>
                      <a:pt x="1608340" y="0"/>
                    </a:moveTo>
                    <a:lnTo>
                      <a:pt x="1598091" y="0"/>
                    </a:lnTo>
                    <a:lnTo>
                      <a:pt x="1598091" y="10248"/>
                    </a:lnTo>
                    <a:lnTo>
                      <a:pt x="1608340" y="10248"/>
                    </a:lnTo>
                    <a:lnTo>
                      <a:pt x="1608340" y="0"/>
                    </a:lnTo>
                    <a:close/>
                  </a:path>
                  <a:path w="5480684" h="412114">
                    <a:moveTo>
                      <a:pt x="1669796" y="0"/>
                    </a:moveTo>
                    <a:lnTo>
                      <a:pt x="1659559" y="0"/>
                    </a:lnTo>
                    <a:lnTo>
                      <a:pt x="1659559" y="10248"/>
                    </a:lnTo>
                    <a:lnTo>
                      <a:pt x="1669796" y="10248"/>
                    </a:lnTo>
                    <a:lnTo>
                      <a:pt x="1669796" y="0"/>
                    </a:lnTo>
                    <a:close/>
                  </a:path>
                  <a:path w="5480684" h="412114">
                    <a:moveTo>
                      <a:pt x="1731264" y="0"/>
                    </a:moveTo>
                    <a:lnTo>
                      <a:pt x="1721027" y="0"/>
                    </a:lnTo>
                    <a:lnTo>
                      <a:pt x="1721027" y="10248"/>
                    </a:lnTo>
                    <a:lnTo>
                      <a:pt x="1731264" y="10248"/>
                    </a:lnTo>
                    <a:lnTo>
                      <a:pt x="1731264" y="0"/>
                    </a:lnTo>
                    <a:close/>
                  </a:path>
                  <a:path w="5480684" h="412114">
                    <a:moveTo>
                      <a:pt x="1792732" y="0"/>
                    </a:moveTo>
                    <a:lnTo>
                      <a:pt x="1782483" y="0"/>
                    </a:lnTo>
                    <a:lnTo>
                      <a:pt x="1782483" y="10248"/>
                    </a:lnTo>
                    <a:lnTo>
                      <a:pt x="1792732" y="10248"/>
                    </a:lnTo>
                    <a:lnTo>
                      <a:pt x="1792732" y="0"/>
                    </a:lnTo>
                    <a:close/>
                  </a:path>
                  <a:path w="5480684" h="412114">
                    <a:moveTo>
                      <a:pt x="1854200" y="0"/>
                    </a:moveTo>
                    <a:lnTo>
                      <a:pt x="1843951" y="0"/>
                    </a:lnTo>
                    <a:lnTo>
                      <a:pt x="1843951" y="10248"/>
                    </a:lnTo>
                    <a:lnTo>
                      <a:pt x="1854200" y="10248"/>
                    </a:lnTo>
                    <a:lnTo>
                      <a:pt x="1854200" y="0"/>
                    </a:lnTo>
                    <a:close/>
                  </a:path>
                  <a:path w="5480684" h="412114">
                    <a:moveTo>
                      <a:pt x="1915668" y="0"/>
                    </a:moveTo>
                    <a:lnTo>
                      <a:pt x="1905419" y="0"/>
                    </a:lnTo>
                    <a:lnTo>
                      <a:pt x="1905419" y="10248"/>
                    </a:lnTo>
                    <a:lnTo>
                      <a:pt x="1915668" y="10248"/>
                    </a:lnTo>
                    <a:lnTo>
                      <a:pt x="1915668" y="0"/>
                    </a:lnTo>
                    <a:close/>
                  </a:path>
                  <a:path w="5480684" h="412114">
                    <a:moveTo>
                      <a:pt x="1977123" y="0"/>
                    </a:moveTo>
                    <a:lnTo>
                      <a:pt x="1966887" y="0"/>
                    </a:lnTo>
                    <a:lnTo>
                      <a:pt x="1966887" y="10248"/>
                    </a:lnTo>
                    <a:lnTo>
                      <a:pt x="1977123" y="10248"/>
                    </a:lnTo>
                    <a:lnTo>
                      <a:pt x="1977123" y="0"/>
                    </a:lnTo>
                    <a:close/>
                  </a:path>
                  <a:path w="5480684" h="412114">
                    <a:moveTo>
                      <a:pt x="2038591" y="0"/>
                    </a:moveTo>
                    <a:lnTo>
                      <a:pt x="2028342" y="0"/>
                    </a:lnTo>
                    <a:lnTo>
                      <a:pt x="2028342" y="10248"/>
                    </a:lnTo>
                    <a:lnTo>
                      <a:pt x="2038591" y="10248"/>
                    </a:lnTo>
                    <a:lnTo>
                      <a:pt x="2038591" y="0"/>
                    </a:lnTo>
                    <a:close/>
                  </a:path>
                  <a:path w="5480684" h="412114">
                    <a:moveTo>
                      <a:pt x="2100059" y="0"/>
                    </a:moveTo>
                    <a:lnTo>
                      <a:pt x="2089810" y="0"/>
                    </a:lnTo>
                    <a:lnTo>
                      <a:pt x="2089810" y="10248"/>
                    </a:lnTo>
                    <a:lnTo>
                      <a:pt x="2100059" y="10248"/>
                    </a:lnTo>
                    <a:lnTo>
                      <a:pt x="2100059" y="0"/>
                    </a:lnTo>
                    <a:close/>
                  </a:path>
                  <a:path w="5480684" h="412114">
                    <a:moveTo>
                      <a:pt x="2161527" y="0"/>
                    </a:moveTo>
                    <a:lnTo>
                      <a:pt x="2151278" y="0"/>
                    </a:lnTo>
                    <a:lnTo>
                      <a:pt x="2151278" y="10248"/>
                    </a:lnTo>
                    <a:lnTo>
                      <a:pt x="2161527" y="10248"/>
                    </a:lnTo>
                    <a:lnTo>
                      <a:pt x="2161527" y="0"/>
                    </a:lnTo>
                    <a:close/>
                  </a:path>
                  <a:path w="5480684" h="412114">
                    <a:moveTo>
                      <a:pt x="2222982" y="0"/>
                    </a:moveTo>
                    <a:lnTo>
                      <a:pt x="2212746" y="0"/>
                    </a:lnTo>
                    <a:lnTo>
                      <a:pt x="2212746" y="10248"/>
                    </a:lnTo>
                    <a:lnTo>
                      <a:pt x="2222982" y="10248"/>
                    </a:lnTo>
                    <a:lnTo>
                      <a:pt x="2222982" y="0"/>
                    </a:lnTo>
                    <a:close/>
                  </a:path>
                  <a:path w="5480684" h="412114">
                    <a:moveTo>
                      <a:pt x="2284450" y="0"/>
                    </a:moveTo>
                    <a:lnTo>
                      <a:pt x="2274214" y="0"/>
                    </a:lnTo>
                    <a:lnTo>
                      <a:pt x="2274214" y="10248"/>
                    </a:lnTo>
                    <a:lnTo>
                      <a:pt x="2284450" y="10248"/>
                    </a:lnTo>
                    <a:lnTo>
                      <a:pt x="2284450" y="0"/>
                    </a:lnTo>
                    <a:close/>
                  </a:path>
                  <a:path w="5480684" h="412114">
                    <a:moveTo>
                      <a:pt x="2345918" y="0"/>
                    </a:moveTo>
                    <a:lnTo>
                      <a:pt x="2335669" y="0"/>
                    </a:lnTo>
                    <a:lnTo>
                      <a:pt x="2335669" y="10248"/>
                    </a:lnTo>
                    <a:lnTo>
                      <a:pt x="2345918" y="10248"/>
                    </a:lnTo>
                    <a:lnTo>
                      <a:pt x="2345918" y="0"/>
                    </a:lnTo>
                    <a:close/>
                  </a:path>
                  <a:path w="5480684" h="412114">
                    <a:moveTo>
                      <a:pt x="2407386" y="0"/>
                    </a:moveTo>
                    <a:lnTo>
                      <a:pt x="2397137" y="0"/>
                    </a:lnTo>
                    <a:lnTo>
                      <a:pt x="2397137" y="10248"/>
                    </a:lnTo>
                    <a:lnTo>
                      <a:pt x="2407386" y="10248"/>
                    </a:lnTo>
                    <a:lnTo>
                      <a:pt x="2407386" y="0"/>
                    </a:lnTo>
                    <a:close/>
                  </a:path>
                  <a:path w="5480684" h="412114">
                    <a:moveTo>
                      <a:pt x="2468854" y="0"/>
                    </a:moveTo>
                    <a:lnTo>
                      <a:pt x="2458605" y="0"/>
                    </a:lnTo>
                    <a:lnTo>
                      <a:pt x="2458605" y="10248"/>
                    </a:lnTo>
                    <a:lnTo>
                      <a:pt x="2468854" y="10248"/>
                    </a:lnTo>
                    <a:lnTo>
                      <a:pt x="2468854" y="0"/>
                    </a:lnTo>
                    <a:close/>
                  </a:path>
                  <a:path w="5480684" h="412114">
                    <a:moveTo>
                      <a:pt x="2530310" y="0"/>
                    </a:moveTo>
                    <a:lnTo>
                      <a:pt x="2520073" y="0"/>
                    </a:lnTo>
                    <a:lnTo>
                      <a:pt x="2520073" y="10248"/>
                    </a:lnTo>
                    <a:lnTo>
                      <a:pt x="2530310" y="10248"/>
                    </a:lnTo>
                    <a:lnTo>
                      <a:pt x="2530310" y="0"/>
                    </a:lnTo>
                    <a:close/>
                  </a:path>
                  <a:path w="5480684" h="412114">
                    <a:moveTo>
                      <a:pt x="2591778" y="0"/>
                    </a:moveTo>
                    <a:lnTo>
                      <a:pt x="2581541" y="0"/>
                    </a:lnTo>
                    <a:lnTo>
                      <a:pt x="2581541" y="10248"/>
                    </a:lnTo>
                    <a:lnTo>
                      <a:pt x="2591778" y="10248"/>
                    </a:lnTo>
                    <a:lnTo>
                      <a:pt x="2591778" y="0"/>
                    </a:lnTo>
                    <a:close/>
                  </a:path>
                  <a:path w="5480684" h="412114">
                    <a:moveTo>
                      <a:pt x="2653246" y="0"/>
                    </a:moveTo>
                    <a:lnTo>
                      <a:pt x="2642997" y="0"/>
                    </a:lnTo>
                    <a:lnTo>
                      <a:pt x="2642997" y="10248"/>
                    </a:lnTo>
                    <a:lnTo>
                      <a:pt x="2653246" y="10248"/>
                    </a:lnTo>
                    <a:lnTo>
                      <a:pt x="2653246" y="0"/>
                    </a:lnTo>
                    <a:close/>
                  </a:path>
                  <a:path w="5480684" h="412114">
                    <a:moveTo>
                      <a:pt x="2714714" y="0"/>
                    </a:moveTo>
                    <a:lnTo>
                      <a:pt x="2704465" y="0"/>
                    </a:lnTo>
                    <a:lnTo>
                      <a:pt x="2704465" y="10248"/>
                    </a:lnTo>
                    <a:lnTo>
                      <a:pt x="2714714" y="10248"/>
                    </a:lnTo>
                    <a:lnTo>
                      <a:pt x="2714714" y="0"/>
                    </a:lnTo>
                    <a:close/>
                  </a:path>
                  <a:path w="5480684" h="412114">
                    <a:moveTo>
                      <a:pt x="2776182" y="0"/>
                    </a:moveTo>
                    <a:lnTo>
                      <a:pt x="2765933" y="0"/>
                    </a:lnTo>
                    <a:lnTo>
                      <a:pt x="2765933" y="10248"/>
                    </a:lnTo>
                    <a:lnTo>
                      <a:pt x="2776182" y="10248"/>
                    </a:lnTo>
                    <a:lnTo>
                      <a:pt x="2776182" y="0"/>
                    </a:lnTo>
                    <a:close/>
                  </a:path>
                  <a:path w="5480684" h="412114">
                    <a:moveTo>
                      <a:pt x="2837637" y="0"/>
                    </a:moveTo>
                    <a:lnTo>
                      <a:pt x="2827401" y="0"/>
                    </a:lnTo>
                    <a:lnTo>
                      <a:pt x="2827401" y="10248"/>
                    </a:lnTo>
                    <a:lnTo>
                      <a:pt x="2837637" y="10248"/>
                    </a:lnTo>
                    <a:lnTo>
                      <a:pt x="2837637" y="0"/>
                    </a:lnTo>
                    <a:close/>
                  </a:path>
                  <a:path w="5480684" h="412114">
                    <a:moveTo>
                      <a:pt x="2899105" y="0"/>
                    </a:moveTo>
                    <a:lnTo>
                      <a:pt x="2888856" y="0"/>
                    </a:lnTo>
                    <a:lnTo>
                      <a:pt x="2888856" y="10248"/>
                    </a:lnTo>
                    <a:lnTo>
                      <a:pt x="2899105" y="10248"/>
                    </a:lnTo>
                    <a:lnTo>
                      <a:pt x="2899105" y="0"/>
                    </a:lnTo>
                    <a:close/>
                  </a:path>
                  <a:path w="5480684" h="412114">
                    <a:moveTo>
                      <a:pt x="2960573" y="0"/>
                    </a:moveTo>
                    <a:lnTo>
                      <a:pt x="2950324" y="0"/>
                    </a:lnTo>
                    <a:lnTo>
                      <a:pt x="2950324" y="10248"/>
                    </a:lnTo>
                    <a:lnTo>
                      <a:pt x="2960573" y="10248"/>
                    </a:lnTo>
                    <a:lnTo>
                      <a:pt x="2960573" y="0"/>
                    </a:lnTo>
                    <a:close/>
                  </a:path>
                  <a:path w="5480684" h="412114">
                    <a:moveTo>
                      <a:pt x="3022041" y="0"/>
                    </a:moveTo>
                    <a:lnTo>
                      <a:pt x="3011792" y="0"/>
                    </a:lnTo>
                    <a:lnTo>
                      <a:pt x="3011792" y="10248"/>
                    </a:lnTo>
                    <a:lnTo>
                      <a:pt x="3022041" y="10248"/>
                    </a:lnTo>
                    <a:lnTo>
                      <a:pt x="3022041" y="0"/>
                    </a:lnTo>
                    <a:close/>
                  </a:path>
                  <a:path w="5480684" h="412114">
                    <a:moveTo>
                      <a:pt x="3083496" y="0"/>
                    </a:moveTo>
                    <a:lnTo>
                      <a:pt x="3073260" y="0"/>
                    </a:lnTo>
                    <a:lnTo>
                      <a:pt x="3073260" y="10248"/>
                    </a:lnTo>
                    <a:lnTo>
                      <a:pt x="3083496" y="10248"/>
                    </a:lnTo>
                    <a:lnTo>
                      <a:pt x="3083496" y="0"/>
                    </a:lnTo>
                    <a:close/>
                  </a:path>
                  <a:path w="5480684" h="412114">
                    <a:moveTo>
                      <a:pt x="3144964" y="0"/>
                    </a:moveTo>
                    <a:lnTo>
                      <a:pt x="3134728" y="0"/>
                    </a:lnTo>
                    <a:lnTo>
                      <a:pt x="3134728" y="10248"/>
                    </a:lnTo>
                    <a:lnTo>
                      <a:pt x="3144964" y="10248"/>
                    </a:lnTo>
                    <a:lnTo>
                      <a:pt x="3144964" y="0"/>
                    </a:lnTo>
                    <a:close/>
                  </a:path>
                  <a:path w="5480684" h="412114">
                    <a:moveTo>
                      <a:pt x="3206432" y="0"/>
                    </a:moveTo>
                    <a:lnTo>
                      <a:pt x="3196183" y="0"/>
                    </a:lnTo>
                    <a:lnTo>
                      <a:pt x="3196183" y="10248"/>
                    </a:lnTo>
                    <a:lnTo>
                      <a:pt x="3206432" y="10248"/>
                    </a:lnTo>
                    <a:lnTo>
                      <a:pt x="3206432" y="0"/>
                    </a:lnTo>
                    <a:close/>
                  </a:path>
                  <a:path w="5480684" h="412114">
                    <a:moveTo>
                      <a:pt x="3267900" y="0"/>
                    </a:moveTo>
                    <a:lnTo>
                      <a:pt x="3257651" y="0"/>
                    </a:lnTo>
                    <a:lnTo>
                      <a:pt x="3257651" y="10248"/>
                    </a:lnTo>
                    <a:lnTo>
                      <a:pt x="3267900" y="10248"/>
                    </a:lnTo>
                    <a:lnTo>
                      <a:pt x="3267900" y="0"/>
                    </a:lnTo>
                    <a:close/>
                  </a:path>
                  <a:path w="5480684" h="412114">
                    <a:moveTo>
                      <a:pt x="3329368" y="0"/>
                    </a:moveTo>
                    <a:lnTo>
                      <a:pt x="3319119" y="0"/>
                    </a:lnTo>
                    <a:lnTo>
                      <a:pt x="3319119" y="10248"/>
                    </a:lnTo>
                    <a:lnTo>
                      <a:pt x="3329368" y="10248"/>
                    </a:lnTo>
                    <a:lnTo>
                      <a:pt x="3329368" y="0"/>
                    </a:lnTo>
                    <a:close/>
                  </a:path>
                  <a:path w="5480684" h="412114">
                    <a:moveTo>
                      <a:pt x="3390823" y="0"/>
                    </a:moveTo>
                    <a:lnTo>
                      <a:pt x="3380587" y="0"/>
                    </a:lnTo>
                    <a:lnTo>
                      <a:pt x="3380587" y="10248"/>
                    </a:lnTo>
                    <a:lnTo>
                      <a:pt x="3390823" y="10248"/>
                    </a:lnTo>
                    <a:lnTo>
                      <a:pt x="3390823" y="0"/>
                    </a:lnTo>
                    <a:close/>
                  </a:path>
                  <a:path w="5480684" h="412114">
                    <a:moveTo>
                      <a:pt x="3452291" y="0"/>
                    </a:moveTo>
                    <a:lnTo>
                      <a:pt x="3442055" y="0"/>
                    </a:lnTo>
                    <a:lnTo>
                      <a:pt x="3442055" y="10248"/>
                    </a:lnTo>
                    <a:lnTo>
                      <a:pt x="3452291" y="10248"/>
                    </a:lnTo>
                    <a:lnTo>
                      <a:pt x="3452291" y="0"/>
                    </a:lnTo>
                    <a:close/>
                  </a:path>
                  <a:path w="5480684" h="412114">
                    <a:moveTo>
                      <a:pt x="3513759" y="0"/>
                    </a:moveTo>
                    <a:lnTo>
                      <a:pt x="3503511" y="0"/>
                    </a:lnTo>
                    <a:lnTo>
                      <a:pt x="3503511" y="10248"/>
                    </a:lnTo>
                    <a:lnTo>
                      <a:pt x="3513759" y="10248"/>
                    </a:lnTo>
                    <a:lnTo>
                      <a:pt x="3513759" y="0"/>
                    </a:lnTo>
                    <a:close/>
                  </a:path>
                  <a:path w="5480684" h="412114">
                    <a:moveTo>
                      <a:pt x="3575227" y="0"/>
                    </a:moveTo>
                    <a:lnTo>
                      <a:pt x="3564979" y="0"/>
                    </a:lnTo>
                    <a:lnTo>
                      <a:pt x="3564979" y="10248"/>
                    </a:lnTo>
                    <a:lnTo>
                      <a:pt x="3575227" y="10248"/>
                    </a:lnTo>
                    <a:lnTo>
                      <a:pt x="3575227" y="0"/>
                    </a:lnTo>
                    <a:close/>
                  </a:path>
                  <a:path w="5480684" h="412114">
                    <a:moveTo>
                      <a:pt x="3636683" y="0"/>
                    </a:moveTo>
                    <a:lnTo>
                      <a:pt x="3626447" y="0"/>
                    </a:lnTo>
                    <a:lnTo>
                      <a:pt x="3626447" y="10248"/>
                    </a:lnTo>
                    <a:lnTo>
                      <a:pt x="3636683" y="10248"/>
                    </a:lnTo>
                    <a:lnTo>
                      <a:pt x="3636683" y="0"/>
                    </a:lnTo>
                    <a:close/>
                  </a:path>
                  <a:path w="5480684" h="412114">
                    <a:moveTo>
                      <a:pt x="3698151" y="0"/>
                    </a:moveTo>
                    <a:lnTo>
                      <a:pt x="3687915" y="0"/>
                    </a:lnTo>
                    <a:lnTo>
                      <a:pt x="3687915" y="10248"/>
                    </a:lnTo>
                    <a:lnTo>
                      <a:pt x="3698151" y="10248"/>
                    </a:lnTo>
                    <a:lnTo>
                      <a:pt x="3698151" y="0"/>
                    </a:lnTo>
                    <a:close/>
                  </a:path>
                  <a:path w="5480684" h="412114">
                    <a:moveTo>
                      <a:pt x="4927460" y="401764"/>
                    </a:moveTo>
                    <a:lnTo>
                      <a:pt x="4917211" y="401764"/>
                    </a:lnTo>
                    <a:lnTo>
                      <a:pt x="4917211" y="412000"/>
                    </a:lnTo>
                    <a:lnTo>
                      <a:pt x="4927460" y="412000"/>
                    </a:lnTo>
                    <a:lnTo>
                      <a:pt x="4927460" y="401764"/>
                    </a:lnTo>
                    <a:close/>
                  </a:path>
                  <a:path w="5480684" h="412114">
                    <a:moveTo>
                      <a:pt x="4988928" y="401764"/>
                    </a:moveTo>
                    <a:lnTo>
                      <a:pt x="4978679" y="401764"/>
                    </a:lnTo>
                    <a:lnTo>
                      <a:pt x="4978679" y="412000"/>
                    </a:lnTo>
                    <a:lnTo>
                      <a:pt x="4988928" y="412000"/>
                    </a:lnTo>
                    <a:lnTo>
                      <a:pt x="4988928" y="401764"/>
                    </a:lnTo>
                    <a:close/>
                  </a:path>
                  <a:path w="5480684" h="412114">
                    <a:moveTo>
                      <a:pt x="5050396" y="401764"/>
                    </a:moveTo>
                    <a:lnTo>
                      <a:pt x="5040147" y="401764"/>
                    </a:lnTo>
                    <a:lnTo>
                      <a:pt x="5040147" y="412000"/>
                    </a:lnTo>
                    <a:lnTo>
                      <a:pt x="5050396" y="412000"/>
                    </a:lnTo>
                    <a:lnTo>
                      <a:pt x="5050396" y="401764"/>
                    </a:lnTo>
                    <a:close/>
                  </a:path>
                  <a:path w="5480684" h="412114">
                    <a:moveTo>
                      <a:pt x="5111851" y="401764"/>
                    </a:moveTo>
                    <a:lnTo>
                      <a:pt x="5101615" y="401764"/>
                    </a:lnTo>
                    <a:lnTo>
                      <a:pt x="5101615" y="412000"/>
                    </a:lnTo>
                    <a:lnTo>
                      <a:pt x="5111851" y="412000"/>
                    </a:lnTo>
                    <a:lnTo>
                      <a:pt x="5111851" y="401764"/>
                    </a:lnTo>
                    <a:close/>
                  </a:path>
                  <a:path w="5480684" h="412114">
                    <a:moveTo>
                      <a:pt x="5173319" y="401764"/>
                    </a:moveTo>
                    <a:lnTo>
                      <a:pt x="5163070" y="401764"/>
                    </a:lnTo>
                    <a:lnTo>
                      <a:pt x="5163070" y="412000"/>
                    </a:lnTo>
                    <a:lnTo>
                      <a:pt x="5173319" y="412000"/>
                    </a:lnTo>
                    <a:lnTo>
                      <a:pt x="5173319" y="401764"/>
                    </a:lnTo>
                    <a:close/>
                  </a:path>
                  <a:path w="5480684" h="412114">
                    <a:moveTo>
                      <a:pt x="5234787" y="401764"/>
                    </a:moveTo>
                    <a:lnTo>
                      <a:pt x="5224538" y="401764"/>
                    </a:lnTo>
                    <a:lnTo>
                      <a:pt x="5224538" y="412000"/>
                    </a:lnTo>
                    <a:lnTo>
                      <a:pt x="5234787" y="412000"/>
                    </a:lnTo>
                    <a:lnTo>
                      <a:pt x="5234787" y="401764"/>
                    </a:lnTo>
                    <a:close/>
                  </a:path>
                  <a:path w="5480684" h="412114">
                    <a:moveTo>
                      <a:pt x="5296255" y="401764"/>
                    </a:moveTo>
                    <a:lnTo>
                      <a:pt x="5286006" y="401764"/>
                    </a:lnTo>
                    <a:lnTo>
                      <a:pt x="5286006" y="412000"/>
                    </a:lnTo>
                    <a:lnTo>
                      <a:pt x="5296255" y="412000"/>
                    </a:lnTo>
                    <a:lnTo>
                      <a:pt x="5296255" y="401764"/>
                    </a:lnTo>
                    <a:close/>
                  </a:path>
                  <a:path w="5480684" h="412114">
                    <a:moveTo>
                      <a:pt x="5357711" y="401764"/>
                    </a:moveTo>
                    <a:lnTo>
                      <a:pt x="5347474" y="401764"/>
                    </a:lnTo>
                    <a:lnTo>
                      <a:pt x="5347474" y="412000"/>
                    </a:lnTo>
                    <a:lnTo>
                      <a:pt x="5357711" y="412000"/>
                    </a:lnTo>
                    <a:lnTo>
                      <a:pt x="5357711" y="401764"/>
                    </a:lnTo>
                    <a:close/>
                  </a:path>
                  <a:path w="5480684" h="412114">
                    <a:moveTo>
                      <a:pt x="5419179" y="401764"/>
                    </a:moveTo>
                    <a:lnTo>
                      <a:pt x="5408942" y="401764"/>
                    </a:lnTo>
                    <a:lnTo>
                      <a:pt x="5408942" y="412000"/>
                    </a:lnTo>
                    <a:lnTo>
                      <a:pt x="5419179" y="412000"/>
                    </a:lnTo>
                    <a:lnTo>
                      <a:pt x="5419179" y="401764"/>
                    </a:lnTo>
                    <a:close/>
                  </a:path>
                  <a:path w="5480684" h="412114">
                    <a:moveTo>
                      <a:pt x="5480647" y="401764"/>
                    </a:moveTo>
                    <a:lnTo>
                      <a:pt x="5470398" y="401764"/>
                    </a:lnTo>
                    <a:lnTo>
                      <a:pt x="5470398" y="412000"/>
                    </a:lnTo>
                    <a:lnTo>
                      <a:pt x="5480647" y="412000"/>
                    </a:lnTo>
                    <a:lnTo>
                      <a:pt x="5480647" y="401764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0" name="object 10"/>
              <p:cNvSpPr/>
              <p:nvPr/>
            </p:nvSpPr>
            <p:spPr>
              <a:xfrm>
                <a:off x="11102518" y="1910447"/>
                <a:ext cx="1793239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1793240" h="10794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48"/>
                    </a:lnTo>
                    <a:lnTo>
                      <a:pt x="10236" y="10248"/>
                    </a:lnTo>
                    <a:lnTo>
                      <a:pt x="10236" y="0"/>
                    </a:lnTo>
                    <a:close/>
                  </a:path>
                  <a:path w="1793240" h="10794">
                    <a:moveTo>
                      <a:pt x="71704" y="0"/>
                    </a:moveTo>
                    <a:lnTo>
                      <a:pt x="61455" y="0"/>
                    </a:lnTo>
                    <a:lnTo>
                      <a:pt x="61455" y="10248"/>
                    </a:lnTo>
                    <a:lnTo>
                      <a:pt x="71704" y="10248"/>
                    </a:lnTo>
                    <a:lnTo>
                      <a:pt x="71704" y="0"/>
                    </a:lnTo>
                    <a:close/>
                  </a:path>
                  <a:path w="1793240" h="10794">
                    <a:moveTo>
                      <a:pt x="133172" y="0"/>
                    </a:moveTo>
                    <a:lnTo>
                      <a:pt x="122923" y="0"/>
                    </a:lnTo>
                    <a:lnTo>
                      <a:pt x="122923" y="10248"/>
                    </a:lnTo>
                    <a:lnTo>
                      <a:pt x="133172" y="10248"/>
                    </a:lnTo>
                    <a:lnTo>
                      <a:pt x="133172" y="0"/>
                    </a:lnTo>
                    <a:close/>
                  </a:path>
                  <a:path w="1793240" h="10794">
                    <a:moveTo>
                      <a:pt x="194640" y="0"/>
                    </a:moveTo>
                    <a:lnTo>
                      <a:pt x="184391" y="0"/>
                    </a:lnTo>
                    <a:lnTo>
                      <a:pt x="184391" y="10248"/>
                    </a:lnTo>
                    <a:lnTo>
                      <a:pt x="194640" y="10248"/>
                    </a:lnTo>
                    <a:lnTo>
                      <a:pt x="194640" y="0"/>
                    </a:lnTo>
                    <a:close/>
                  </a:path>
                  <a:path w="1793240" h="10794">
                    <a:moveTo>
                      <a:pt x="256095" y="0"/>
                    </a:moveTo>
                    <a:lnTo>
                      <a:pt x="245859" y="0"/>
                    </a:lnTo>
                    <a:lnTo>
                      <a:pt x="245859" y="10248"/>
                    </a:lnTo>
                    <a:lnTo>
                      <a:pt x="256095" y="10248"/>
                    </a:lnTo>
                    <a:lnTo>
                      <a:pt x="256095" y="0"/>
                    </a:lnTo>
                    <a:close/>
                  </a:path>
                  <a:path w="1793240" h="10794">
                    <a:moveTo>
                      <a:pt x="317563" y="0"/>
                    </a:moveTo>
                    <a:lnTo>
                      <a:pt x="307327" y="0"/>
                    </a:lnTo>
                    <a:lnTo>
                      <a:pt x="307327" y="10248"/>
                    </a:lnTo>
                    <a:lnTo>
                      <a:pt x="317563" y="10248"/>
                    </a:lnTo>
                    <a:lnTo>
                      <a:pt x="317563" y="0"/>
                    </a:lnTo>
                    <a:close/>
                  </a:path>
                  <a:path w="1793240" h="10794">
                    <a:moveTo>
                      <a:pt x="379031" y="0"/>
                    </a:moveTo>
                    <a:lnTo>
                      <a:pt x="368782" y="0"/>
                    </a:lnTo>
                    <a:lnTo>
                      <a:pt x="368782" y="10248"/>
                    </a:lnTo>
                    <a:lnTo>
                      <a:pt x="379031" y="10248"/>
                    </a:lnTo>
                    <a:lnTo>
                      <a:pt x="379031" y="0"/>
                    </a:lnTo>
                    <a:close/>
                  </a:path>
                  <a:path w="1793240" h="10794">
                    <a:moveTo>
                      <a:pt x="440499" y="0"/>
                    </a:moveTo>
                    <a:lnTo>
                      <a:pt x="430250" y="0"/>
                    </a:lnTo>
                    <a:lnTo>
                      <a:pt x="430250" y="10248"/>
                    </a:lnTo>
                    <a:lnTo>
                      <a:pt x="440499" y="10248"/>
                    </a:lnTo>
                    <a:lnTo>
                      <a:pt x="440499" y="0"/>
                    </a:lnTo>
                    <a:close/>
                  </a:path>
                  <a:path w="1793240" h="10794">
                    <a:moveTo>
                      <a:pt x="501967" y="0"/>
                    </a:moveTo>
                    <a:lnTo>
                      <a:pt x="491718" y="0"/>
                    </a:lnTo>
                    <a:lnTo>
                      <a:pt x="491718" y="10248"/>
                    </a:lnTo>
                    <a:lnTo>
                      <a:pt x="501967" y="10248"/>
                    </a:lnTo>
                    <a:lnTo>
                      <a:pt x="501967" y="0"/>
                    </a:lnTo>
                    <a:close/>
                  </a:path>
                  <a:path w="1793240" h="10794">
                    <a:moveTo>
                      <a:pt x="563422" y="0"/>
                    </a:moveTo>
                    <a:lnTo>
                      <a:pt x="553186" y="0"/>
                    </a:lnTo>
                    <a:lnTo>
                      <a:pt x="553186" y="10248"/>
                    </a:lnTo>
                    <a:lnTo>
                      <a:pt x="563422" y="10248"/>
                    </a:lnTo>
                    <a:lnTo>
                      <a:pt x="563422" y="0"/>
                    </a:lnTo>
                    <a:close/>
                  </a:path>
                  <a:path w="1793240" h="10794">
                    <a:moveTo>
                      <a:pt x="624890" y="0"/>
                    </a:moveTo>
                    <a:lnTo>
                      <a:pt x="614641" y="0"/>
                    </a:lnTo>
                    <a:lnTo>
                      <a:pt x="614641" y="10248"/>
                    </a:lnTo>
                    <a:lnTo>
                      <a:pt x="624890" y="10248"/>
                    </a:lnTo>
                    <a:lnTo>
                      <a:pt x="624890" y="0"/>
                    </a:lnTo>
                    <a:close/>
                  </a:path>
                  <a:path w="1793240" h="10794">
                    <a:moveTo>
                      <a:pt x="686358" y="0"/>
                    </a:moveTo>
                    <a:lnTo>
                      <a:pt x="676109" y="0"/>
                    </a:lnTo>
                    <a:lnTo>
                      <a:pt x="676109" y="10248"/>
                    </a:lnTo>
                    <a:lnTo>
                      <a:pt x="686358" y="10248"/>
                    </a:lnTo>
                    <a:lnTo>
                      <a:pt x="686358" y="0"/>
                    </a:lnTo>
                    <a:close/>
                  </a:path>
                  <a:path w="1793240" h="10794">
                    <a:moveTo>
                      <a:pt x="747826" y="0"/>
                    </a:moveTo>
                    <a:lnTo>
                      <a:pt x="737577" y="0"/>
                    </a:lnTo>
                    <a:lnTo>
                      <a:pt x="737577" y="10248"/>
                    </a:lnTo>
                    <a:lnTo>
                      <a:pt x="747826" y="10248"/>
                    </a:lnTo>
                    <a:lnTo>
                      <a:pt x="747826" y="0"/>
                    </a:lnTo>
                    <a:close/>
                  </a:path>
                  <a:path w="1793240" h="10794">
                    <a:moveTo>
                      <a:pt x="809282" y="0"/>
                    </a:moveTo>
                    <a:lnTo>
                      <a:pt x="799045" y="0"/>
                    </a:lnTo>
                    <a:lnTo>
                      <a:pt x="799045" y="10248"/>
                    </a:lnTo>
                    <a:lnTo>
                      <a:pt x="809282" y="10248"/>
                    </a:lnTo>
                    <a:lnTo>
                      <a:pt x="809282" y="0"/>
                    </a:lnTo>
                    <a:close/>
                  </a:path>
                  <a:path w="1793240" h="10794">
                    <a:moveTo>
                      <a:pt x="870750" y="0"/>
                    </a:moveTo>
                    <a:lnTo>
                      <a:pt x="860513" y="0"/>
                    </a:lnTo>
                    <a:lnTo>
                      <a:pt x="860513" y="10248"/>
                    </a:lnTo>
                    <a:lnTo>
                      <a:pt x="870750" y="10248"/>
                    </a:lnTo>
                    <a:lnTo>
                      <a:pt x="870750" y="0"/>
                    </a:lnTo>
                    <a:close/>
                  </a:path>
                  <a:path w="1793240" h="10794">
                    <a:moveTo>
                      <a:pt x="932218" y="0"/>
                    </a:moveTo>
                    <a:lnTo>
                      <a:pt x="921969" y="0"/>
                    </a:lnTo>
                    <a:lnTo>
                      <a:pt x="921969" y="10248"/>
                    </a:lnTo>
                    <a:lnTo>
                      <a:pt x="932218" y="10248"/>
                    </a:lnTo>
                    <a:lnTo>
                      <a:pt x="932218" y="0"/>
                    </a:lnTo>
                    <a:close/>
                  </a:path>
                  <a:path w="1793240" h="10794">
                    <a:moveTo>
                      <a:pt x="993686" y="0"/>
                    </a:moveTo>
                    <a:lnTo>
                      <a:pt x="983437" y="0"/>
                    </a:lnTo>
                    <a:lnTo>
                      <a:pt x="983437" y="10248"/>
                    </a:lnTo>
                    <a:lnTo>
                      <a:pt x="993686" y="10248"/>
                    </a:lnTo>
                    <a:lnTo>
                      <a:pt x="993686" y="0"/>
                    </a:lnTo>
                    <a:close/>
                  </a:path>
                  <a:path w="1793240" h="10794">
                    <a:moveTo>
                      <a:pt x="1055154" y="0"/>
                    </a:moveTo>
                    <a:lnTo>
                      <a:pt x="1044905" y="0"/>
                    </a:lnTo>
                    <a:lnTo>
                      <a:pt x="1044905" y="10248"/>
                    </a:lnTo>
                    <a:lnTo>
                      <a:pt x="1055154" y="10248"/>
                    </a:lnTo>
                    <a:lnTo>
                      <a:pt x="1055154" y="0"/>
                    </a:lnTo>
                    <a:close/>
                  </a:path>
                  <a:path w="1793240" h="10794">
                    <a:moveTo>
                      <a:pt x="1116609" y="0"/>
                    </a:moveTo>
                    <a:lnTo>
                      <a:pt x="1106373" y="0"/>
                    </a:lnTo>
                    <a:lnTo>
                      <a:pt x="1106373" y="10248"/>
                    </a:lnTo>
                    <a:lnTo>
                      <a:pt x="1116609" y="10248"/>
                    </a:lnTo>
                    <a:lnTo>
                      <a:pt x="1116609" y="0"/>
                    </a:lnTo>
                    <a:close/>
                  </a:path>
                  <a:path w="1793240" h="10794">
                    <a:moveTo>
                      <a:pt x="1178077" y="0"/>
                    </a:moveTo>
                    <a:lnTo>
                      <a:pt x="1167841" y="0"/>
                    </a:lnTo>
                    <a:lnTo>
                      <a:pt x="1167841" y="10248"/>
                    </a:lnTo>
                    <a:lnTo>
                      <a:pt x="1178077" y="10248"/>
                    </a:lnTo>
                    <a:lnTo>
                      <a:pt x="1178077" y="0"/>
                    </a:lnTo>
                    <a:close/>
                  </a:path>
                  <a:path w="1793240" h="10794">
                    <a:moveTo>
                      <a:pt x="1239545" y="0"/>
                    </a:moveTo>
                    <a:lnTo>
                      <a:pt x="1229296" y="0"/>
                    </a:lnTo>
                    <a:lnTo>
                      <a:pt x="1229296" y="10248"/>
                    </a:lnTo>
                    <a:lnTo>
                      <a:pt x="1239545" y="10248"/>
                    </a:lnTo>
                    <a:lnTo>
                      <a:pt x="1239545" y="0"/>
                    </a:lnTo>
                    <a:close/>
                  </a:path>
                  <a:path w="1793240" h="10794">
                    <a:moveTo>
                      <a:pt x="1301013" y="0"/>
                    </a:moveTo>
                    <a:lnTo>
                      <a:pt x="1290764" y="0"/>
                    </a:lnTo>
                    <a:lnTo>
                      <a:pt x="1290764" y="10248"/>
                    </a:lnTo>
                    <a:lnTo>
                      <a:pt x="1301013" y="10248"/>
                    </a:lnTo>
                    <a:lnTo>
                      <a:pt x="1301013" y="0"/>
                    </a:lnTo>
                    <a:close/>
                  </a:path>
                  <a:path w="1793240" h="10794">
                    <a:moveTo>
                      <a:pt x="1362481" y="0"/>
                    </a:moveTo>
                    <a:lnTo>
                      <a:pt x="1352232" y="0"/>
                    </a:lnTo>
                    <a:lnTo>
                      <a:pt x="1352232" y="10248"/>
                    </a:lnTo>
                    <a:lnTo>
                      <a:pt x="1362481" y="10248"/>
                    </a:lnTo>
                    <a:lnTo>
                      <a:pt x="1362481" y="0"/>
                    </a:lnTo>
                    <a:close/>
                  </a:path>
                  <a:path w="1793240" h="10794">
                    <a:moveTo>
                      <a:pt x="1423936" y="0"/>
                    </a:moveTo>
                    <a:lnTo>
                      <a:pt x="1413700" y="0"/>
                    </a:lnTo>
                    <a:lnTo>
                      <a:pt x="1413700" y="10248"/>
                    </a:lnTo>
                    <a:lnTo>
                      <a:pt x="1423936" y="10248"/>
                    </a:lnTo>
                    <a:lnTo>
                      <a:pt x="1423936" y="0"/>
                    </a:lnTo>
                    <a:close/>
                  </a:path>
                  <a:path w="1793240" h="10794">
                    <a:moveTo>
                      <a:pt x="1485404" y="0"/>
                    </a:moveTo>
                    <a:lnTo>
                      <a:pt x="1475155" y="0"/>
                    </a:lnTo>
                    <a:lnTo>
                      <a:pt x="1475155" y="10248"/>
                    </a:lnTo>
                    <a:lnTo>
                      <a:pt x="1485404" y="10248"/>
                    </a:lnTo>
                    <a:lnTo>
                      <a:pt x="1485404" y="0"/>
                    </a:lnTo>
                    <a:close/>
                  </a:path>
                  <a:path w="1793240" h="10794">
                    <a:moveTo>
                      <a:pt x="1546872" y="0"/>
                    </a:moveTo>
                    <a:lnTo>
                      <a:pt x="1536623" y="0"/>
                    </a:lnTo>
                    <a:lnTo>
                      <a:pt x="1536623" y="10248"/>
                    </a:lnTo>
                    <a:lnTo>
                      <a:pt x="1546872" y="10248"/>
                    </a:lnTo>
                    <a:lnTo>
                      <a:pt x="1546872" y="0"/>
                    </a:lnTo>
                    <a:close/>
                  </a:path>
                  <a:path w="1793240" h="10794">
                    <a:moveTo>
                      <a:pt x="1608340" y="0"/>
                    </a:moveTo>
                    <a:lnTo>
                      <a:pt x="1598091" y="0"/>
                    </a:lnTo>
                    <a:lnTo>
                      <a:pt x="1598091" y="10248"/>
                    </a:lnTo>
                    <a:lnTo>
                      <a:pt x="1608340" y="10248"/>
                    </a:lnTo>
                    <a:lnTo>
                      <a:pt x="1608340" y="0"/>
                    </a:lnTo>
                    <a:close/>
                  </a:path>
                  <a:path w="1793240" h="10794">
                    <a:moveTo>
                      <a:pt x="1669796" y="0"/>
                    </a:moveTo>
                    <a:lnTo>
                      <a:pt x="1659559" y="0"/>
                    </a:lnTo>
                    <a:lnTo>
                      <a:pt x="1659559" y="10248"/>
                    </a:lnTo>
                    <a:lnTo>
                      <a:pt x="1669796" y="10248"/>
                    </a:lnTo>
                    <a:lnTo>
                      <a:pt x="1669796" y="0"/>
                    </a:lnTo>
                    <a:close/>
                  </a:path>
                  <a:path w="1793240" h="10794">
                    <a:moveTo>
                      <a:pt x="1731264" y="0"/>
                    </a:moveTo>
                    <a:lnTo>
                      <a:pt x="1721027" y="0"/>
                    </a:lnTo>
                    <a:lnTo>
                      <a:pt x="1721027" y="10248"/>
                    </a:lnTo>
                    <a:lnTo>
                      <a:pt x="1731264" y="10248"/>
                    </a:lnTo>
                    <a:lnTo>
                      <a:pt x="1731264" y="0"/>
                    </a:lnTo>
                    <a:close/>
                  </a:path>
                  <a:path w="1793240" h="10794">
                    <a:moveTo>
                      <a:pt x="1792732" y="0"/>
                    </a:moveTo>
                    <a:lnTo>
                      <a:pt x="1782483" y="0"/>
                    </a:lnTo>
                    <a:lnTo>
                      <a:pt x="1782483" y="10248"/>
                    </a:lnTo>
                    <a:lnTo>
                      <a:pt x="1792732" y="10248"/>
                    </a:lnTo>
                    <a:lnTo>
                      <a:pt x="1792732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" name="object 11"/>
              <p:cNvSpPr/>
              <p:nvPr/>
            </p:nvSpPr>
            <p:spPr>
              <a:xfrm>
                <a:off x="7455580" y="1895251"/>
                <a:ext cx="5377815" cy="1627505"/>
              </a:xfrm>
              <a:custGeom>
                <a:avLst/>
                <a:gdLst/>
                <a:ahLst/>
                <a:cxnLst/>
                <a:rect l="l" t="t" r="r" b="b"/>
                <a:pathLst>
                  <a:path w="5377815" h="1627504">
                    <a:moveTo>
                      <a:pt x="0" y="1627353"/>
                    </a:moveTo>
                    <a:lnTo>
                      <a:pt x="244426" y="92091"/>
                    </a:lnTo>
                    <a:lnTo>
                      <a:pt x="488853" y="397809"/>
                    </a:lnTo>
                    <a:lnTo>
                      <a:pt x="733280" y="730751"/>
                    </a:lnTo>
                    <a:lnTo>
                      <a:pt x="977706" y="709281"/>
                    </a:lnTo>
                    <a:lnTo>
                      <a:pt x="1222133" y="744469"/>
                    </a:lnTo>
                    <a:lnTo>
                      <a:pt x="1466560" y="906303"/>
                    </a:lnTo>
                    <a:lnTo>
                      <a:pt x="1710987" y="1136272"/>
                    </a:lnTo>
                    <a:lnTo>
                      <a:pt x="1955413" y="1284839"/>
                    </a:lnTo>
                    <a:lnTo>
                      <a:pt x="2199840" y="1467072"/>
                    </a:lnTo>
                    <a:lnTo>
                      <a:pt x="2444267" y="1418012"/>
                    </a:lnTo>
                    <a:lnTo>
                      <a:pt x="2688694" y="1177024"/>
                    </a:lnTo>
                    <a:lnTo>
                      <a:pt x="2933120" y="1415312"/>
                    </a:lnTo>
                    <a:lnTo>
                      <a:pt x="3177547" y="1392200"/>
                    </a:lnTo>
                    <a:lnTo>
                      <a:pt x="3421974" y="1318835"/>
                    </a:lnTo>
                    <a:lnTo>
                      <a:pt x="3666400" y="1256130"/>
                    </a:lnTo>
                    <a:lnTo>
                      <a:pt x="3910827" y="898397"/>
                    </a:lnTo>
                    <a:lnTo>
                      <a:pt x="4155254" y="336771"/>
                    </a:lnTo>
                    <a:lnTo>
                      <a:pt x="4399681" y="148133"/>
                    </a:lnTo>
                    <a:lnTo>
                      <a:pt x="4644107" y="0"/>
                    </a:lnTo>
                    <a:lnTo>
                      <a:pt x="4888534" y="24098"/>
                    </a:lnTo>
                    <a:lnTo>
                      <a:pt x="5132960" y="98213"/>
                    </a:lnTo>
                    <a:lnTo>
                      <a:pt x="5377388" y="101954"/>
                    </a:lnTo>
                  </a:path>
                </a:pathLst>
              </a:custGeom>
              <a:ln w="30726">
                <a:solidFill>
                  <a:srgbClr val="E66B37"/>
                </a:solidFill>
              </a:ln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12" name="object 12"/>
            <p:cNvSpPr txBox="1"/>
            <p:nvPr/>
          </p:nvSpPr>
          <p:spPr>
            <a:xfrm>
              <a:off x="6559775" y="3023233"/>
              <a:ext cx="16304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.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6801828" y="2749168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4" name="object 14"/>
            <p:cNvSpPr txBox="1"/>
            <p:nvPr/>
          </p:nvSpPr>
          <p:spPr>
            <a:xfrm>
              <a:off x="6559775" y="2668738"/>
              <a:ext cx="16304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.1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6801828" y="239467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6" name="object 16"/>
            <p:cNvSpPr txBox="1"/>
            <p:nvPr/>
          </p:nvSpPr>
          <p:spPr>
            <a:xfrm>
              <a:off x="6559775" y="2314245"/>
              <a:ext cx="16304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.2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6801828" y="204018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" name="object 18"/>
            <p:cNvSpPr txBox="1"/>
            <p:nvPr/>
          </p:nvSpPr>
          <p:spPr>
            <a:xfrm>
              <a:off x="6559775" y="1959750"/>
              <a:ext cx="16304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.3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6801828" y="168568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" name="object 20"/>
            <p:cNvSpPr txBox="1"/>
            <p:nvPr/>
          </p:nvSpPr>
          <p:spPr>
            <a:xfrm>
              <a:off x="6559775" y="1605256"/>
              <a:ext cx="16304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.4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6801828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" name="object 22"/>
            <p:cNvSpPr/>
            <p:nvPr/>
          </p:nvSpPr>
          <p:spPr>
            <a:xfrm>
              <a:off x="6856063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" name="object 23"/>
            <p:cNvSpPr/>
            <p:nvPr/>
          </p:nvSpPr>
          <p:spPr>
            <a:xfrm>
              <a:off x="6910297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" name="object 24"/>
            <p:cNvSpPr/>
            <p:nvPr/>
          </p:nvSpPr>
          <p:spPr>
            <a:xfrm>
              <a:off x="6964530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" name="object 25"/>
            <p:cNvSpPr/>
            <p:nvPr/>
          </p:nvSpPr>
          <p:spPr>
            <a:xfrm>
              <a:off x="7018764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" name="object 26"/>
            <p:cNvSpPr/>
            <p:nvPr/>
          </p:nvSpPr>
          <p:spPr>
            <a:xfrm>
              <a:off x="7072998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7" name="object 27"/>
            <p:cNvSpPr/>
            <p:nvPr/>
          </p:nvSpPr>
          <p:spPr>
            <a:xfrm>
              <a:off x="7127233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" name="object 28"/>
            <p:cNvSpPr/>
            <p:nvPr/>
          </p:nvSpPr>
          <p:spPr>
            <a:xfrm>
              <a:off x="7181468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" name="object 29"/>
            <p:cNvSpPr/>
            <p:nvPr/>
          </p:nvSpPr>
          <p:spPr>
            <a:xfrm>
              <a:off x="7235701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" name="object 30"/>
            <p:cNvSpPr/>
            <p:nvPr/>
          </p:nvSpPr>
          <p:spPr>
            <a:xfrm>
              <a:off x="7289935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" name="object 31"/>
            <p:cNvSpPr/>
            <p:nvPr/>
          </p:nvSpPr>
          <p:spPr>
            <a:xfrm>
              <a:off x="7344169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" name="object 32"/>
            <p:cNvSpPr/>
            <p:nvPr/>
          </p:nvSpPr>
          <p:spPr>
            <a:xfrm>
              <a:off x="7398404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" name="object 33"/>
            <p:cNvSpPr/>
            <p:nvPr/>
          </p:nvSpPr>
          <p:spPr>
            <a:xfrm>
              <a:off x="7452638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" name="object 34"/>
            <p:cNvSpPr/>
            <p:nvPr/>
          </p:nvSpPr>
          <p:spPr>
            <a:xfrm>
              <a:off x="7506871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" name="object 35"/>
            <p:cNvSpPr/>
            <p:nvPr/>
          </p:nvSpPr>
          <p:spPr>
            <a:xfrm>
              <a:off x="7561105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" name="object 36"/>
            <p:cNvSpPr/>
            <p:nvPr/>
          </p:nvSpPr>
          <p:spPr>
            <a:xfrm>
              <a:off x="7615340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" name="object 37"/>
            <p:cNvSpPr/>
            <p:nvPr/>
          </p:nvSpPr>
          <p:spPr>
            <a:xfrm>
              <a:off x="7669574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" name="object 38"/>
            <p:cNvSpPr/>
            <p:nvPr/>
          </p:nvSpPr>
          <p:spPr>
            <a:xfrm>
              <a:off x="7723808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" name="object 39"/>
            <p:cNvSpPr/>
            <p:nvPr/>
          </p:nvSpPr>
          <p:spPr>
            <a:xfrm>
              <a:off x="7778041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" name="object 40"/>
            <p:cNvSpPr/>
            <p:nvPr/>
          </p:nvSpPr>
          <p:spPr>
            <a:xfrm>
              <a:off x="7832276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" name="object 41"/>
            <p:cNvSpPr/>
            <p:nvPr/>
          </p:nvSpPr>
          <p:spPr>
            <a:xfrm>
              <a:off x="7886510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" name="object 42"/>
            <p:cNvSpPr/>
            <p:nvPr/>
          </p:nvSpPr>
          <p:spPr>
            <a:xfrm>
              <a:off x="7940744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" name="object 43"/>
            <p:cNvSpPr/>
            <p:nvPr/>
          </p:nvSpPr>
          <p:spPr>
            <a:xfrm>
              <a:off x="7994978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4" name="object 44"/>
            <p:cNvSpPr txBox="1"/>
            <p:nvPr/>
          </p:nvSpPr>
          <p:spPr>
            <a:xfrm>
              <a:off x="6358444" y="907471"/>
              <a:ext cx="1917227" cy="482458"/>
            </a:xfrm>
            <a:prstGeom prst="rect">
              <a:avLst/>
            </a:prstGeom>
          </p:spPr>
          <p:txBody>
            <a:bodyPr vert="horz" wrap="square" lIns="0" tIns="97490" rIns="0" bIns="0" rtlCol="0">
              <a:spAutoFit/>
            </a:bodyPr>
            <a:lstStyle/>
            <a:p>
              <a:pPr marL="11206">
                <a:spcBef>
                  <a:spcPts val="767"/>
                </a:spcBef>
              </a:pPr>
              <a:r>
                <a:rPr sz="1324" b="1" spc="40" dirty="0">
                  <a:solidFill>
                    <a:srgbClr val="252423"/>
                  </a:solidFill>
                  <a:latin typeface="Arial Narrow"/>
                  <a:cs typeface="Arial Narrow"/>
                </a:rPr>
                <a:t>Average Rating </a:t>
              </a:r>
              <a:r>
                <a:rPr sz="1324" b="1" spc="71" dirty="0">
                  <a:solidFill>
                    <a:srgbClr val="252423"/>
                  </a:solidFill>
                  <a:latin typeface="Arial Narrow"/>
                  <a:cs typeface="Arial Narrow"/>
                </a:rPr>
                <a:t>per</a:t>
              </a:r>
              <a:r>
                <a:rPr sz="1324" b="1" spc="-93" dirty="0">
                  <a:solidFill>
                    <a:srgbClr val="252423"/>
                  </a:solidFill>
                  <a:latin typeface="Arial Narrow"/>
                  <a:cs typeface="Arial Narrow"/>
                </a:rPr>
                <a:t> </a:t>
              </a:r>
              <a:r>
                <a:rPr sz="1324" b="1" spc="13" dirty="0">
                  <a:solidFill>
                    <a:srgbClr val="252423"/>
                  </a:solidFill>
                  <a:latin typeface="Arial Narrow"/>
                  <a:cs typeface="Arial Narrow"/>
                </a:rPr>
                <a:t>Year</a:t>
              </a:r>
              <a:endParaRPr sz="1324" b="1" dirty="0">
                <a:latin typeface="Arial Narrow"/>
                <a:cs typeface="Arial Narrow"/>
              </a:endParaRPr>
            </a:p>
            <a:p>
              <a:pPr marL="212363">
                <a:spcBef>
                  <a:spcPts val="449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.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5" name="object 45"/>
            <p:cNvSpPr/>
            <p:nvPr/>
          </p:nvSpPr>
          <p:spPr>
            <a:xfrm>
              <a:off x="8049212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6" name="object 46"/>
            <p:cNvSpPr/>
            <p:nvPr/>
          </p:nvSpPr>
          <p:spPr>
            <a:xfrm>
              <a:off x="8103446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7" name="object 47"/>
            <p:cNvSpPr/>
            <p:nvPr/>
          </p:nvSpPr>
          <p:spPr>
            <a:xfrm>
              <a:off x="8157680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8" name="object 48"/>
            <p:cNvSpPr/>
            <p:nvPr/>
          </p:nvSpPr>
          <p:spPr>
            <a:xfrm>
              <a:off x="8211914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9" name="object 49"/>
            <p:cNvSpPr/>
            <p:nvPr/>
          </p:nvSpPr>
          <p:spPr>
            <a:xfrm>
              <a:off x="8266148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0" name="object 50"/>
            <p:cNvSpPr/>
            <p:nvPr/>
          </p:nvSpPr>
          <p:spPr>
            <a:xfrm>
              <a:off x="8320382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1" name="object 51"/>
            <p:cNvSpPr/>
            <p:nvPr/>
          </p:nvSpPr>
          <p:spPr>
            <a:xfrm>
              <a:off x="8374616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2" name="object 52"/>
            <p:cNvSpPr/>
            <p:nvPr/>
          </p:nvSpPr>
          <p:spPr>
            <a:xfrm>
              <a:off x="8428850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3" name="object 53"/>
            <p:cNvSpPr/>
            <p:nvPr/>
          </p:nvSpPr>
          <p:spPr>
            <a:xfrm>
              <a:off x="8483084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4" name="object 54"/>
            <p:cNvSpPr/>
            <p:nvPr/>
          </p:nvSpPr>
          <p:spPr>
            <a:xfrm>
              <a:off x="8537318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5" name="object 55"/>
            <p:cNvSpPr/>
            <p:nvPr/>
          </p:nvSpPr>
          <p:spPr>
            <a:xfrm>
              <a:off x="8591552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6" name="object 56"/>
            <p:cNvSpPr/>
            <p:nvPr/>
          </p:nvSpPr>
          <p:spPr>
            <a:xfrm>
              <a:off x="8645786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7" name="object 57"/>
            <p:cNvSpPr/>
            <p:nvPr/>
          </p:nvSpPr>
          <p:spPr>
            <a:xfrm>
              <a:off x="8700020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8" name="object 58"/>
            <p:cNvSpPr/>
            <p:nvPr/>
          </p:nvSpPr>
          <p:spPr>
            <a:xfrm>
              <a:off x="8754255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9" name="object 59"/>
            <p:cNvSpPr/>
            <p:nvPr/>
          </p:nvSpPr>
          <p:spPr>
            <a:xfrm>
              <a:off x="8808488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0" name="object 60"/>
            <p:cNvSpPr/>
            <p:nvPr/>
          </p:nvSpPr>
          <p:spPr>
            <a:xfrm>
              <a:off x="8862722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1" name="object 61"/>
            <p:cNvSpPr/>
            <p:nvPr/>
          </p:nvSpPr>
          <p:spPr>
            <a:xfrm>
              <a:off x="8916956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2" name="object 62"/>
            <p:cNvSpPr/>
            <p:nvPr/>
          </p:nvSpPr>
          <p:spPr>
            <a:xfrm>
              <a:off x="8971191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3" name="object 63"/>
            <p:cNvSpPr/>
            <p:nvPr/>
          </p:nvSpPr>
          <p:spPr>
            <a:xfrm>
              <a:off x="9025425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4" name="object 64"/>
            <p:cNvSpPr/>
            <p:nvPr/>
          </p:nvSpPr>
          <p:spPr>
            <a:xfrm>
              <a:off x="9079658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5" name="object 65"/>
            <p:cNvSpPr/>
            <p:nvPr/>
          </p:nvSpPr>
          <p:spPr>
            <a:xfrm>
              <a:off x="9133892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6" name="object 66"/>
            <p:cNvSpPr/>
            <p:nvPr/>
          </p:nvSpPr>
          <p:spPr>
            <a:xfrm>
              <a:off x="9188127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7" name="object 67"/>
            <p:cNvSpPr/>
            <p:nvPr/>
          </p:nvSpPr>
          <p:spPr>
            <a:xfrm>
              <a:off x="9242361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8" name="object 68"/>
            <p:cNvSpPr/>
            <p:nvPr/>
          </p:nvSpPr>
          <p:spPr>
            <a:xfrm>
              <a:off x="9296595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9" name="object 69"/>
            <p:cNvSpPr/>
            <p:nvPr/>
          </p:nvSpPr>
          <p:spPr>
            <a:xfrm>
              <a:off x="9350828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0" name="object 70"/>
            <p:cNvSpPr/>
            <p:nvPr/>
          </p:nvSpPr>
          <p:spPr>
            <a:xfrm>
              <a:off x="9405063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1" name="object 71"/>
            <p:cNvSpPr/>
            <p:nvPr/>
          </p:nvSpPr>
          <p:spPr>
            <a:xfrm>
              <a:off x="9459297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2" name="object 72"/>
            <p:cNvSpPr/>
            <p:nvPr/>
          </p:nvSpPr>
          <p:spPr>
            <a:xfrm>
              <a:off x="9513531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3" name="object 73"/>
            <p:cNvSpPr/>
            <p:nvPr/>
          </p:nvSpPr>
          <p:spPr>
            <a:xfrm>
              <a:off x="9567765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4" name="object 74"/>
            <p:cNvSpPr/>
            <p:nvPr/>
          </p:nvSpPr>
          <p:spPr>
            <a:xfrm>
              <a:off x="9621999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5" name="object 75"/>
            <p:cNvSpPr/>
            <p:nvPr/>
          </p:nvSpPr>
          <p:spPr>
            <a:xfrm>
              <a:off x="9676233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6" name="object 76"/>
            <p:cNvSpPr/>
            <p:nvPr/>
          </p:nvSpPr>
          <p:spPr>
            <a:xfrm>
              <a:off x="9730467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7" name="object 77"/>
            <p:cNvSpPr/>
            <p:nvPr/>
          </p:nvSpPr>
          <p:spPr>
            <a:xfrm>
              <a:off x="9784701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8" name="object 78"/>
            <p:cNvSpPr/>
            <p:nvPr/>
          </p:nvSpPr>
          <p:spPr>
            <a:xfrm>
              <a:off x="9838935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9" name="object 79"/>
            <p:cNvSpPr/>
            <p:nvPr/>
          </p:nvSpPr>
          <p:spPr>
            <a:xfrm>
              <a:off x="9893169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0" name="object 80"/>
            <p:cNvSpPr/>
            <p:nvPr/>
          </p:nvSpPr>
          <p:spPr>
            <a:xfrm>
              <a:off x="9947403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1" name="object 81"/>
            <p:cNvSpPr/>
            <p:nvPr/>
          </p:nvSpPr>
          <p:spPr>
            <a:xfrm>
              <a:off x="10001637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2" name="object 82"/>
            <p:cNvSpPr/>
            <p:nvPr/>
          </p:nvSpPr>
          <p:spPr>
            <a:xfrm>
              <a:off x="10055871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3" name="object 83"/>
            <p:cNvSpPr/>
            <p:nvPr/>
          </p:nvSpPr>
          <p:spPr>
            <a:xfrm>
              <a:off x="10110105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4" name="object 84"/>
            <p:cNvSpPr/>
            <p:nvPr/>
          </p:nvSpPr>
          <p:spPr>
            <a:xfrm>
              <a:off x="10164340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5" name="object 85"/>
            <p:cNvSpPr/>
            <p:nvPr/>
          </p:nvSpPr>
          <p:spPr>
            <a:xfrm>
              <a:off x="10218574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6" name="object 86"/>
            <p:cNvSpPr/>
            <p:nvPr/>
          </p:nvSpPr>
          <p:spPr>
            <a:xfrm>
              <a:off x="10272808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7" name="object 87"/>
            <p:cNvSpPr/>
            <p:nvPr/>
          </p:nvSpPr>
          <p:spPr>
            <a:xfrm>
              <a:off x="10327042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8" name="object 88"/>
            <p:cNvSpPr/>
            <p:nvPr/>
          </p:nvSpPr>
          <p:spPr>
            <a:xfrm>
              <a:off x="10381276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9" name="object 89"/>
            <p:cNvSpPr/>
            <p:nvPr/>
          </p:nvSpPr>
          <p:spPr>
            <a:xfrm>
              <a:off x="10435510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0" name="object 90"/>
            <p:cNvSpPr/>
            <p:nvPr/>
          </p:nvSpPr>
          <p:spPr>
            <a:xfrm>
              <a:off x="10489744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1" name="object 91"/>
            <p:cNvSpPr/>
            <p:nvPr/>
          </p:nvSpPr>
          <p:spPr>
            <a:xfrm>
              <a:off x="10543978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2" name="object 92"/>
            <p:cNvSpPr/>
            <p:nvPr/>
          </p:nvSpPr>
          <p:spPr>
            <a:xfrm>
              <a:off x="10598213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3" name="object 93"/>
            <p:cNvSpPr/>
            <p:nvPr/>
          </p:nvSpPr>
          <p:spPr>
            <a:xfrm>
              <a:off x="10652446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4" name="object 94"/>
            <p:cNvSpPr/>
            <p:nvPr/>
          </p:nvSpPr>
          <p:spPr>
            <a:xfrm>
              <a:off x="10706680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5" name="object 95"/>
            <p:cNvSpPr/>
            <p:nvPr/>
          </p:nvSpPr>
          <p:spPr>
            <a:xfrm>
              <a:off x="10760914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6" name="object 96"/>
            <p:cNvSpPr/>
            <p:nvPr/>
          </p:nvSpPr>
          <p:spPr>
            <a:xfrm>
              <a:off x="10815149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7" name="object 97"/>
            <p:cNvSpPr/>
            <p:nvPr/>
          </p:nvSpPr>
          <p:spPr>
            <a:xfrm>
              <a:off x="10869383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8" name="object 98"/>
            <p:cNvSpPr/>
            <p:nvPr/>
          </p:nvSpPr>
          <p:spPr>
            <a:xfrm>
              <a:off x="10923616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9" name="object 99"/>
            <p:cNvSpPr/>
            <p:nvPr/>
          </p:nvSpPr>
          <p:spPr>
            <a:xfrm>
              <a:off x="10977850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00" name="object 100"/>
            <p:cNvSpPr/>
            <p:nvPr/>
          </p:nvSpPr>
          <p:spPr>
            <a:xfrm>
              <a:off x="11032085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01" name="object 101"/>
            <p:cNvSpPr/>
            <p:nvPr/>
          </p:nvSpPr>
          <p:spPr>
            <a:xfrm>
              <a:off x="11086319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02" name="object 102"/>
            <p:cNvSpPr/>
            <p:nvPr/>
          </p:nvSpPr>
          <p:spPr>
            <a:xfrm>
              <a:off x="11140553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03" name="object 103"/>
            <p:cNvSpPr/>
            <p:nvPr/>
          </p:nvSpPr>
          <p:spPr>
            <a:xfrm>
              <a:off x="11194786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04" name="object 104"/>
            <p:cNvSpPr/>
            <p:nvPr/>
          </p:nvSpPr>
          <p:spPr>
            <a:xfrm>
              <a:off x="11249021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05" name="object 105"/>
            <p:cNvSpPr/>
            <p:nvPr/>
          </p:nvSpPr>
          <p:spPr>
            <a:xfrm>
              <a:off x="11303255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06" name="object 106"/>
            <p:cNvSpPr/>
            <p:nvPr/>
          </p:nvSpPr>
          <p:spPr>
            <a:xfrm>
              <a:off x="11357489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07" name="object 107"/>
            <p:cNvSpPr/>
            <p:nvPr/>
          </p:nvSpPr>
          <p:spPr>
            <a:xfrm>
              <a:off x="11411723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08" name="object 108"/>
            <p:cNvSpPr/>
            <p:nvPr/>
          </p:nvSpPr>
          <p:spPr>
            <a:xfrm>
              <a:off x="11465957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09" name="object 109"/>
            <p:cNvSpPr/>
            <p:nvPr/>
          </p:nvSpPr>
          <p:spPr>
            <a:xfrm>
              <a:off x="11520191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10" name="object 110"/>
            <p:cNvSpPr/>
            <p:nvPr/>
          </p:nvSpPr>
          <p:spPr>
            <a:xfrm>
              <a:off x="11574425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11" name="object 111"/>
            <p:cNvSpPr/>
            <p:nvPr/>
          </p:nvSpPr>
          <p:spPr>
            <a:xfrm>
              <a:off x="11628659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12" name="object 112"/>
            <p:cNvSpPr/>
            <p:nvPr/>
          </p:nvSpPr>
          <p:spPr>
            <a:xfrm>
              <a:off x="11682893" y="1331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4" y="10241"/>
                  </a:moveTo>
                  <a:lnTo>
                    <a:pt x="0" y="10241"/>
                  </a:lnTo>
                  <a:lnTo>
                    <a:pt x="0" y="0"/>
                  </a:lnTo>
                  <a:lnTo>
                    <a:pt x="10244" y="0"/>
                  </a:lnTo>
                  <a:lnTo>
                    <a:pt x="10244" y="10241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13" name="object 113"/>
            <p:cNvSpPr txBox="1"/>
            <p:nvPr/>
          </p:nvSpPr>
          <p:spPr>
            <a:xfrm>
              <a:off x="9125290" y="3283222"/>
              <a:ext cx="279026" cy="186707"/>
            </a:xfrm>
            <a:prstGeom prst="rect">
              <a:avLst/>
            </a:prstGeom>
          </p:spPr>
          <p:txBody>
            <a:bodyPr vert="horz" wrap="square" lIns="0" tIns="10085" rIns="0" bIns="0" rtlCol="0">
              <a:spAutoFit/>
            </a:bodyPr>
            <a:lstStyle/>
            <a:p>
              <a:pPr marL="11206">
                <a:spcBef>
                  <a:spcPts val="79"/>
                </a:spcBef>
              </a:pPr>
              <a:r>
                <a:rPr sz="1147" spc="-128" dirty="0">
                  <a:solidFill>
                    <a:srgbClr val="252423"/>
                  </a:solidFill>
                  <a:latin typeface="Arial Narrow"/>
                  <a:cs typeface="Arial Narrow"/>
                </a:rPr>
                <a:t>Y</a:t>
              </a:r>
              <a:r>
                <a:rPr sz="1147" spc="49" dirty="0">
                  <a:solidFill>
                    <a:srgbClr val="252423"/>
                  </a:solidFill>
                  <a:latin typeface="Arial Narrow"/>
                  <a:cs typeface="Arial Narrow"/>
                </a:rPr>
                <a:t>ear</a:t>
              </a:r>
              <a:endParaRPr sz="1147" dirty="0">
                <a:latin typeface="Arial Narrow"/>
                <a:cs typeface="Arial Narrow"/>
              </a:endParaRPr>
            </a:p>
          </p:txBody>
        </p:sp>
        <p:sp>
          <p:nvSpPr>
            <p:cNvPr id="114" name="object 114"/>
            <p:cNvSpPr txBox="1"/>
            <p:nvPr/>
          </p:nvSpPr>
          <p:spPr>
            <a:xfrm>
              <a:off x="6363257" y="2025656"/>
              <a:ext cx="153888" cy="392765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1204"/>
                </a:lnSpc>
              </a:pPr>
              <a:r>
                <a:rPr sz="1147" dirty="0">
                  <a:solidFill>
                    <a:srgbClr val="252423"/>
                  </a:solidFill>
                  <a:latin typeface="Arial Narrow"/>
                  <a:cs typeface="Arial Narrow"/>
                </a:rPr>
                <a:t>Rating</a:t>
              </a:r>
              <a:endParaRPr sz="1147" dirty="0">
                <a:latin typeface="Arial Narrow"/>
                <a:cs typeface="Arial Narrow"/>
              </a:endParaRPr>
            </a:p>
          </p:txBody>
        </p:sp>
        <p:sp>
          <p:nvSpPr>
            <p:cNvPr id="115" name="object 115"/>
            <p:cNvSpPr txBox="1"/>
            <p:nvPr/>
          </p:nvSpPr>
          <p:spPr>
            <a:xfrm>
              <a:off x="7626753" y="3133123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16" name="object 116"/>
            <p:cNvSpPr txBox="1"/>
            <p:nvPr/>
          </p:nvSpPr>
          <p:spPr>
            <a:xfrm>
              <a:off x="8705105" y="3133123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17" name="object 117"/>
            <p:cNvSpPr txBox="1"/>
            <p:nvPr/>
          </p:nvSpPr>
          <p:spPr>
            <a:xfrm>
              <a:off x="9783459" y="3133123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18" name="object 118"/>
            <p:cNvSpPr txBox="1"/>
            <p:nvPr/>
          </p:nvSpPr>
          <p:spPr>
            <a:xfrm>
              <a:off x="10861812" y="3133123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19" name="object 119"/>
            <p:cNvSpPr txBox="1"/>
            <p:nvPr/>
          </p:nvSpPr>
          <p:spPr>
            <a:xfrm>
              <a:off x="6817739" y="2916233"/>
              <a:ext cx="22187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.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20" name="object 120"/>
            <p:cNvSpPr txBox="1"/>
            <p:nvPr/>
          </p:nvSpPr>
          <p:spPr>
            <a:xfrm>
              <a:off x="11490111" y="1570294"/>
              <a:ext cx="22187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.38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21" name="object 121"/>
            <p:cNvSpPr txBox="1"/>
            <p:nvPr/>
          </p:nvSpPr>
          <p:spPr>
            <a:xfrm>
              <a:off x="10879290" y="1480334"/>
              <a:ext cx="22187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.41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22" name="object 122"/>
            <p:cNvSpPr txBox="1"/>
            <p:nvPr/>
          </p:nvSpPr>
          <p:spPr>
            <a:xfrm>
              <a:off x="6997219" y="1561591"/>
              <a:ext cx="22187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.38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23" name="object 123"/>
            <p:cNvSpPr txBox="1"/>
            <p:nvPr/>
          </p:nvSpPr>
          <p:spPr>
            <a:xfrm>
              <a:off x="9369596" y="2729138"/>
              <a:ext cx="22187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.0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24" name="object 124"/>
            <p:cNvSpPr txBox="1"/>
            <p:nvPr/>
          </p:nvSpPr>
          <p:spPr>
            <a:xfrm>
              <a:off x="8722584" y="2774809"/>
              <a:ext cx="22187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.04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25" name="object 125"/>
            <p:cNvSpPr txBox="1"/>
            <p:nvPr/>
          </p:nvSpPr>
          <p:spPr>
            <a:xfrm>
              <a:off x="7644231" y="2106171"/>
              <a:ext cx="22187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.23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26" name="object 126"/>
            <p:cNvSpPr txBox="1"/>
            <p:nvPr/>
          </p:nvSpPr>
          <p:spPr>
            <a:xfrm>
              <a:off x="9153925" y="2518885"/>
              <a:ext cx="22187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.11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27" name="object 127"/>
            <p:cNvSpPr txBox="1"/>
            <p:nvPr/>
          </p:nvSpPr>
          <p:spPr>
            <a:xfrm>
              <a:off x="10232278" y="2273038"/>
              <a:ext cx="22187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.18</a:t>
              </a:r>
              <a:endParaRPr sz="838" dirty="0">
                <a:latin typeface="Segoe UI"/>
                <a:cs typeface="Segoe UI"/>
              </a:endParaRPr>
            </a:p>
          </p:txBody>
        </p:sp>
      </p:grpSp>
      <p:grpSp>
        <p:nvGrpSpPr>
          <p:cNvPr id="663" name="Group 662">
            <a:extLst>
              <a:ext uri="{FF2B5EF4-FFF2-40B4-BE49-F238E27FC236}">
                <a16:creationId xmlns:a16="http://schemas.microsoft.com/office/drawing/2014/main" id="{7D9AAA36-8CA4-47BE-8097-C8F44FBFDBE9}"/>
              </a:ext>
            </a:extLst>
          </p:cNvPr>
          <p:cNvGrpSpPr/>
          <p:nvPr/>
        </p:nvGrpSpPr>
        <p:grpSpPr>
          <a:xfrm>
            <a:off x="344563" y="1063569"/>
            <a:ext cx="5627311" cy="2436859"/>
            <a:chOff x="344563" y="1063569"/>
            <a:chExt cx="5627311" cy="2436859"/>
          </a:xfrm>
        </p:grpSpPr>
        <p:sp>
          <p:nvSpPr>
            <p:cNvPr id="128" name="object 128"/>
            <p:cNvSpPr txBox="1"/>
            <p:nvPr/>
          </p:nvSpPr>
          <p:spPr>
            <a:xfrm>
              <a:off x="347731" y="1063569"/>
              <a:ext cx="2279343" cy="215655"/>
            </a:xfrm>
            <a:prstGeom prst="rect">
              <a:avLst/>
            </a:prstGeom>
          </p:spPr>
          <p:txBody>
            <a:bodyPr vert="horz" wrap="square" lIns="0" tIns="11766" rIns="0" bIns="0" rtlCol="0">
              <a:spAutoFit/>
            </a:bodyPr>
            <a:lstStyle/>
            <a:p>
              <a:pPr marL="11206">
                <a:spcBef>
                  <a:spcPts val="93"/>
                </a:spcBef>
              </a:pPr>
              <a:r>
                <a:rPr sz="1324" b="1" spc="40" dirty="0">
                  <a:solidFill>
                    <a:srgbClr val="252423"/>
                  </a:solidFill>
                  <a:latin typeface="Arial Narrow"/>
                  <a:cs typeface="Arial Narrow"/>
                </a:rPr>
                <a:t>Average </a:t>
              </a:r>
              <a:r>
                <a:rPr sz="1324" b="1" spc="57" dirty="0">
                  <a:solidFill>
                    <a:srgbClr val="252423"/>
                  </a:solidFill>
                  <a:latin typeface="Arial Narrow"/>
                  <a:cs typeface="Arial Narrow"/>
                </a:rPr>
                <a:t>Usefulness </a:t>
              </a:r>
              <a:r>
                <a:rPr sz="1324" b="1" spc="71" dirty="0">
                  <a:solidFill>
                    <a:srgbClr val="252423"/>
                  </a:solidFill>
                  <a:latin typeface="Arial Narrow"/>
                  <a:cs typeface="Arial Narrow"/>
                </a:rPr>
                <a:t>per</a:t>
              </a:r>
              <a:r>
                <a:rPr sz="1324" b="1" spc="-124" dirty="0">
                  <a:solidFill>
                    <a:srgbClr val="252423"/>
                  </a:solidFill>
                  <a:latin typeface="Arial Narrow"/>
                  <a:cs typeface="Arial Narrow"/>
                </a:rPr>
                <a:t> </a:t>
              </a:r>
              <a:r>
                <a:rPr sz="1324" b="1" spc="13" dirty="0">
                  <a:solidFill>
                    <a:srgbClr val="252423"/>
                  </a:solidFill>
                  <a:latin typeface="Arial Narrow"/>
                  <a:cs typeface="Arial Narrow"/>
                </a:rPr>
                <a:t>Year</a:t>
              </a:r>
              <a:endParaRPr sz="1324" b="1" dirty="0">
                <a:latin typeface="Arial Narrow"/>
                <a:cs typeface="Arial Narrow"/>
              </a:endParaRPr>
            </a:p>
          </p:txBody>
        </p:sp>
        <p:sp>
          <p:nvSpPr>
            <p:cNvPr id="129" name="object 129"/>
            <p:cNvSpPr/>
            <p:nvPr/>
          </p:nvSpPr>
          <p:spPr>
            <a:xfrm>
              <a:off x="754803" y="314672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0" y="10244"/>
                  </a:moveTo>
                  <a:lnTo>
                    <a:pt x="0" y="10244"/>
                  </a:lnTo>
                  <a:lnTo>
                    <a:pt x="0" y="0"/>
                  </a:lnTo>
                  <a:lnTo>
                    <a:pt x="10240" y="0"/>
                  </a:lnTo>
                  <a:lnTo>
                    <a:pt x="10240" y="10244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130" name="object 130"/>
            <p:cNvGrpSpPr/>
            <p:nvPr/>
          </p:nvGrpSpPr>
          <p:grpSpPr>
            <a:xfrm>
              <a:off x="809014" y="1392471"/>
              <a:ext cx="5105400" cy="1763806"/>
              <a:chOff x="561283" y="1578134"/>
              <a:chExt cx="5786120" cy="1998980"/>
            </a:xfrm>
          </p:grpSpPr>
          <p:sp>
            <p:nvSpPr>
              <p:cNvPr id="131" name="object 131"/>
              <p:cNvSpPr/>
              <p:nvPr/>
            </p:nvSpPr>
            <p:spPr>
              <a:xfrm>
                <a:off x="561276" y="3566299"/>
                <a:ext cx="431165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4311650" h="10795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36" y="10236"/>
                    </a:lnTo>
                    <a:lnTo>
                      <a:pt x="10236" y="0"/>
                    </a:lnTo>
                    <a:close/>
                  </a:path>
                  <a:path w="4311650" h="10795">
                    <a:moveTo>
                      <a:pt x="71678" y="0"/>
                    </a:moveTo>
                    <a:lnTo>
                      <a:pt x="61442" y="0"/>
                    </a:lnTo>
                    <a:lnTo>
                      <a:pt x="61442" y="10236"/>
                    </a:lnTo>
                    <a:lnTo>
                      <a:pt x="71678" y="10236"/>
                    </a:lnTo>
                    <a:lnTo>
                      <a:pt x="71678" y="0"/>
                    </a:lnTo>
                    <a:close/>
                  </a:path>
                  <a:path w="4311650" h="10795">
                    <a:moveTo>
                      <a:pt x="133121" y="0"/>
                    </a:moveTo>
                    <a:lnTo>
                      <a:pt x="122885" y="0"/>
                    </a:lnTo>
                    <a:lnTo>
                      <a:pt x="122885" y="10236"/>
                    </a:lnTo>
                    <a:lnTo>
                      <a:pt x="133121" y="10236"/>
                    </a:lnTo>
                    <a:lnTo>
                      <a:pt x="133121" y="0"/>
                    </a:lnTo>
                    <a:close/>
                  </a:path>
                  <a:path w="4311650" h="10795">
                    <a:moveTo>
                      <a:pt x="194564" y="0"/>
                    </a:moveTo>
                    <a:lnTo>
                      <a:pt x="184327" y="0"/>
                    </a:lnTo>
                    <a:lnTo>
                      <a:pt x="184327" y="10236"/>
                    </a:lnTo>
                    <a:lnTo>
                      <a:pt x="194564" y="10236"/>
                    </a:lnTo>
                    <a:lnTo>
                      <a:pt x="194564" y="0"/>
                    </a:lnTo>
                    <a:close/>
                  </a:path>
                  <a:path w="4311650" h="10795">
                    <a:moveTo>
                      <a:pt x="256006" y="0"/>
                    </a:moveTo>
                    <a:lnTo>
                      <a:pt x="245770" y="0"/>
                    </a:lnTo>
                    <a:lnTo>
                      <a:pt x="245770" y="10236"/>
                    </a:lnTo>
                    <a:lnTo>
                      <a:pt x="256006" y="10236"/>
                    </a:lnTo>
                    <a:lnTo>
                      <a:pt x="256006" y="0"/>
                    </a:lnTo>
                    <a:close/>
                  </a:path>
                  <a:path w="4311650" h="10795">
                    <a:moveTo>
                      <a:pt x="317449" y="0"/>
                    </a:moveTo>
                    <a:lnTo>
                      <a:pt x="307200" y="0"/>
                    </a:lnTo>
                    <a:lnTo>
                      <a:pt x="307200" y="10236"/>
                    </a:lnTo>
                    <a:lnTo>
                      <a:pt x="317449" y="10236"/>
                    </a:lnTo>
                    <a:lnTo>
                      <a:pt x="317449" y="0"/>
                    </a:lnTo>
                    <a:close/>
                  </a:path>
                  <a:path w="4311650" h="10795">
                    <a:moveTo>
                      <a:pt x="378891" y="0"/>
                    </a:moveTo>
                    <a:lnTo>
                      <a:pt x="368642" y="0"/>
                    </a:lnTo>
                    <a:lnTo>
                      <a:pt x="368642" y="10236"/>
                    </a:lnTo>
                    <a:lnTo>
                      <a:pt x="378891" y="10236"/>
                    </a:lnTo>
                    <a:lnTo>
                      <a:pt x="378891" y="0"/>
                    </a:lnTo>
                    <a:close/>
                  </a:path>
                  <a:path w="4311650" h="10795">
                    <a:moveTo>
                      <a:pt x="440321" y="0"/>
                    </a:moveTo>
                    <a:lnTo>
                      <a:pt x="430085" y="0"/>
                    </a:lnTo>
                    <a:lnTo>
                      <a:pt x="430085" y="10236"/>
                    </a:lnTo>
                    <a:lnTo>
                      <a:pt x="440321" y="10236"/>
                    </a:lnTo>
                    <a:lnTo>
                      <a:pt x="440321" y="0"/>
                    </a:lnTo>
                    <a:close/>
                  </a:path>
                  <a:path w="4311650" h="10795">
                    <a:moveTo>
                      <a:pt x="501764" y="0"/>
                    </a:moveTo>
                    <a:lnTo>
                      <a:pt x="491528" y="0"/>
                    </a:lnTo>
                    <a:lnTo>
                      <a:pt x="491528" y="10236"/>
                    </a:lnTo>
                    <a:lnTo>
                      <a:pt x="501764" y="10236"/>
                    </a:lnTo>
                    <a:lnTo>
                      <a:pt x="501764" y="0"/>
                    </a:lnTo>
                    <a:close/>
                  </a:path>
                  <a:path w="4311650" h="10795">
                    <a:moveTo>
                      <a:pt x="563206" y="0"/>
                    </a:moveTo>
                    <a:lnTo>
                      <a:pt x="552970" y="0"/>
                    </a:lnTo>
                    <a:lnTo>
                      <a:pt x="552970" y="10236"/>
                    </a:lnTo>
                    <a:lnTo>
                      <a:pt x="563206" y="10236"/>
                    </a:lnTo>
                    <a:lnTo>
                      <a:pt x="563206" y="0"/>
                    </a:lnTo>
                    <a:close/>
                  </a:path>
                  <a:path w="4311650" h="10795">
                    <a:moveTo>
                      <a:pt x="624649" y="0"/>
                    </a:moveTo>
                    <a:lnTo>
                      <a:pt x="614413" y="0"/>
                    </a:lnTo>
                    <a:lnTo>
                      <a:pt x="614413" y="10236"/>
                    </a:lnTo>
                    <a:lnTo>
                      <a:pt x="624649" y="10236"/>
                    </a:lnTo>
                    <a:lnTo>
                      <a:pt x="624649" y="0"/>
                    </a:lnTo>
                    <a:close/>
                  </a:path>
                  <a:path w="4311650" h="10795">
                    <a:moveTo>
                      <a:pt x="686092" y="0"/>
                    </a:moveTo>
                    <a:lnTo>
                      <a:pt x="675855" y="0"/>
                    </a:lnTo>
                    <a:lnTo>
                      <a:pt x="675855" y="10236"/>
                    </a:lnTo>
                    <a:lnTo>
                      <a:pt x="686092" y="10236"/>
                    </a:lnTo>
                    <a:lnTo>
                      <a:pt x="686092" y="0"/>
                    </a:lnTo>
                    <a:close/>
                  </a:path>
                  <a:path w="4311650" h="10795">
                    <a:moveTo>
                      <a:pt x="747534" y="0"/>
                    </a:moveTo>
                    <a:lnTo>
                      <a:pt x="737285" y="0"/>
                    </a:lnTo>
                    <a:lnTo>
                      <a:pt x="737285" y="10236"/>
                    </a:lnTo>
                    <a:lnTo>
                      <a:pt x="747534" y="10236"/>
                    </a:lnTo>
                    <a:lnTo>
                      <a:pt x="747534" y="0"/>
                    </a:lnTo>
                    <a:close/>
                  </a:path>
                  <a:path w="4311650" h="10795">
                    <a:moveTo>
                      <a:pt x="808977" y="0"/>
                    </a:moveTo>
                    <a:lnTo>
                      <a:pt x="798728" y="0"/>
                    </a:lnTo>
                    <a:lnTo>
                      <a:pt x="798728" y="10236"/>
                    </a:lnTo>
                    <a:lnTo>
                      <a:pt x="808977" y="10236"/>
                    </a:lnTo>
                    <a:lnTo>
                      <a:pt x="808977" y="0"/>
                    </a:lnTo>
                    <a:close/>
                  </a:path>
                  <a:path w="4311650" h="10795">
                    <a:moveTo>
                      <a:pt x="870407" y="0"/>
                    </a:moveTo>
                    <a:lnTo>
                      <a:pt x="860171" y="0"/>
                    </a:lnTo>
                    <a:lnTo>
                      <a:pt x="860171" y="10236"/>
                    </a:lnTo>
                    <a:lnTo>
                      <a:pt x="870407" y="10236"/>
                    </a:lnTo>
                    <a:lnTo>
                      <a:pt x="870407" y="0"/>
                    </a:lnTo>
                    <a:close/>
                  </a:path>
                  <a:path w="4311650" h="10795">
                    <a:moveTo>
                      <a:pt x="931849" y="0"/>
                    </a:moveTo>
                    <a:lnTo>
                      <a:pt x="921613" y="0"/>
                    </a:lnTo>
                    <a:lnTo>
                      <a:pt x="921613" y="10236"/>
                    </a:lnTo>
                    <a:lnTo>
                      <a:pt x="931849" y="10236"/>
                    </a:lnTo>
                    <a:lnTo>
                      <a:pt x="931849" y="0"/>
                    </a:lnTo>
                    <a:close/>
                  </a:path>
                  <a:path w="4311650" h="10795">
                    <a:moveTo>
                      <a:pt x="993292" y="0"/>
                    </a:moveTo>
                    <a:lnTo>
                      <a:pt x="983056" y="0"/>
                    </a:lnTo>
                    <a:lnTo>
                      <a:pt x="983056" y="10236"/>
                    </a:lnTo>
                    <a:lnTo>
                      <a:pt x="993292" y="10236"/>
                    </a:lnTo>
                    <a:lnTo>
                      <a:pt x="993292" y="0"/>
                    </a:lnTo>
                    <a:close/>
                  </a:path>
                  <a:path w="4311650" h="10795">
                    <a:moveTo>
                      <a:pt x="1054735" y="0"/>
                    </a:moveTo>
                    <a:lnTo>
                      <a:pt x="1044498" y="0"/>
                    </a:lnTo>
                    <a:lnTo>
                      <a:pt x="1044498" y="10236"/>
                    </a:lnTo>
                    <a:lnTo>
                      <a:pt x="1054735" y="10236"/>
                    </a:lnTo>
                    <a:lnTo>
                      <a:pt x="1054735" y="0"/>
                    </a:lnTo>
                    <a:close/>
                  </a:path>
                  <a:path w="4311650" h="10795">
                    <a:moveTo>
                      <a:pt x="1116177" y="0"/>
                    </a:moveTo>
                    <a:lnTo>
                      <a:pt x="1105941" y="0"/>
                    </a:lnTo>
                    <a:lnTo>
                      <a:pt x="1105941" y="10236"/>
                    </a:lnTo>
                    <a:lnTo>
                      <a:pt x="1116177" y="10236"/>
                    </a:lnTo>
                    <a:lnTo>
                      <a:pt x="1116177" y="0"/>
                    </a:lnTo>
                    <a:close/>
                  </a:path>
                  <a:path w="4311650" h="10795">
                    <a:moveTo>
                      <a:pt x="1177620" y="0"/>
                    </a:moveTo>
                    <a:lnTo>
                      <a:pt x="1167371" y="0"/>
                    </a:lnTo>
                    <a:lnTo>
                      <a:pt x="1167371" y="10236"/>
                    </a:lnTo>
                    <a:lnTo>
                      <a:pt x="1177620" y="10236"/>
                    </a:lnTo>
                    <a:lnTo>
                      <a:pt x="1177620" y="0"/>
                    </a:lnTo>
                    <a:close/>
                  </a:path>
                  <a:path w="4311650" h="10795">
                    <a:moveTo>
                      <a:pt x="1239062" y="0"/>
                    </a:moveTo>
                    <a:lnTo>
                      <a:pt x="1228813" y="0"/>
                    </a:lnTo>
                    <a:lnTo>
                      <a:pt x="1228813" y="10236"/>
                    </a:lnTo>
                    <a:lnTo>
                      <a:pt x="1239062" y="10236"/>
                    </a:lnTo>
                    <a:lnTo>
                      <a:pt x="1239062" y="0"/>
                    </a:lnTo>
                    <a:close/>
                  </a:path>
                  <a:path w="4311650" h="10795">
                    <a:moveTo>
                      <a:pt x="1300492" y="0"/>
                    </a:moveTo>
                    <a:lnTo>
                      <a:pt x="1290256" y="0"/>
                    </a:lnTo>
                    <a:lnTo>
                      <a:pt x="1290256" y="10236"/>
                    </a:lnTo>
                    <a:lnTo>
                      <a:pt x="1300492" y="10236"/>
                    </a:lnTo>
                    <a:lnTo>
                      <a:pt x="1300492" y="0"/>
                    </a:lnTo>
                    <a:close/>
                  </a:path>
                  <a:path w="4311650" h="10795">
                    <a:moveTo>
                      <a:pt x="1361935" y="0"/>
                    </a:moveTo>
                    <a:lnTo>
                      <a:pt x="1351699" y="0"/>
                    </a:lnTo>
                    <a:lnTo>
                      <a:pt x="1351699" y="10236"/>
                    </a:lnTo>
                    <a:lnTo>
                      <a:pt x="1361935" y="10236"/>
                    </a:lnTo>
                    <a:lnTo>
                      <a:pt x="1361935" y="0"/>
                    </a:lnTo>
                    <a:close/>
                  </a:path>
                  <a:path w="4311650" h="10795">
                    <a:moveTo>
                      <a:pt x="1423377" y="0"/>
                    </a:moveTo>
                    <a:lnTo>
                      <a:pt x="1413141" y="0"/>
                    </a:lnTo>
                    <a:lnTo>
                      <a:pt x="1413141" y="10236"/>
                    </a:lnTo>
                    <a:lnTo>
                      <a:pt x="1423377" y="10236"/>
                    </a:lnTo>
                    <a:lnTo>
                      <a:pt x="1423377" y="0"/>
                    </a:lnTo>
                    <a:close/>
                  </a:path>
                  <a:path w="4311650" h="10795">
                    <a:moveTo>
                      <a:pt x="1484820" y="0"/>
                    </a:moveTo>
                    <a:lnTo>
                      <a:pt x="1474584" y="0"/>
                    </a:lnTo>
                    <a:lnTo>
                      <a:pt x="1474584" y="10236"/>
                    </a:lnTo>
                    <a:lnTo>
                      <a:pt x="1484820" y="10236"/>
                    </a:lnTo>
                    <a:lnTo>
                      <a:pt x="1484820" y="0"/>
                    </a:lnTo>
                    <a:close/>
                  </a:path>
                  <a:path w="4311650" h="10795">
                    <a:moveTo>
                      <a:pt x="1546263" y="0"/>
                    </a:moveTo>
                    <a:lnTo>
                      <a:pt x="1536026" y="0"/>
                    </a:lnTo>
                    <a:lnTo>
                      <a:pt x="1536026" y="10236"/>
                    </a:lnTo>
                    <a:lnTo>
                      <a:pt x="1546263" y="10236"/>
                    </a:lnTo>
                    <a:lnTo>
                      <a:pt x="1546263" y="0"/>
                    </a:lnTo>
                    <a:close/>
                  </a:path>
                  <a:path w="4311650" h="10795">
                    <a:moveTo>
                      <a:pt x="1607705" y="0"/>
                    </a:moveTo>
                    <a:lnTo>
                      <a:pt x="1597456" y="0"/>
                    </a:lnTo>
                    <a:lnTo>
                      <a:pt x="1597456" y="10236"/>
                    </a:lnTo>
                    <a:lnTo>
                      <a:pt x="1607705" y="10236"/>
                    </a:lnTo>
                    <a:lnTo>
                      <a:pt x="1607705" y="0"/>
                    </a:lnTo>
                    <a:close/>
                  </a:path>
                  <a:path w="4311650" h="10795">
                    <a:moveTo>
                      <a:pt x="1669148" y="0"/>
                    </a:moveTo>
                    <a:lnTo>
                      <a:pt x="1658899" y="0"/>
                    </a:lnTo>
                    <a:lnTo>
                      <a:pt x="1658899" y="10236"/>
                    </a:lnTo>
                    <a:lnTo>
                      <a:pt x="1669148" y="10236"/>
                    </a:lnTo>
                    <a:lnTo>
                      <a:pt x="1669148" y="0"/>
                    </a:lnTo>
                    <a:close/>
                  </a:path>
                  <a:path w="4311650" h="10795">
                    <a:moveTo>
                      <a:pt x="1730590" y="0"/>
                    </a:moveTo>
                    <a:lnTo>
                      <a:pt x="1720342" y="0"/>
                    </a:lnTo>
                    <a:lnTo>
                      <a:pt x="1720342" y="10236"/>
                    </a:lnTo>
                    <a:lnTo>
                      <a:pt x="1730590" y="10236"/>
                    </a:lnTo>
                    <a:lnTo>
                      <a:pt x="1730590" y="0"/>
                    </a:lnTo>
                    <a:close/>
                  </a:path>
                  <a:path w="4311650" h="10795">
                    <a:moveTo>
                      <a:pt x="1792020" y="0"/>
                    </a:moveTo>
                    <a:lnTo>
                      <a:pt x="1781784" y="0"/>
                    </a:lnTo>
                    <a:lnTo>
                      <a:pt x="1781784" y="10236"/>
                    </a:lnTo>
                    <a:lnTo>
                      <a:pt x="1792020" y="10236"/>
                    </a:lnTo>
                    <a:lnTo>
                      <a:pt x="1792020" y="0"/>
                    </a:lnTo>
                    <a:close/>
                  </a:path>
                  <a:path w="4311650" h="10795">
                    <a:moveTo>
                      <a:pt x="1853463" y="0"/>
                    </a:moveTo>
                    <a:lnTo>
                      <a:pt x="1843227" y="0"/>
                    </a:lnTo>
                    <a:lnTo>
                      <a:pt x="1843227" y="10236"/>
                    </a:lnTo>
                    <a:lnTo>
                      <a:pt x="1853463" y="10236"/>
                    </a:lnTo>
                    <a:lnTo>
                      <a:pt x="1853463" y="0"/>
                    </a:lnTo>
                    <a:close/>
                  </a:path>
                  <a:path w="4311650" h="10795">
                    <a:moveTo>
                      <a:pt x="1914906" y="0"/>
                    </a:moveTo>
                    <a:lnTo>
                      <a:pt x="1904669" y="0"/>
                    </a:lnTo>
                    <a:lnTo>
                      <a:pt x="1904669" y="10236"/>
                    </a:lnTo>
                    <a:lnTo>
                      <a:pt x="1914906" y="10236"/>
                    </a:lnTo>
                    <a:lnTo>
                      <a:pt x="1914906" y="0"/>
                    </a:lnTo>
                    <a:close/>
                  </a:path>
                  <a:path w="4311650" h="10795">
                    <a:moveTo>
                      <a:pt x="1976348" y="0"/>
                    </a:moveTo>
                    <a:lnTo>
                      <a:pt x="1966112" y="0"/>
                    </a:lnTo>
                    <a:lnTo>
                      <a:pt x="1966112" y="10236"/>
                    </a:lnTo>
                    <a:lnTo>
                      <a:pt x="1976348" y="10236"/>
                    </a:lnTo>
                    <a:lnTo>
                      <a:pt x="1976348" y="0"/>
                    </a:lnTo>
                    <a:close/>
                  </a:path>
                  <a:path w="4311650" h="10795">
                    <a:moveTo>
                      <a:pt x="2037791" y="0"/>
                    </a:moveTo>
                    <a:lnTo>
                      <a:pt x="2027555" y="0"/>
                    </a:lnTo>
                    <a:lnTo>
                      <a:pt x="2027555" y="10236"/>
                    </a:lnTo>
                    <a:lnTo>
                      <a:pt x="2037791" y="10236"/>
                    </a:lnTo>
                    <a:lnTo>
                      <a:pt x="2037791" y="0"/>
                    </a:lnTo>
                    <a:close/>
                  </a:path>
                  <a:path w="4311650" h="10795">
                    <a:moveTo>
                      <a:pt x="2099233" y="0"/>
                    </a:moveTo>
                    <a:lnTo>
                      <a:pt x="2088984" y="0"/>
                    </a:lnTo>
                    <a:lnTo>
                      <a:pt x="2088984" y="10236"/>
                    </a:lnTo>
                    <a:lnTo>
                      <a:pt x="2099233" y="10236"/>
                    </a:lnTo>
                    <a:lnTo>
                      <a:pt x="2099233" y="0"/>
                    </a:lnTo>
                    <a:close/>
                  </a:path>
                  <a:path w="4311650" h="10795">
                    <a:moveTo>
                      <a:pt x="2160676" y="0"/>
                    </a:moveTo>
                    <a:lnTo>
                      <a:pt x="2150427" y="0"/>
                    </a:lnTo>
                    <a:lnTo>
                      <a:pt x="2150427" y="10236"/>
                    </a:lnTo>
                    <a:lnTo>
                      <a:pt x="2160676" y="10236"/>
                    </a:lnTo>
                    <a:lnTo>
                      <a:pt x="2160676" y="0"/>
                    </a:lnTo>
                    <a:close/>
                  </a:path>
                  <a:path w="4311650" h="10795">
                    <a:moveTo>
                      <a:pt x="2222106" y="0"/>
                    </a:moveTo>
                    <a:lnTo>
                      <a:pt x="2211870" y="0"/>
                    </a:lnTo>
                    <a:lnTo>
                      <a:pt x="2211870" y="10236"/>
                    </a:lnTo>
                    <a:lnTo>
                      <a:pt x="2222106" y="10236"/>
                    </a:lnTo>
                    <a:lnTo>
                      <a:pt x="2222106" y="0"/>
                    </a:lnTo>
                    <a:close/>
                  </a:path>
                  <a:path w="4311650" h="10795">
                    <a:moveTo>
                      <a:pt x="2283549" y="0"/>
                    </a:moveTo>
                    <a:lnTo>
                      <a:pt x="2273312" y="0"/>
                    </a:lnTo>
                    <a:lnTo>
                      <a:pt x="2273312" y="10236"/>
                    </a:lnTo>
                    <a:lnTo>
                      <a:pt x="2283549" y="10236"/>
                    </a:lnTo>
                    <a:lnTo>
                      <a:pt x="2283549" y="0"/>
                    </a:lnTo>
                    <a:close/>
                  </a:path>
                  <a:path w="4311650" h="10795">
                    <a:moveTo>
                      <a:pt x="2344991" y="0"/>
                    </a:moveTo>
                    <a:lnTo>
                      <a:pt x="2334755" y="0"/>
                    </a:lnTo>
                    <a:lnTo>
                      <a:pt x="2334755" y="10236"/>
                    </a:lnTo>
                    <a:lnTo>
                      <a:pt x="2344991" y="10236"/>
                    </a:lnTo>
                    <a:lnTo>
                      <a:pt x="2344991" y="0"/>
                    </a:lnTo>
                    <a:close/>
                  </a:path>
                  <a:path w="4311650" h="10795">
                    <a:moveTo>
                      <a:pt x="2406434" y="0"/>
                    </a:moveTo>
                    <a:lnTo>
                      <a:pt x="2396198" y="0"/>
                    </a:lnTo>
                    <a:lnTo>
                      <a:pt x="2396198" y="10236"/>
                    </a:lnTo>
                    <a:lnTo>
                      <a:pt x="2406434" y="10236"/>
                    </a:lnTo>
                    <a:lnTo>
                      <a:pt x="2406434" y="0"/>
                    </a:lnTo>
                    <a:close/>
                  </a:path>
                  <a:path w="4311650" h="10795">
                    <a:moveTo>
                      <a:pt x="2467876" y="0"/>
                    </a:moveTo>
                    <a:lnTo>
                      <a:pt x="2457640" y="0"/>
                    </a:lnTo>
                    <a:lnTo>
                      <a:pt x="2457640" y="10236"/>
                    </a:lnTo>
                    <a:lnTo>
                      <a:pt x="2467876" y="10236"/>
                    </a:lnTo>
                    <a:lnTo>
                      <a:pt x="2467876" y="0"/>
                    </a:lnTo>
                    <a:close/>
                  </a:path>
                  <a:path w="4311650" h="10795">
                    <a:moveTo>
                      <a:pt x="2529319" y="0"/>
                    </a:moveTo>
                    <a:lnTo>
                      <a:pt x="2519070" y="0"/>
                    </a:lnTo>
                    <a:lnTo>
                      <a:pt x="2519070" y="10236"/>
                    </a:lnTo>
                    <a:lnTo>
                      <a:pt x="2529319" y="10236"/>
                    </a:lnTo>
                    <a:lnTo>
                      <a:pt x="2529319" y="0"/>
                    </a:lnTo>
                    <a:close/>
                  </a:path>
                  <a:path w="4311650" h="10795">
                    <a:moveTo>
                      <a:pt x="2590762" y="0"/>
                    </a:moveTo>
                    <a:lnTo>
                      <a:pt x="2580513" y="0"/>
                    </a:lnTo>
                    <a:lnTo>
                      <a:pt x="2580513" y="10236"/>
                    </a:lnTo>
                    <a:lnTo>
                      <a:pt x="2590762" y="10236"/>
                    </a:lnTo>
                    <a:lnTo>
                      <a:pt x="2590762" y="0"/>
                    </a:lnTo>
                    <a:close/>
                  </a:path>
                  <a:path w="4311650" h="10795">
                    <a:moveTo>
                      <a:pt x="2652191" y="0"/>
                    </a:moveTo>
                    <a:lnTo>
                      <a:pt x="2641955" y="0"/>
                    </a:lnTo>
                    <a:lnTo>
                      <a:pt x="2641955" y="10236"/>
                    </a:lnTo>
                    <a:lnTo>
                      <a:pt x="2652191" y="10236"/>
                    </a:lnTo>
                    <a:lnTo>
                      <a:pt x="2652191" y="0"/>
                    </a:lnTo>
                    <a:close/>
                  </a:path>
                  <a:path w="4311650" h="10795">
                    <a:moveTo>
                      <a:pt x="2713634" y="0"/>
                    </a:moveTo>
                    <a:lnTo>
                      <a:pt x="2703398" y="0"/>
                    </a:lnTo>
                    <a:lnTo>
                      <a:pt x="2703398" y="10236"/>
                    </a:lnTo>
                    <a:lnTo>
                      <a:pt x="2713634" y="10236"/>
                    </a:lnTo>
                    <a:lnTo>
                      <a:pt x="2713634" y="0"/>
                    </a:lnTo>
                    <a:close/>
                  </a:path>
                  <a:path w="4311650" h="10795">
                    <a:moveTo>
                      <a:pt x="2775077" y="0"/>
                    </a:moveTo>
                    <a:lnTo>
                      <a:pt x="2764840" y="0"/>
                    </a:lnTo>
                    <a:lnTo>
                      <a:pt x="2764840" y="10236"/>
                    </a:lnTo>
                    <a:lnTo>
                      <a:pt x="2775077" y="10236"/>
                    </a:lnTo>
                    <a:lnTo>
                      <a:pt x="2775077" y="0"/>
                    </a:lnTo>
                    <a:close/>
                  </a:path>
                  <a:path w="4311650" h="10795">
                    <a:moveTo>
                      <a:pt x="2836519" y="0"/>
                    </a:moveTo>
                    <a:lnTo>
                      <a:pt x="2826283" y="0"/>
                    </a:lnTo>
                    <a:lnTo>
                      <a:pt x="2826283" y="10236"/>
                    </a:lnTo>
                    <a:lnTo>
                      <a:pt x="2836519" y="10236"/>
                    </a:lnTo>
                    <a:lnTo>
                      <a:pt x="2836519" y="0"/>
                    </a:lnTo>
                    <a:close/>
                  </a:path>
                  <a:path w="4311650" h="10795">
                    <a:moveTo>
                      <a:pt x="2897962" y="0"/>
                    </a:moveTo>
                    <a:lnTo>
                      <a:pt x="2887726" y="0"/>
                    </a:lnTo>
                    <a:lnTo>
                      <a:pt x="2887726" y="10236"/>
                    </a:lnTo>
                    <a:lnTo>
                      <a:pt x="2897962" y="10236"/>
                    </a:lnTo>
                    <a:lnTo>
                      <a:pt x="2897962" y="0"/>
                    </a:lnTo>
                    <a:close/>
                  </a:path>
                  <a:path w="4311650" h="10795">
                    <a:moveTo>
                      <a:pt x="2959404" y="0"/>
                    </a:moveTo>
                    <a:lnTo>
                      <a:pt x="2949156" y="0"/>
                    </a:lnTo>
                    <a:lnTo>
                      <a:pt x="2949156" y="10236"/>
                    </a:lnTo>
                    <a:lnTo>
                      <a:pt x="2959404" y="10236"/>
                    </a:lnTo>
                    <a:lnTo>
                      <a:pt x="2959404" y="0"/>
                    </a:lnTo>
                    <a:close/>
                  </a:path>
                  <a:path w="4311650" h="10795">
                    <a:moveTo>
                      <a:pt x="3020847" y="0"/>
                    </a:moveTo>
                    <a:lnTo>
                      <a:pt x="3010598" y="0"/>
                    </a:lnTo>
                    <a:lnTo>
                      <a:pt x="3010598" y="10236"/>
                    </a:lnTo>
                    <a:lnTo>
                      <a:pt x="3020847" y="10236"/>
                    </a:lnTo>
                    <a:lnTo>
                      <a:pt x="3020847" y="0"/>
                    </a:lnTo>
                    <a:close/>
                  </a:path>
                  <a:path w="4311650" h="10795">
                    <a:moveTo>
                      <a:pt x="3082277" y="0"/>
                    </a:moveTo>
                    <a:lnTo>
                      <a:pt x="3072041" y="0"/>
                    </a:lnTo>
                    <a:lnTo>
                      <a:pt x="3072041" y="10236"/>
                    </a:lnTo>
                    <a:lnTo>
                      <a:pt x="3082277" y="10236"/>
                    </a:lnTo>
                    <a:lnTo>
                      <a:pt x="3082277" y="0"/>
                    </a:lnTo>
                    <a:close/>
                  </a:path>
                  <a:path w="4311650" h="10795">
                    <a:moveTo>
                      <a:pt x="3143720" y="0"/>
                    </a:moveTo>
                    <a:lnTo>
                      <a:pt x="3133483" y="0"/>
                    </a:lnTo>
                    <a:lnTo>
                      <a:pt x="3133483" y="10236"/>
                    </a:lnTo>
                    <a:lnTo>
                      <a:pt x="3143720" y="10236"/>
                    </a:lnTo>
                    <a:lnTo>
                      <a:pt x="3143720" y="0"/>
                    </a:lnTo>
                    <a:close/>
                  </a:path>
                  <a:path w="4311650" h="10795">
                    <a:moveTo>
                      <a:pt x="3205162" y="0"/>
                    </a:moveTo>
                    <a:lnTo>
                      <a:pt x="3194926" y="0"/>
                    </a:lnTo>
                    <a:lnTo>
                      <a:pt x="3194926" y="10236"/>
                    </a:lnTo>
                    <a:lnTo>
                      <a:pt x="3205162" y="10236"/>
                    </a:lnTo>
                    <a:lnTo>
                      <a:pt x="3205162" y="0"/>
                    </a:lnTo>
                    <a:close/>
                  </a:path>
                  <a:path w="4311650" h="10795">
                    <a:moveTo>
                      <a:pt x="3266605" y="0"/>
                    </a:moveTo>
                    <a:lnTo>
                      <a:pt x="3256369" y="0"/>
                    </a:lnTo>
                    <a:lnTo>
                      <a:pt x="3256369" y="10236"/>
                    </a:lnTo>
                    <a:lnTo>
                      <a:pt x="3266605" y="10236"/>
                    </a:lnTo>
                    <a:lnTo>
                      <a:pt x="3266605" y="0"/>
                    </a:lnTo>
                    <a:close/>
                  </a:path>
                  <a:path w="4311650" h="10795">
                    <a:moveTo>
                      <a:pt x="3328047" y="0"/>
                    </a:moveTo>
                    <a:lnTo>
                      <a:pt x="3317811" y="0"/>
                    </a:lnTo>
                    <a:lnTo>
                      <a:pt x="3317811" y="10236"/>
                    </a:lnTo>
                    <a:lnTo>
                      <a:pt x="3328047" y="10236"/>
                    </a:lnTo>
                    <a:lnTo>
                      <a:pt x="3328047" y="0"/>
                    </a:lnTo>
                    <a:close/>
                  </a:path>
                  <a:path w="4311650" h="10795">
                    <a:moveTo>
                      <a:pt x="3389490" y="0"/>
                    </a:moveTo>
                    <a:lnTo>
                      <a:pt x="3379241" y="0"/>
                    </a:lnTo>
                    <a:lnTo>
                      <a:pt x="3379241" y="10236"/>
                    </a:lnTo>
                    <a:lnTo>
                      <a:pt x="3389490" y="10236"/>
                    </a:lnTo>
                    <a:lnTo>
                      <a:pt x="3389490" y="0"/>
                    </a:lnTo>
                    <a:close/>
                  </a:path>
                  <a:path w="4311650" h="10795">
                    <a:moveTo>
                      <a:pt x="3450933" y="0"/>
                    </a:moveTo>
                    <a:lnTo>
                      <a:pt x="3440684" y="0"/>
                    </a:lnTo>
                    <a:lnTo>
                      <a:pt x="3440684" y="10236"/>
                    </a:lnTo>
                    <a:lnTo>
                      <a:pt x="3450933" y="10236"/>
                    </a:lnTo>
                    <a:lnTo>
                      <a:pt x="3450933" y="0"/>
                    </a:lnTo>
                    <a:close/>
                  </a:path>
                  <a:path w="4311650" h="10795">
                    <a:moveTo>
                      <a:pt x="3512375" y="0"/>
                    </a:moveTo>
                    <a:lnTo>
                      <a:pt x="3502126" y="0"/>
                    </a:lnTo>
                    <a:lnTo>
                      <a:pt x="3502126" y="10236"/>
                    </a:lnTo>
                    <a:lnTo>
                      <a:pt x="3512375" y="10236"/>
                    </a:lnTo>
                    <a:lnTo>
                      <a:pt x="3512375" y="0"/>
                    </a:lnTo>
                    <a:close/>
                  </a:path>
                  <a:path w="4311650" h="10795">
                    <a:moveTo>
                      <a:pt x="3573805" y="0"/>
                    </a:moveTo>
                    <a:lnTo>
                      <a:pt x="3563569" y="0"/>
                    </a:lnTo>
                    <a:lnTo>
                      <a:pt x="3563569" y="10236"/>
                    </a:lnTo>
                    <a:lnTo>
                      <a:pt x="3573805" y="10236"/>
                    </a:lnTo>
                    <a:lnTo>
                      <a:pt x="3573805" y="0"/>
                    </a:lnTo>
                    <a:close/>
                  </a:path>
                  <a:path w="4311650" h="10795">
                    <a:moveTo>
                      <a:pt x="3635248" y="0"/>
                    </a:moveTo>
                    <a:lnTo>
                      <a:pt x="3625011" y="0"/>
                    </a:lnTo>
                    <a:lnTo>
                      <a:pt x="3625011" y="10236"/>
                    </a:lnTo>
                    <a:lnTo>
                      <a:pt x="3635248" y="10236"/>
                    </a:lnTo>
                    <a:lnTo>
                      <a:pt x="3635248" y="0"/>
                    </a:lnTo>
                    <a:close/>
                  </a:path>
                  <a:path w="4311650" h="10795">
                    <a:moveTo>
                      <a:pt x="3696690" y="0"/>
                    </a:moveTo>
                    <a:lnTo>
                      <a:pt x="3686454" y="0"/>
                    </a:lnTo>
                    <a:lnTo>
                      <a:pt x="3686454" y="10236"/>
                    </a:lnTo>
                    <a:lnTo>
                      <a:pt x="3696690" y="10236"/>
                    </a:lnTo>
                    <a:lnTo>
                      <a:pt x="3696690" y="0"/>
                    </a:lnTo>
                    <a:close/>
                  </a:path>
                  <a:path w="4311650" h="10795">
                    <a:moveTo>
                      <a:pt x="3758133" y="0"/>
                    </a:moveTo>
                    <a:lnTo>
                      <a:pt x="3747897" y="0"/>
                    </a:lnTo>
                    <a:lnTo>
                      <a:pt x="3747897" y="10236"/>
                    </a:lnTo>
                    <a:lnTo>
                      <a:pt x="3758133" y="10236"/>
                    </a:lnTo>
                    <a:lnTo>
                      <a:pt x="3758133" y="0"/>
                    </a:lnTo>
                    <a:close/>
                  </a:path>
                  <a:path w="4311650" h="10795">
                    <a:moveTo>
                      <a:pt x="3819575" y="0"/>
                    </a:moveTo>
                    <a:lnTo>
                      <a:pt x="3809339" y="0"/>
                    </a:lnTo>
                    <a:lnTo>
                      <a:pt x="3809339" y="10236"/>
                    </a:lnTo>
                    <a:lnTo>
                      <a:pt x="3819575" y="10236"/>
                    </a:lnTo>
                    <a:lnTo>
                      <a:pt x="3819575" y="0"/>
                    </a:lnTo>
                    <a:close/>
                  </a:path>
                  <a:path w="4311650" h="10795">
                    <a:moveTo>
                      <a:pt x="3881018" y="0"/>
                    </a:moveTo>
                    <a:lnTo>
                      <a:pt x="3870769" y="0"/>
                    </a:lnTo>
                    <a:lnTo>
                      <a:pt x="3870769" y="10236"/>
                    </a:lnTo>
                    <a:lnTo>
                      <a:pt x="3881018" y="10236"/>
                    </a:lnTo>
                    <a:lnTo>
                      <a:pt x="3881018" y="0"/>
                    </a:lnTo>
                    <a:close/>
                  </a:path>
                  <a:path w="4311650" h="10795">
                    <a:moveTo>
                      <a:pt x="3942461" y="0"/>
                    </a:moveTo>
                    <a:lnTo>
                      <a:pt x="3932212" y="0"/>
                    </a:lnTo>
                    <a:lnTo>
                      <a:pt x="3932212" y="10236"/>
                    </a:lnTo>
                    <a:lnTo>
                      <a:pt x="3942461" y="10236"/>
                    </a:lnTo>
                    <a:lnTo>
                      <a:pt x="3942461" y="0"/>
                    </a:lnTo>
                    <a:close/>
                  </a:path>
                  <a:path w="4311650" h="10795">
                    <a:moveTo>
                      <a:pt x="4003891" y="0"/>
                    </a:moveTo>
                    <a:lnTo>
                      <a:pt x="3993654" y="0"/>
                    </a:lnTo>
                    <a:lnTo>
                      <a:pt x="3993654" y="10236"/>
                    </a:lnTo>
                    <a:lnTo>
                      <a:pt x="4003891" y="10236"/>
                    </a:lnTo>
                    <a:lnTo>
                      <a:pt x="4003891" y="0"/>
                    </a:lnTo>
                    <a:close/>
                  </a:path>
                  <a:path w="4311650" h="10795">
                    <a:moveTo>
                      <a:pt x="4065333" y="0"/>
                    </a:moveTo>
                    <a:lnTo>
                      <a:pt x="4055097" y="0"/>
                    </a:lnTo>
                    <a:lnTo>
                      <a:pt x="4055097" y="10236"/>
                    </a:lnTo>
                    <a:lnTo>
                      <a:pt x="4065333" y="10236"/>
                    </a:lnTo>
                    <a:lnTo>
                      <a:pt x="4065333" y="0"/>
                    </a:lnTo>
                    <a:close/>
                  </a:path>
                  <a:path w="4311650" h="10795">
                    <a:moveTo>
                      <a:pt x="4126776" y="0"/>
                    </a:moveTo>
                    <a:lnTo>
                      <a:pt x="4116540" y="0"/>
                    </a:lnTo>
                    <a:lnTo>
                      <a:pt x="4116540" y="10236"/>
                    </a:lnTo>
                    <a:lnTo>
                      <a:pt x="4126776" y="10236"/>
                    </a:lnTo>
                    <a:lnTo>
                      <a:pt x="4126776" y="0"/>
                    </a:lnTo>
                    <a:close/>
                  </a:path>
                  <a:path w="4311650" h="10795">
                    <a:moveTo>
                      <a:pt x="4188218" y="0"/>
                    </a:moveTo>
                    <a:lnTo>
                      <a:pt x="4177982" y="0"/>
                    </a:lnTo>
                    <a:lnTo>
                      <a:pt x="4177982" y="10236"/>
                    </a:lnTo>
                    <a:lnTo>
                      <a:pt x="4188218" y="10236"/>
                    </a:lnTo>
                    <a:lnTo>
                      <a:pt x="4188218" y="0"/>
                    </a:lnTo>
                    <a:close/>
                  </a:path>
                  <a:path w="4311650" h="10795">
                    <a:moveTo>
                      <a:pt x="4249661" y="0"/>
                    </a:moveTo>
                    <a:lnTo>
                      <a:pt x="4239425" y="0"/>
                    </a:lnTo>
                    <a:lnTo>
                      <a:pt x="4239425" y="10236"/>
                    </a:lnTo>
                    <a:lnTo>
                      <a:pt x="4249661" y="10236"/>
                    </a:lnTo>
                    <a:lnTo>
                      <a:pt x="4249661" y="0"/>
                    </a:lnTo>
                    <a:close/>
                  </a:path>
                  <a:path w="4311650" h="10795">
                    <a:moveTo>
                      <a:pt x="4311104" y="0"/>
                    </a:moveTo>
                    <a:lnTo>
                      <a:pt x="4300855" y="0"/>
                    </a:lnTo>
                    <a:lnTo>
                      <a:pt x="4300855" y="10236"/>
                    </a:lnTo>
                    <a:lnTo>
                      <a:pt x="4311104" y="10236"/>
                    </a:lnTo>
                    <a:lnTo>
                      <a:pt x="431110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2" name="object 132"/>
              <p:cNvSpPr/>
              <p:nvPr/>
            </p:nvSpPr>
            <p:spPr>
              <a:xfrm>
                <a:off x="561276" y="3170707"/>
                <a:ext cx="5786120" cy="406400"/>
              </a:xfrm>
              <a:custGeom>
                <a:avLst/>
                <a:gdLst/>
                <a:ahLst/>
                <a:cxnLst/>
                <a:rect l="l" t="t" r="r" b="b"/>
                <a:pathLst>
                  <a:path w="5786120" h="406400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48"/>
                    </a:lnTo>
                    <a:lnTo>
                      <a:pt x="10236" y="10248"/>
                    </a:lnTo>
                    <a:lnTo>
                      <a:pt x="10236" y="0"/>
                    </a:lnTo>
                    <a:close/>
                  </a:path>
                  <a:path w="5786120" h="406400">
                    <a:moveTo>
                      <a:pt x="71678" y="0"/>
                    </a:moveTo>
                    <a:lnTo>
                      <a:pt x="61442" y="0"/>
                    </a:lnTo>
                    <a:lnTo>
                      <a:pt x="61442" y="10248"/>
                    </a:lnTo>
                    <a:lnTo>
                      <a:pt x="71678" y="10248"/>
                    </a:lnTo>
                    <a:lnTo>
                      <a:pt x="71678" y="0"/>
                    </a:lnTo>
                    <a:close/>
                  </a:path>
                  <a:path w="5786120" h="406400">
                    <a:moveTo>
                      <a:pt x="133121" y="0"/>
                    </a:moveTo>
                    <a:lnTo>
                      <a:pt x="122885" y="0"/>
                    </a:lnTo>
                    <a:lnTo>
                      <a:pt x="122885" y="10248"/>
                    </a:lnTo>
                    <a:lnTo>
                      <a:pt x="133121" y="10248"/>
                    </a:lnTo>
                    <a:lnTo>
                      <a:pt x="133121" y="0"/>
                    </a:lnTo>
                    <a:close/>
                  </a:path>
                  <a:path w="5786120" h="406400">
                    <a:moveTo>
                      <a:pt x="194564" y="0"/>
                    </a:moveTo>
                    <a:lnTo>
                      <a:pt x="184327" y="0"/>
                    </a:lnTo>
                    <a:lnTo>
                      <a:pt x="184327" y="10248"/>
                    </a:lnTo>
                    <a:lnTo>
                      <a:pt x="194564" y="10248"/>
                    </a:lnTo>
                    <a:lnTo>
                      <a:pt x="194564" y="0"/>
                    </a:lnTo>
                    <a:close/>
                  </a:path>
                  <a:path w="5786120" h="406400">
                    <a:moveTo>
                      <a:pt x="256006" y="0"/>
                    </a:moveTo>
                    <a:lnTo>
                      <a:pt x="245770" y="0"/>
                    </a:lnTo>
                    <a:lnTo>
                      <a:pt x="245770" y="10248"/>
                    </a:lnTo>
                    <a:lnTo>
                      <a:pt x="256006" y="10248"/>
                    </a:lnTo>
                    <a:lnTo>
                      <a:pt x="256006" y="0"/>
                    </a:lnTo>
                    <a:close/>
                  </a:path>
                  <a:path w="5786120" h="406400">
                    <a:moveTo>
                      <a:pt x="317449" y="0"/>
                    </a:moveTo>
                    <a:lnTo>
                      <a:pt x="307200" y="0"/>
                    </a:lnTo>
                    <a:lnTo>
                      <a:pt x="307200" y="10248"/>
                    </a:lnTo>
                    <a:lnTo>
                      <a:pt x="317449" y="10248"/>
                    </a:lnTo>
                    <a:lnTo>
                      <a:pt x="317449" y="0"/>
                    </a:lnTo>
                    <a:close/>
                  </a:path>
                  <a:path w="5786120" h="406400">
                    <a:moveTo>
                      <a:pt x="378891" y="0"/>
                    </a:moveTo>
                    <a:lnTo>
                      <a:pt x="368642" y="0"/>
                    </a:lnTo>
                    <a:lnTo>
                      <a:pt x="368642" y="10248"/>
                    </a:lnTo>
                    <a:lnTo>
                      <a:pt x="378891" y="10248"/>
                    </a:lnTo>
                    <a:lnTo>
                      <a:pt x="378891" y="0"/>
                    </a:lnTo>
                    <a:close/>
                  </a:path>
                  <a:path w="5786120" h="406400">
                    <a:moveTo>
                      <a:pt x="440321" y="0"/>
                    </a:moveTo>
                    <a:lnTo>
                      <a:pt x="430085" y="0"/>
                    </a:lnTo>
                    <a:lnTo>
                      <a:pt x="430085" y="10248"/>
                    </a:lnTo>
                    <a:lnTo>
                      <a:pt x="440321" y="10248"/>
                    </a:lnTo>
                    <a:lnTo>
                      <a:pt x="440321" y="0"/>
                    </a:lnTo>
                    <a:close/>
                  </a:path>
                  <a:path w="5786120" h="406400">
                    <a:moveTo>
                      <a:pt x="501764" y="0"/>
                    </a:moveTo>
                    <a:lnTo>
                      <a:pt x="491528" y="0"/>
                    </a:lnTo>
                    <a:lnTo>
                      <a:pt x="491528" y="10248"/>
                    </a:lnTo>
                    <a:lnTo>
                      <a:pt x="501764" y="10248"/>
                    </a:lnTo>
                    <a:lnTo>
                      <a:pt x="501764" y="0"/>
                    </a:lnTo>
                    <a:close/>
                  </a:path>
                  <a:path w="5786120" h="406400">
                    <a:moveTo>
                      <a:pt x="563206" y="0"/>
                    </a:moveTo>
                    <a:lnTo>
                      <a:pt x="552970" y="0"/>
                    </a:lnTo>
                    <a:lnTo>
                      <a:pt x="552970" y="10248"/>
                    </a:lnTo>
                    <a:lnTo>
                      <a:pt x="563206" y="10248"/>
                    </a:lnTo>
                    <a:lnTo>
                      <a:pt x="563206" y="0"/>
                    </a:lnTo>
                    <a:close/>
                  </a:path>
                  <a:path w="5786120" h="406400">
                    <a:moveTo>
                      <a:pt x="624649" y="0"/>
                    </a:moveTo>
                    <a:lnTo>
                      <a:pt x="614413" y="0"/>
                    </a:lnTo>
                    <a:lnTo>
                      <a:pt x="614413" y="10248"/>
                    </a:lnTo>
                    <a:lnTo>
                      <a:pt x="624649" y="10248"/>
                    </a:lnTo>
                    <a:lnTo>
                      <a:pt x="624649" y="0"/>
                    </a:lnTo>
                    <a:close/>
                  </a:path>
                  <a:path w="5786120" h="406400">
                    <a:moveTo>
                      <a:pt x="686092" y="0"/>
                    </a:moveTo>
                    <a:lnTo>
                      <a:pt x="675855" y="0"/>
                    </a:lnTo>
                    <a:lnTo>
                      <a:pt x="675855" y="10248"/>
                    </a:lnTo>
                    <a:lnTo>
                      <a:pt x="686092" y="10248"/>
                    </a:lnTo>
                    <a:lnTo>
                      <a:pt x="686092" y="0"/>
                    </a:lnTo>
                    <a:close/>
                  </a:path>
                  <a:path w="5786120" h="406400">
                    <a:moveTo>
                      <a:pt x="747534" y="0"/>
                    </a:moveTo>
                    <a:lnTo>
                      <a:pt x="737285" y="0"/>
                    </a:lnTo>
                    <a:lnTo>
                      <a:pt x="737285" y="10248"/>
                    </a:lnTo>
                    <a:lnTo>
                      <a:pt x="747534" y="10248"/>
                    </a:lnTo>
                    <a:lnTo>
                      <a:pt x="747534" y="0"/>
                    </a:lnTo>
                    <a:close/>
                  </a:path>
                  <a:path w="5786120" h="406400">
                    <a:moveTo>
                      <a:pt x="808977" y="0"/>
                    </a:moveTo>
                    <a:lnTo>
                      <a:pt x="798728" y="0"/>
                    </a:lnTo>
                    <a:lnTo>
                      <a:pt x="798728" y="10248"/>
                    </a:lnTo>
                    <a:lnTo>
                      <a:pt x="808977" y="10248"/>
                    </a:lnTo>
                    <a:lnTo>
                      <a:pt x="808977" y="0"/>
                    </a:lnTo>
                    <a:close/>
                  </a:path>
                  <a:path w="5786120" h="406400">
                    <a:moveTo>
                      <a:pt x="870407" y="0"/>
                    </a:moveTo>
                    <a:lnTo>
                      <a:pt x="860171" y="0"/>
                    </a:lnTo>
                    <a:lnTo>
                      <a:pt x="860171" y="10248"/>
                    </a:lnTo>
                    <a:lnTo>
                      <a:pt x="870407" y="10248"/>
                    </a:lnTo>
                    <a:lnTo>
                      <a:pt x="870407" y="0"/>
                    </a:lnTo>
                    <a:close/>
                  </a:path>
                  <a:path w="5786120" h="406400">
                    <a:moveTo>
                      <a:pt x="931849" y="0"/>
                    </a:moveTo>
                    <a:lnTo>
                      <a:pt x="921613" y="0"/>
                    </a:lnTo>
                    <a:lnTo>
                      <a:pt x="921613" y="10248"/>
                    </a:lnTo>
                    <a:lnTo>
                      <a:pt x="931849" y="10248"/>
                    </a:lnTo>
                    <a:lnTo>
                      <a:pt x="931849" y="0"/>
                    </a:lnTo>
                    <a:close/>
                  </a:path>
                  <a:path w="5786120" h="406400">
                    <a:moveTo>
                      <a:pt x="993292" y="0"/>
                    </a:moveTo>
                    <a:lnTo>
                      <a:pt x="983056" y="0"/>
                    </a:lnTo>
                    <a:lnTo>
                      <a:pt x="983056" y="10248"/>
                    </a:lnTo>
                    <a:lnTo>
                      <a:pt x="993292" y="10248"/>
                    </a:lnTo>
                    <a:lnTo>
                      <a:pt x="993292" y="0"/>
                    </a:lnTo>
                    <a:close/>
                  </a:path>
                  <a:path w="5786120" h="406400">
                    <a:moveTo>
                      <a:pt x="1054735" y="0"/>
                    </a:moveTo>
                    <a:lnTo>
                      <a:pt x="1044498" y="0"/>
                    </a:lnTo>
                    <a:lnTo>
                      <a:pt x="1044498" y="10248"/>
                    </a:lnTo>
                    <a:lnTo>
                      <a:pt x="1054735" y="10248"/>
                    </a:lnTo>
                    <a:lnTo>
                      <a:pt x="1054735" y="0"/>
                    </a:lnTo>
                    <a:close/>
                  </a:path>
                  <a:path w="5786120" h="406400">
                    <a:moveTo>
                      <a:pt x="1116177" y="0"/>
                    </a:moveTo>
                    <a:lnTo>
                      <a:pt x="1105941" y="0"/>
                    </a:lnTo>
                    <a:lnTo>
                      <a:pt x="1105941" y="10248"/>
                    </a:lnTo>
                    <a:lnTo>
                      <a:pt x="1116177" y="10248"/>
                    </a:lnTo>
                    <a:lnTo>
                      <a:pt x="1116177" y="0"/>
                    </a:lnTo>
                    <a:close/>
                  </a:path>
                  <a:path w="5786120" h="406400">
                    <a:moveTo>
                      <a:pt x="1177620" y="0"/>
                    </a:moveTo>
                    <a:lnTo>
                      <a:pt x="1167371" y="0"/>
                    </a:lnTo>
                    <a:lnTo>
                      <a:pt x="1167371" y="10248"/>
                    </a:lnTo>
                    <a:lnTo>
                      <a:pt x="1177620" y="10248"/>
                    </a:lnTo>
                    <a:lnTo>
                      <a:pt x="1177620" y="0"/>
                    </a:lnTo>
                    <a:close/>
                  </a:path>
                  <a:path w="5786120" h="406400">
                    <a:moveTo>
                      <a:pt x="1239062" y="0"/>
                    </a:moveTo>
                    <a:lnTo>
                      <a:pt x="1228813" y="0"/>
                    </a:lnTo>
                    <a:lnTo>
                      <a:pt x="1228813" y="10248"/>
                    </a:lnTo>
                    <a:lnTo>
                      <a:pt x="1239062" y="10248"/>
                    </a:lnTo>
                    <a:lnTo>
                      <a:pt x="1239062" y="0"/>
                    </a:lnTo>
                    <a:close/>
                  </a:path>
                  <a:path w="5786120" h="406400">
                    <a:moveTo>
                      <a:pt x="1300492" y="0"/>
                    </a:moveTo>
                    <a:lnTo>
                      <a:pt x="1290256" y="0"/>
                    </a:lnTo>
                    <a:lnTo>
                      <a:pt x="1290256" y="10248"/>
                    </a:lnTo>
                    <a:lnTo>
                      <a:pt x="1300492" y="10248"/>
                    </a:lnTo>
                    <a:lnTo>
                      <a:pt x="1300492" y="0"/>
                    </a:lnTo>
                    <a:close/>
                  </a:path>
                  <a:path w="5786120" h="406400">
                    <a:moveTo>
                      <a:pt x="1361935" y="0"/>
                    </a:moveTo>
                    <a:lnTo>
                      <a:pt x="1351699" y="0"/>
                    </a:lnTo>
                    <a:lnTo>
                      <a:pt x="1351699" y="10248"/>
                    </a:lnTo>
                    <a:lnTo>
                      <a:pt x="1361935" y="10248"/>
                    </a:lnTo>
                    <a:lnTo>
                      <a:pt x="1361935" y="0"/>
                    </a:lnTo>
                    <a:close/>
                  </a:path>
                  <a:path w="5786120" h="406400">
                    <a:moveTo>
                      <a:pt x="1423377" y="0"/>
                    </a:moveTo>
                    <a:lnTo>
                      <a:pt x="1413141" y="0"/>
                    </a:lnTo>
                    <a:lnTo>
                      <a:pt x="1413141" y="10248"/>
                    </a:lnTo>
                    <a:lnTo>
                      <a:pt x="1423377" y="10248"/>
                    </a:lnTo>
                    <a:lnTo>
                      <a:pt x="1423377" y="0"/>
                    </a:lnTo>
                    <a:close/>
                  </a:path>
                  <a:path w="5786120" h="406400">
                    <a:moveTo>
                      <a:pt x="1484820" y="0"/>
                    </a:moveTo>
                    <a:lnTo>
                      <a:pt x="1474584" y="0"/>
                    </a:lnTo>
                    <a:lnTo>
                      <a:pt x="1474584" y="10248"/>
                    </a:lnTo>
                    <a:lnTo>
                      <a:pt x="1484820" y="10248"/>
                    </a:lnTo>
                    <a:lnTo>
                      <a:pt x="1484820" y="0"/>
                    </a:lnTo>
                    <a:close/>
                  </a:path>
                  <a:path w="5786120" h="406400">
                    <a:moveTo>
                      <a:pt x="1546263" y="0"/>
                    </a:moveTo>
                    <a:lnTo>
                      <a:pt x="1536026" y="0"/>
                    </a:lnTo>
                    <a:lnTo>
                      <a:pt x="1536026" y="10248"/>
                    </a:lnTo>
                    <a:lnTo>
                      <a:pt x="1546263" y="10248"/>
                    </a:lnTo>
                    <a:lnTo>
                      <a:pt x="1546263" y="0"/>
                    </a:lnTo>
                    <a:close/>
                  </a:path>
                  <a:path w="5786120" h="406400">
                    <a:moveTo>
                      <a:pt x="1607705" y="0"/>
                    </a:moveTo>
                    <a:lnTo>
                      <a:pt x="1597456" y="0"/>
                    </a:lnTo>
                    <a:lnTo>
                      <a:pt x="1597456" y="10248"/>
                    </a:lnTo>
                    <a:lnTo>
                      <a:pt x="1607705" y="10248"/>
                    </a:lnTo>
                    <a:lnTo>
                      <a:pt x="1607705" y="0"/>
                    </a:lnTo>
                    <a:close/>
                  </a:path>
                  <a:path w="5786120" h="406400">
                    <a:moveTo>
                      <a:pt x="1669148" y="0"/>
                    </a:moveTo>
                    <a:lnTo>
                      <a:pt x="1658899" y="0"/>
                    </a:lnTo>
                    <a:lnTo>
                      <a:pt x="1658899" y="10248"/>
                    </a:lnTo>
                    <a:lnTo>
                      <a:pt x="1669148" y="10248"/>
                    </a:lnTo>
                    <a:lnTo>
                      <a:pt x="1669148" y="0"/>
                    </a:lnTo>
                    <a:close/>
                  </a:path>
                  <a:path w="5786120" h="406400">
                    <a:moveTo>
                      <a:pt x="1730590" y="0"/>
                    </a:moveTo>
                    <a:lnTo>
                      <a:pt x="1720342" y="0"/>
                    </a:lnTo>
                    <a:lnTo>
                      <a:pt x="1720342" y="10248"/>
                    </a:lnTo>
                    <a:lnTo>
                      <a:pt x="1730590" y="10248"/>
                    </a:lnTo>
                    <a:lnTo>
                      <a:pt x="1730590" y="0"/>
                    </a:lnTo>
                    <a:close/>
                  </a:path>
                  <a:path w="5786120" h="406400">
                    <a:moveTo>
                      <a:pt x="1792020" y="0"/>
                    </a:moveTo>
                    <a:lnTo>
                      <a:pt x="1781784" y="0"/>
                    </a:lnTo>
                    <a:lnTo>
                      <a:pt x="1781784" y="10248"/>
                    </a:lnTo>
                    <a:lnTo>
                      <a:pt x="1792020" y="10248"/>
                    </a:lnTo>
                    <a:lnTo>
                      <a:pt x="1792020" y="0"/>
                    </a:lnTo>
                    <a:close/>
                  </a:path>
                  <a:path w="5786120" h="406400">
                    <a:moveTo>
                      <a:pt x="1853463" y="0"/>
                    </a:moveTo>
                    <a:lnTo>
                      <a:pt x="1843227" y="0"/>
                    </a:lnTo>
                    <a:lnTo>
                      <a:pt x="1843227" y="10248"/>
                    </a:lnTo>
                    <a:lnTo>
                      <a:pt x="1853463" y="10248"/>
                    </a:lnTo>
                    <a:lnTo>
                      <a:pt x="1853463" y="0"/>
                    </a:lnTo>
                    <a:close/>
                  </a:path>
                  <a:path w="5786120" h="406400">
                    <a:moveTo>
                      <a:pt x="1914906" y="0"/>
                    </a:moveTo>
                    <a:lnTo>
                      <a:pt x="1904669" y="0"/>
                    </a:lnTo>
                    <a:lnTo>
                      <a:pt x="1904669" y="10248"/>
                    </a:lnTo>
                    <a:lnTo>
                      <a:pt x="1914906" y="10248"/>
                    </a:lnTo>
                    <a:lnTo>
                      <a:pt x="1914906" y="0"/>
                    </a:lnTo>
                    <a:close/>
                  </a:path>
                  <a:path w="5786120" h="406400">
                    <a:moveTo>
                      <a:pt x="1976348" y="0"/>
                    </a:moveTo>
                    <a:lnTo>
                      <a:pt x="1966112" y="0"/>
                    </a:lnTo>
                    <a:lnTo>
                      <a:pt x="1966112" y="10248"/>
                    </a:lnTo>
                    <a:lnTo>
                      <a:pt x="1976348" y="10248"/>
                    </a:lnTo>
                    <a:lnTo>
                      <a:pt x="1976348" y="0"/>
                    </a:lnTo>
                    <a:close/>
                  </a:path>
                  <a:path w="5786120" h="406400">
                    <a:moveTo>
                      <a:pt x="2037791" y="0"/>
                    </a:moveTo>
                    <a:lnTo>
                      <a:pt x="2027555" y="0"/>
                    </a:lnTo>
                    <a:lnTo>
                      <a:pt x="2027555" y="10248"/>
                    </a:lnTo>
                    <a:lnTo>
                      <a:pt x="2037791" y="10248"/>
                    </a:lnTo>
                    <a:lnTo>
                      <a:pt x="2037791" y="0"/>
                    </a:lnTo>
                    <a:close/>
                  </a:path>
                  <a:path w="5786120" h="406400">
                    <a:moveTo>
                      <a:pt x="2099233" y="0"/>
                    </a:moveTo>
                    <a:lnTo>
                      <a:pt x="2088984" y="0"/>
                    </a:lnTo>
                    <a:lnTo>
                      <a:pt x="2088984" y="10248"/>
                    </a:lnTo>
                    <a:lnTo>
                      <a:pt x="2099233" y="10248"/>
                    </a:lnTo>
                    <a:lnTo>
                      <a:pt x="2099233" y="0"/>
                    </a:lnTo>
                    <a:close/>
                  </a:path>
                  <a:path w="5786120" h="406400">
                    <a:moveTo>
                      <a:pt x="2160676" y="0"/>
                    </a:moveTo>
                    <a:lnTo>
                      <a:pt x="2150427" y="0"/>
                    </a:lnTo>
                    <a:lnTo>
                      <a:pt x="2150427" y="10248"/>
                    </a:lnTo>
                    <a:lnTo>
                      <a:pt x="2160676" y="10248"/>
                    </a:lnTo>
                    <a:lnTo>
                      <a:pt x="2160676" y="0"/>
                    </a:lnTo>
                    <a:close/>
                  </a:path>
                  <a:path w="5786120" h="406400">
                    <a:moveTo>
                      <a:pt x="2222106" y="0"/>
                    </a:moveTo>
                    <a:lnTo>
                      <a:pt x="2211870" y="0"/>
                    </a:lnTo>
                    <a:lnTo>
                      <a:pt x="2211870" y="10248"/>
                    </a:lnTo>
                    <a:lnTo>
                      <a:pt x="2222106" y="10248"/>
                    </a:lnTo>
                    <a:lnTo>
                      <a:pt x="2222106" y="0"/>
                    </a:lnTo>
                    <a:close/>
                  </a:path>
                  <a:path w="5786120" h="406400">
                    <a:moveTo>
                      <a:pt x="2283549" y="0"/>
                    </a:moveTo>
                    <a:lnTo>
                      <a:pt x="2273312" y="0"/>
                    </a:lnTo>
                    <a:lnTo>
                      <a:pt x="2273312" y="10248"/>
                    </a:lnTo>
                    <a:lnTo>
                      <a:pt x="2283549" y="10248"/>
                    </a:lnTo>
                    <a:lnTo>
                      <a:pt x="2283549" y="0"/>
                    </a:lnTo>
                    <a:close/>
                  </a:path>
                  <a:path w="5786120" h="406400">
                    <a:moveTo>
                      <a:pt x="2344991" y="0"/>
                    </a:moveTo>
                    <a:lnTo>
                      <a:pt x="2334755" y="0"/>
                    </a:lnTo>
                    <a:lnTo>
                      <a:pt x="2334755" y="10248"/>
                    </a:lnTo>
                    <a:lnTo>
                      <a:pt x="2344991" y="10248"/>
                    </a:lnTo>
                    <a:lnTo>
                      <a:pt x="2344991" y="0"/>
                    </a:lnTo>
                    <a:close/>
                  </a:path>
                  <a:path w="5786120" h="406400">
                    <a:moveTo>
                      <a:pt x="2406434" y="0"/>
                    </a:moveTo>
                    <a:lnTo>
                      <a:pt x="2396198" y="0"/>
                    </a:lnTo>
                    <a:lnTo>
                      <a:pt x="2396198" y="10248"/>
                    </a:lnTo>
                    <a:lnTo>
                      <a:pt x="2406434" y="10248"/>
                    </a:lnTo>
                    <a:lnTo>
                      <a:pt x="2406434" y="0"/>
                    </a:lnTo>
                    <a:close/>
                  </a:path>
                  <a:path w="5786120" h="406400">
                    <a:moveTo>
                      <a:pt x="2467876" y="0"/>
                    </a:moveTo>
                    <a:lnTo>
                      <a:pt x="2457640" y="0"/>
                    </a:lnTo>
                    <a:lnTo>
                      <a:pt x="2457640" y="10248"/>
                    </a:lnTo>
                    <a:lnTo>
                      <a:pt x="2467876" y="10248"/>
                    </a:lnTo>
                    <a:lnTo>
                      <a:pt x="2467876" y="0"/>
                    </a:lnTo>
                    <a:close/>
                  </a:path>
                  <a:path w="5786120" h="406400">
                    <a:moveTo>
                      <a:pt x="2529319" y="0"/>
                    </a:moveTo>
                    <a:lnTo>
                      <a:pt x="2519070" y="0"/>
                    </a:lnTo>
                    <a:lnTo>
                      <a:pt x="2519070" y="10248"/>
                    </a:lnTo>
                    <a:lnTo>
                      <a:pt x="2529319" y="10248"/>
                    </a:lnTo>
                    <a:lnTo>
                      <a:pt x="2529319" y="0"/>
                    </a:lnTo>
                    <a:close/>
                  </a:path>
                  <a:path w="5786120" h="406400">
                    <a:moveTo>
                      <a:pt x="2590762" y="0"/>
                    </a:moveTo>
                    <a:lnTo>
                      <a:pt x="2580513" y="0"/>
                    </a:lnTo>
                    <a:lnTo>
                      <a:pt x="2580513" y="10248"/>
                    </a:lnTo>
                    <a:lnTo>
                      <a:pt x="2590762" y="10248"/>
                    </a:lnTo>
                    <a:lnTo>
                      <a:pt x="2590762" y="0"/>
                    </a:lnTo>
                    <a:close/>
                  </a:path>
                  <a:path w="5786120" h="406400">
                    <a:moveTo>
                      <a:pt x="2652191" y="0"/>
                    </a:moveTo>
                    <a:lnTo>
                      <a:pt x="2641955" y="0"/>
                    </a:lnTo>
                    <a:lnTo>
                      <a:pt x="2641955" y="10248"/>
                    </a:lnTo>
                    <a:lnTo>
                      <a:pt x="2652191" y="10248"/>
                    </a:lnTo>
                    <a:lnTo>
                      <a:pt x="2652191" y="0"/>
                    </a:lnTo>
                    <a:close/>
                  </a:path>
                  <a:path w="5786120" h="406400">
                    <a:moveTo>
                      <a:pt x="2713634" y="0"/>
                    </a:moveTo>
                    <a:lnTo>
                      <a:pt x="2703398" y="0"/>
                    </a:lnTo>
                    <a:lnTo>
                      <a:pt x="2703398" y="10248"/>
                    </a:lnTo>
                    <a:lnTo>
                      <a:pt x="2713634" y="10248"/>
                    </a:lnTo>
                    <a:lnTo>
                      <a:pt x="2713634" y="0"/>
                    </a:lnTo>
                    <a:close/>
                  </a:path>
                  <a:path w="5786120" h="406400">
                    <a:moveTo>
                      <a:pt x="2775077" y="0"/>
                    </a:moveTo>
                    <a:lnTo>
                      <a:pt x="2764840" y="0"/>
                    </a:lnTo>
                    <a:lnTo>
                      <a:pt x="2764840" y="10248"/>
                    </a:lnTo>
                    <a:lnTo>
                      <a:pt x="2775077" y="10248"/>
                    </a:lnTo>
                    <a:lnTo>
                      <a:pt x="2775077" y="0"/>
                    </a:lnTo>
                    <a:close/>
                  </a:path>
                  <a:path w="5786120" h="406400">
                    <a:moveTo>
                      <a:pt x="4311104" y="395592"/>
                    </a:moveTo>
                    <a:lnTo>
                      <a:pt x="4300855" y="395592"/>
                    </a:lnTo>
                    <a:lnTo>
                      <a:pt x="4300855" y="405828"/>
                    </a:lnTo>
                    <a:lnTo>
                      <a:pt x="4311104" y="405828"/>
                    </a:lnTo>
                    <a:lnTo>
                      <a:pt x="4311104" y="395592"/>
                    </a:lnTo>
                    <a:close/>
                  </a:path>
                  <a:path w="5786120" h="406400">
                    <a:moveTo>
                      <a:pt x="4372546" y="395592"/>
                    </a:moveTo>
                    <a:lnTo>
                      <a:pt x="4362297" y="395592"/>
                    </a:lnTo>
                    <a:lnTo>
                      <a:pt x="4362297" y="405828"/>
                    </a:lnTo>
                    <a:lnTo>
                      <a:pt x="4372546" y="405828"/>
                    </a:lnTo>
                    <a:lnTo>
                      <a:pt x="4372546" y="395592"/>
                    </a:lnTo>
                    <a:close/>
                  </a:path>
                  <a:path w="5786120" h="406400">
                    <a:moveTo>
                      <a:pt x="4433976" y="395592"/>
                    </a:moveTo>
                    <a:lnTo>
                      <a:pt x="4423740" y="395592"/>
                    </a:lnTo>
                    <a:lnTo>
                      <a:pt x="4423740" y="405828"/>
                    </a:lnTo>
                    <a:lnTo>
                      <a:pt x="4433976" y="405828"/>
                    </a:lnTo>
                    <a:lnTo>
                      <a:pt x="4433976" y="395592"/>
                    </a:lnTo>
                    <a:close/>
                  </a:path>
                  <a:path w="5786120" h="406400">
                    <a:moveTo>
                      <a:pt x="4495419" y="395592"/>
                    </a:moveTo>
                    <a:lnTo>
                      <a:pt x="4485183" y="395592"/>
                    </a:lnTo>
                    <a:lnTo>
                      <a:pt x="4485183" y="405828"/>
                    </a:lnTo>
                    <a:lnTo>
                      <a:pt x="4495419" y="405828"/>
                    </a:lnTo>
                    <a:lnTo>
                      <a:pt x="4495419" y="395592"/>
                    </a:lnTo>
                    <a:close/>
                  </a:path>
                  <a:path w="5786120" h="406400">
                    <a:moveTo>
                      <a:pt x="4556861" y="395592"/>
                    </a:moveTo>
                    <a:lnTo>
                      <a:pt x="4546625" y="395592"/>
                    </a:lnTo>
                    <a:lnTo>
                      <a:pt x="4546625" y="405828"/>
                    </a:lnTo>
                    <a:lnTo>
                      <a:pt x="4556861" y="405828"/>
                    </a:lnTo>
                    <a:lnTo>
                      <a:pt x="4556861" y="395592"/>
                    </a:lnTo>
                    <a:close/>
                  </a:path>
                  <a:path w="5786120" h="406400">
                    <a:moveTo>
                      <a:pt x="4618304" y="395592"/>
                    </a:moveTo>
                    <a:lnTo>
                      <a:pt x="4608068" y="395592"/>
                    </a:lnTo>
                    <a:lnTo>
                      <a:pt x="4608068" y="405828"/>
                    </a:lnTo>
                    <a:lnTo>
                      <a:pt x="4618304" y="405828"/>
                    </a:lnTo>
                    <a:lnTo>
                      <a:pt x="4618304" y="395592"/>
                    </a:lnTo>
                    <a:close/>
                  </a:path>
                  <a:path w="5786120" h="406400">
                    <a:moveTo>
                      <a:pt x="4679747" y="395592"/>
                    </a:moveTo>
                    <a:lnTo>
                      <a:pt x="4669510" y="395592"/>
                    </a:lnTo>
                    <a:lnTo>
                      <a:pt x="4669510" y="405828"/>
                    </a:lnTo>
                    <a:lnTo>
                      <a:pt x="4679747" y="405828"/>
                    </a:lnTo>
                    <a:lnTo>
                      <a:pt x="4679747" y="395592"/>
                    </a:lnTo>
                    <a:close/>
                  </a:path>
                  <a:path w="5786120" h="406400">
                    <a:moveTo>
                      <a:pt x="4741189" y="395592"/>
                    </a:moveTo>
                    <a:lnTo>
                      <a:pt x="4730940" y="395592"/>
                    </a:lnTo>
                    <a:lnTo>
                      <a:pt x="4730940" y="405828"/>
                    </a:lnTo>
                    <a:lnTo>
                      <a:pt x="4741189" y="405828"/>
                    </a:lnTo>
                    <a:lnTo>
                      <a:pt x="4741189" y="395592"/>
                    </a:lnTo>
                    <a:close/>
                  </a:path>
                  <a:path w="5786120" h="406400">
                    <a:moveTo>
                      <a:pt x="4802632" y="395592"/>
                    </a:moveTo>
                    <a:lnTo>
                      <a:pt x="4792383" y="395592"/>
                    </a:lnTo>
                    <a:lnTo>
                      <a:pt x="4792383" y="405828"/>
                    </a:lnTo>
                    <a:lnTo>
                      <a:pt x="4802632" y="405828"/>
                    </a:lnTo>
                    <a:lnTo>
                      <a:pt x="4802632" y="395592"/>
                    </a:lnTo>
                    <a:close/>
                  </a:path>
                  <a:path w="5786120" h="406400">
                    <a:moveTo>
                      <a:pt x="4864062" y="395592"/>
                    </a:moveTo>
                    <a:lnTo>
                      <a:pt x="4853825" y="395592"/>
                    </a:lnTo>
                    <a:lnTo>
                      <a:pt x="4853825" y="405828"/>
                    </a:lnTo>
                    <a:lnTo>
                      <a:pt x="4864062" y="405828"/>
                    </a:lnTo>
                    <a:lnTo>
                      <a:pt x="4864062" y="395592"/>
                    </a:lnTo>
                    <a:close/>
                  </a:path>
                  <a:path w="5786120" h="406400">
                    <a:moveTo>
                      <a:pt x="4925504" y="395592"/>
                    </a:moveTo>
                    <a:lnTo>
                      <a:pt x="4915268" y="395592"/>
                    </a:lnTo>
                    <a:lnTo>
                      <a:pt x="4915268" y="405828"/>
                    </a:lnTo>
                    <a:lnTo>
                      <a:pt x="4925504" y="405828"/>
                    </a:lnTo>
                    <a:lnTo>
                      <a:pt x="4925504" y="395592"/>
                    </a:lnTo>
                    <a:close/>
                  </a:path>
                  <a:path w="5786120" h="406400">
                    <a:moveTo>
                      <a:pt x="4986947" y="395592"/>
                    </a:moveTo>
                    <a:lnTo>
                      <a:pt x="4976711" y="395592"/>
                    </a:lnTo>
                    <a:lnTo>
                      <a:pt x="4976711" y="405828"/>
                    </a:lnTo>
                    <a:lnTo>
                      <a:pt x="4986947" y="405828"/>
                    </a:lnTo>
                    <a:lnTo>
                      <a:pt x="4986947" y="395592"/>
                    </a:lnTo>
                    <a:close/>
                  </a:path>
                  <a:path w="5786120" h="406400">
                    <a:moveTo>
                      <a:pt x="5048389" y="395592"/>
                    </a:moveTo>
                    <a:lnTo>
                      <a:pt x="5038153" y="395592"/>
                    </a:lnTo>
                    <a:lnTo>
                      <a:pt x="5038153" y="405828"/>
                    </a:lnTo>
                    <a:lnTo>
                      <a:pt x="5048389" y="405828"/>
                    </a:lnTo>
                    <a:lnTo>
                      <a:pt x="5048389" y="395592"/>
                    </a:lnTo>
                    <a:close/>
                  </a:path>
                  <a:path w="5786120" h="406400">
                    <a:moveTo>
                      <a:pt x="5109832" y="395592"/>
                    </a:moveTo>
                    <a:lnTo>
                      <a:pt x="5099596" y="395592"/>
                    </a:lnTo>
                    <a:lnTo>
                      <a:pt x="5099596" y="405828"/>
                    </a:lnTo>
                    <a:lnTo>
                      <a:pt x="5109832" y="405828"/>
                    </a:lnTo>
                    <a:lnTo>
                      <a:pt x="5109832" y="395592"/>
                    </a:lnTo>
                    <a:close/>
                  </a:path>
                  <a:path w="5786120" h="406400">
                    <a:moveTo>
                      <a:pt x="5171275" y="395592"/>
                    </a:moveTo>
                    <a:lnTo>
                      <a:pt x="5161026" y="395592"/>
                    </a:lnTo>
                    <a:lnTo>
                      <a:pt x="5161026" y="405828"/>
                    </a:lnTo>
                    <a:lnTo>
                      <a:pt x="5171275" y="405828"/>
                    </a:lnTo>
                    <a:lnTo>
                      <a:pt x="5171275" y="395592"/>
                    </a:lnTo>
                    <a:close/>
                  </a:path>
                  <a:path w="5786120" h="406400">
                    <a:moveTo>
                      <a:pt x="5232717" y="395592"/>
                    </a:moveTo>
                    <a:lnTo>
                      <a:pt x="5222468" y="395592"/>
                    </a:lnTo>
                    <a:lnTo>
                      <a:pt x="5222468" y="405828"/>
                    </a:lnTo>
                    <a:lnTo>
                      <a:pt x="5232717" y="405828"/>
                    </a:lnTo>
                    <a:lnTo>
                      <a:pt x="5232717" y="395592"/>
                    </a:lnTo>
                    <a:close/>
                  </a:path>
                  <a:path w="5786120" h="406400">
                    <a:moveTo>
                      <a:pt x="5294147" y="395592"/>
                    </a:moveTo>
                    <a:lnTo>
                      <a:pt x="5283911" y="395592"/>
                    </a:lnTo>
                    <a:lnTo>
                      <a:pt x="5283911" y="405828"/>
                    </a:lnTo>
                    <a:lnTo>
                      <a:pt x="5294147" y="405828"/>
                    </a:lnTo>
                    <a:lnTo>
                      <a:pt x="5294147" y="395592"/>
                    </a:lnTo>
                    <a:close/>
                  </a:path>
                  <a:path w="5786120" h="406400">
                    <a:moveTo>
                      <a:pt x="5355590" y="395592"/>
                    </a:moveTo>
                    <a:lnTo>
                      <a:pt x="5345354" y="395592"/>
                    </a:lnTo>
                    <a:lnTo>
                      <a:pt x="5345354" y="405828"/>
                    </a:lnTo>
                    <a:lnTo>
                      <a:pt x="5355590" y="405828"/>
                    </a:lnTo>
                    <a:lnTo>
                      <a:pt x="5355590" y="395592"/>
                    </a:lnTo>
                    <a:close/>
                  </a:path>
                  <a:path w="5786120" h="406400">
                    <a:moveTo>
                      <a:pt x="5417032" y="395592"/>
                    </a:moveTo>
                    <a:lnTo>
                      <a:pt x="5406796" y="395592"/>
                    </a:lnTo>
                    <a:lnTo>
                      <a:pt x="5406796" y="405828"/>
                    </a:lnTo>
                    <a:lnTo>
                      <a:pt x="5417032" y="405828"/>
                    </a:lnTo>
                    <a:lnTo>
                      <a:pt x="5417032" y="395592"/>
                    </a:lnTo>
                    <a:close/>
                  </a:path>
                  <a:path w="5786120" h="406400">
                    <a:moveTo>
                      <a:pt x="5478475" y="395592"/>
                    </a:moveTo>
                    <a:lnTo>
                      <a:pt x="5468239" y="395592"/>
                    </a:lnTo>
                    <a:lnTo>
                      <a:pt x="5468239" y="405828"/>
                    </a:lnTo>
                    <a:lnTo>
                      <a:pt x="5478475" y="405828"/>
                    </a:lnTo>
                    <a:lnTo>
                      <a:pt x="5478475" y="395592"/>
                    </a:lnTo>
                    <a:close/>
                  </a:path>
                  <a:path w="5786120" h="406400">
                    <a:moveTo>
                      <a:pt x="5539918" y="395592"/>
                    </a:moveTo>
                    <a:lnTo>
                      <a:pt x="5529681" y="395592"/>
                    </a:lnTo>
                    <a:lnTo>
                      <a:pt x="5529681" y="405828"/>
                    </a:lnTo>
                    <a:lnTo>
                      <a:pt x="5539918" y="405828"/>
                    </a:lnTo>
                    <a:lnTo>
                      <a:pt x="5539918" y="395592"/>
                    </a:lnTo>
                    <a:close/>
                  </a:path>
                  <a:path w="5786120" h="406400">
                    <a:moveTo>
                      <a:pt x="5601360" y="395592"/>
                    </a:moveTo>
                    <a:lnTo>
                      <a:pt x="5591111" y="395592"/>
                    </a:lnTo>
                    <a:lnTo>
                      <a:pt x="5591111" y="405828"/>
                    </a:lnTo>
                    <a:lnTo>
                      <a:pt x="5601360" y="405828"/>
                    </a:lnTo>
                    <a:lnTo>
                      <a:pt x="5601360" y="395592"/>
                    </a:lnTo>
                    <a:close/>
                  </a:path>
                  <a:path w="5786120" h="406400">
                    <a:moveTo>
                      <a:pt x="5662803" y="395592"/>
                    </a:moveTo>
                    <a:lnTo>
                      <a:pt x="5652554" y="395592"/>
                    </a:lnTo>
                    <a:lnTo>
                      <a:pt x="5652554" y="405828"/>
                    </a:lnTo>
                    <a:lnTo>
                      <a:pt x="5662803" y="405828"/>
                    </a:lnTo>
                    <a:lnTo>
                      <a:pt x="5662803" y="395592"/>
                    </a:lnTo>
                    <a:close/>
                  </a:path>
                  <a:path w="5786120" h="406400">
                    <a:moveTo>
                      <a:pt x="5724245" y="395592"/>
                    </a:moveTo>
                    <a:lnTo>
                      <a:pt x="5713996" y="395592"/>
                    </a:lnTo>
                    <a:lnTo>
                      <a:pt x="5713996" y="405828"/>
                    </a:lnTo>
                    <a:lnTo>
                      <a:pt x="5724245" y="405828"/>
                    </a:lnTo>
                    <a:lnTo>
                      <a:pt x="5724245" y="395592"/>
                    </a:lnTo>
                    <a:close/>
                  </a:path>
                  <a:path w="5786120" h="406400">
                    <a:moveTo>
                      <a:pt x="5785675" y="395592"/>
                    </a:moveTo>
                    <a:lnTo>
                      <a:pt x="5775439" y="395592"/>
                    </a:lnTo>
                    <a:lnTo>
                      <a:pt x="5775439" y="405828"/>
                    </a:lnTo>
                    <a:lnTo>
                      <a:pt x="5785675" y="405828"/>
                    </a:lnTo>
                    <a:lnTo>
                      <a:pt x="5785675" y="395592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3" name="object 133"/>
              <p:cNvSpPr/>
              <p:nvPr/>
            </p:nvSpPr>
            <p:spPr>
              <a:xfrm>
                <a:off x="561276" y="2775127"/>
                <a:ext cx="5786120" cy="406400"/>
              </a:xfrm>
              <a:custGeom>
                <a:avLst/>
                <a:gdLst/>
                <a:ahLst/>
                <a:cxnLst/>
                <a:rect l="l" t="t" r="r" b="b"/>
                <a:pathLst>
                  <a:path w="5786120" h="406400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48"/>
                    </a:lnTo>
                    <a:lnTo>
                      <a:pt x="10236" y="10248"/>
                    </a:lnTo>
                    <a:lnTo>
                      <a:pt x="10236" y="0"/>
                    </a:lnTo>
                    <a:close/>
                  </a:path>
                  <a:path w="5786120" h="406400">
                    <a:moveTo>
                      <a:pt x="71678" y="0"/>
                    </a:moveTo>
                    <a:lnTo>
                      <a:pt x="61442" y="0"/>
                    </a:lnTo>
                    <a:lnTo>
                      <a:pt x="61442" y="10248"/>
                    </a:lnTo>
                    <a:lnTo>
                      <a:pt x="71678" y="10248"/>
                    </a:lnTo>
                    <a:lnTo>
                      <a:pt x="71678" y="0"/>
                    </a:lnTo>
                    <a:close/>
                  </a:path>
                  <a:path w="5786120" h="406400">
                    <a:moveTo>
                      <a:pt x="133121" y="0"/>
                    </a:moveTo>
                    <a:lnTo>
                      <a:pt x="122885" y="0"/>
                    </a:lnTo>
                    <a:lnTo>
                      <a:pt x="122885" y="10248"/>
                    </a:lnTo>
                    <a:lnTo>
                      <a:pt x="133121" y="10248"/>
                    </a:lnTo>
                    <a:lnTo>
                      <a:pt x="133121" y="0"/>
                    </a:lnTo>
                    <a:close/>
                  </a:path>
                  <a:path w="5786120" h="406400">
                    <a:moveTo>
                      <a:pt x="194564" y="0"/>
                    </a:moveTo>
                    <a:lnTo>
                      <a:pt x="184327" y="0"/>
                    </a:lnTo>
                    <a:lnTo>
                      <a:pt x="184327" y="10248"/>
                    </a:lnTo>
                    <a:lnTo>
                      <a:pt x="194564" y="10248"/>
                    </a:lnTo>
                    <a:lnTo>
                      <a:pt x="194564" y="0"/>
                    </a:lnTo>
                    <a:close/>
                  </a:path>
                  <a:path w="5786120" h="406400">
                    <a:moveTo>
                      <a:pt x="256006" y="0"/>
                    </a:moveTo>
                    <a:lnTo>
                      <a:pt x="245770" y="0"/>
                    </a:lnTo>
                    <a:lnTo>
                      <a:pt x="245770" y="10248"/>
                    </a:lnTo>
                    <a:lnTo>
                      <a:pt x="256006" y="10248"/>
                    </a:lnTo>
                    <a:lnTo>
                      <a:pt x="256006" y="0"/>
                    </a:lnTo>
                    <a:close/>
                  </a:path>
                  <a:path w="5786120" h="406400">
                    <a:moveTo>
                      <a:pt x="317449" y="0"/>
                    </a:moveTo>
                    <a:lnTo>
                      <a:pt x="307200" y="0"/>
                    </a:lnTo>
                    <a:lnTo>
                      <a:pt x="307200" y="10248"/>
                    </a:lnTo>
                    <a:lnTo>
                      <a:pt x="317449" y="10248"/>
                    </a:lnTo>
                    <a:lnTo>
                      <a:pt x="317449" y="0"/>
                    </a:lnTo>
                    <a:close/>
                  </a:path>
                  <a:path w="5786120" h="406400">
                    <a:moveTo>
                      <a:pt x="378891" y="0"/>
                    </a:moveTo>
                    <a:lnTo>
                      <a:pt x="368642" y="0"/>
                    </a:lnTo>
                    <a:lnTo>
                      <a:pt x="368642" y="10248"/>
                    </a:lnTo>
                    <a:lnTo>
                      <a:pt x="378891" y="10248"/>
                    </a:lnTo>
                    <a:lnTo>
                      <a:pt x="378891" y="0"/>
                    </a:lnTo>
                    <a:close/>
                  </a:path>
                  <a:path w="5786120" h="406400">
                    <a:moveTo>
                      <a:pt x="440321" y="0"/>
                    </a:moveTo>
                    <a:lnTo>
                      <a:pt x="430085" y="0"/>
                    </a:lnTo>
                    <a:lnTo>
                      <a:pt x="430085" y="10248"/>
                    </a:lnTo>
                    <a:lnTo>
                      <a:pt x="440321" y="10248"/>
                    </a:lnTo>
                    <a:lnTo>
                      <a:pt x="440321" y="0"/>
                    </a:lnTo>
                    <a:close/>
                  </a:path>
                  <a:path w="5786120" h="406400">
                    <a:moveTo>
                      <a:pt x="501764" y="0"/>
                    </a:moveTo>
                    <a:lnTo>
                      <a:pt x="491528" y="0"/>
                    </a:lnTo>
                    <a:lnTo>
                      <a:pt x="491528" y="10248"/>
                    </a:lnTo>
                    <a:lnTo>
                      <a:pt x="501764" y="10248"/>
                    </a:lnTo>
                    <a:lnTo>
                      <a:pt x="501764" y="0"/>
                    </a:lnTo>
                    <a:close/>
                  </a:path>
                  <a:path w="5786120" h="406400">
                    <a:moveTo>
                      <a:pt x="563206" y="0"/>
                    </a:moveTo>
                    <a:lnTo>
                      <a:pt x="552970" y="0"/>
                    </a:lnTo>
                    <a:lnTo>
                      <a:pt x="552970" y="10248"/>
                    </a:lnTo>
                    <a:lnTo>
                      <a:pt x="563206" y="10248"/>
                    </a:lnTo>
                    <a:lnTo>
                      <a:pt x="563206" y="0"/>
                    </a:lnTo>
                    <a:close/>
                  </a:path>
                  <a:path w="5786120" h="406400">
                    <a:moveTo>
                      <a:pt x="624649" y="0"/>
                    </a:moveTo>
                    <a:lnTo>
                      <a:pt x="614413" y="0"/>
                    </a:lnTo>
                    <a:lnTo>
                      <a:pt x="614413" y="10248"/>
                    </a:lnTo>
                    <a:lnTo>
                      <a:pt x="624649" y="10248"/>
                    </a:lnTo>
                    <a:lnTo>
                      <a:pt x="624649" y="0"/>
                    </a:lnTo>
                    <a:close/>
                  </a:path>
                  <a:path w="5786120" h="406400">
                    <a:moveTo>
                      <a:pt x="686092" y="0"/>
                    </a:moveTo>
                    <a:lnTo>
                      <a:pt x="675855" y="0"/>
                    </a:lnTo>
                    <a:lnTo>
                      <a:pt x="675855" y="10248"/>
                    </a:lnTo>
                    <a:lnTo>
                      <a:pt x="686092" y="10248"/>
                    </a:lnTo>
                    <a:lnTo>
                      <a:pt x="686092" y="0"/>
                    </a:lnTo>
                    <a:close/>
                  </a:path>
                  <a:path w="5786120" h="406400">
                    <a:moveTo>
                      <a:pt x="747534" y="0"/>
                    </a:moveTo>
                    <a:lnTo>
                      <a:pt x="737285" y="0"/>
                    </a:lnTo>
                    <a:lnTo>
                      <a:pt x="737285" y="10248"/>
                    </a:lnTo>
                    <a:lnTo>
                      <a:pt x="747534" y="10248"/>
                    </a:lnTo>
                    <a:lnTo>
                      <a:pt x="747534" y="0"/>
                    </a:lnTo>
                    <a:close/>
                  </a:path>
                  <a:path w="5786120" h="406400">
                    <a:moveTo>
                      <a:pt x="808977" y="0"/>
                    </a:moveTo>
                    <a:lnTo>
                      <a:pt x="798728" y="0"/>
                    </a:lnTo>
                    <a:lnTo>
                      <a:pt x="798728" y="10248"/>
                    </a:lnTo>
                    <a:lnTo>
                      <a:pt x="808977" y="10248"/>
                    </a:lnTo>
                    <a:lnTo>
                      <a:pt x="808977" y="0"/>
                    </a:lnTo>
                    <a:close/>
                  </a:path>
                  <a:path w="5786120" h="406400">
                    <a:moveTo>
                      <a:pt x="870407" y="0"/>
                    </a:moveTo>
                    <a:lnTo>
                      <a:pt x="860171" y="0"/>
                    </a:lnTo>
                    <a:lnTo>
                      <a:pt x="860171" y="10248"/>
                    </a:lnTo>
                    <a:lnTo>
                      <a:pt x="870407" y="10248"/>
                    </a:lnTo>
                    <a:lnTo>
                      <a:pt x="870407" y="0"/>
                    </a:lnTo>
                    <a:close/>
                  </a:path>
                  <a:path w="5786120" h="406400">
                    <a:moveTo>
                      <a:pt x="931849" y="0"/>
                    </a:moveTo>
                    <a:lnTo>
                      <a:pt x="921613" y="0"/>
                    </a:lnTo>
                    <a:lnTo>
                      <a:pt x="921613" y="10248"/>
                    </a:lnTo>
                    <a:lnTo>
                      <a:pt x="931849" y="10248"/>
                    </a:lnTo>
                    <a:lnTo>
                      <a:pt x="931849" y="0"/>
                    </a:lnTo>
                    <a:close/>
                  </a:path>
                  <a:path w="5786120" h="406400">
                    <a:moveTo>
                      <a:pt x="993292" y="0"/>
                    </a:moveTo>
                    <a:lnTo>
                      <a:pt x="983056" y="0"/>
                    </a:lnTo>
                    <a:lnTo>
                      <a:pt x="983056" y="10248"/>
                    </a:lnTo>
                    <a:lnTo>
                      <a:pt x="993292" y="10248"/>
                    </a:lnTo>
                    <a:lnTo>
                      <a:pt x="993292" y="0"/>
                    </a:lnTo>
                    <a:close/>
                  </a:path>
                  <a:path w="5786120" h="406400">
                    <a:moveTo>
                      <a:pt x="1054735" y="0"/>
                    </a:moveTo>
                    <a:lnTo>
                      <a:pt x="1044498" y="0"/>
                    </a:lnTo>
                    <a:lnTo>
                      <a:pt x="1044498" y="10248"/>
                    </a:lnTo>
                    <a:lnTo>
                      <a:pt x="1054735" y="10248"/>
                    </a:lnTo>
                    <a:lnTo>
                      <a:pt x="1054735" y="0"/>
                    </a:lnTo>
                    <a:close/>
                  </a:path>
                  <a:path w="5786120" h="406400">
                    <a:moveTo>
                      <a:pt x="1116177" y="0"/>
                    </a:moveTo>
                    <a:lnTo>
                      <a:pt x="1105941" y="0"/>
                    </a:lnTo>
                    <a:lnTo>
                      <a:pt x="1105941" y="10248"/>
                    </a:lnTo>
                    <a:lnTo>
                      <a:pt x="1116177" y="10248"/>
                    </a:lnTo>
                    <a:lnTo>
                      <a:pt x="1116177" y="0"/>
                    </a:lnTo>
                    <a:close/>
                  </a:path>
                  <a:path w="5786120" h="406400">
                    <a:moveTo>
                      <a:pt x="1177620" y="0"/>
                    </a:moveTo>
                    <a:lnTo>
                      <a:pt x="1167371" y="0"/>
                    </a:lnTo>
                    <a:lnTo>
                      <a:pt x="1167371" y="10248"/>
                    </a:lnTo>
                    <a:lnTo>
                      <a:pt x="1177620" y="10248"/>
                    </a:lnTo>
                    <a:lnTo>
                      <a:pt x="1177620" y="0"/>
                    </a:lnTo>
                    <a:close/>
                  </a:path>
                  <a:path w="5786120" h="406400">
                    <a:moveTo>
                      <a:pt x="1239062" y="0"/>
                    </a:moveTo>
                    <a:lnTo>
                      <a:pt x="1228813" y="0"/>
                    </a:lnTo>
                    <a:lnTo>
                      <a:pt x="1228813" y="10248"/>
                    </a:lnTo>
                    <a:lnTo>
                      <a:pt x="1239062" y="10248"/>
                    </a:lnTo>
                    <a:lnTo>
                      <a:pt x="1239062" y="0"/>
                    </a:lnTo>
                    <a:close/>
                  </a:path>
                  <a:path w="5786120" h="406400">
                    <a:moveTo>
                      <a:pt x="2775077" y="395579"/>
                    </a:moveTo>
                    <a:lnTo>
                      <a:pt x="2764840" y="395579"/>
                    </a:lnTo>
                    <a:lnTo>
                      <a:pt x="2764840" y="405828"/>
                    </a:lnTo>
                    <a:lnTo>
                      <a:pt x="2775077" y="405828"/>
                    </a:lnTo>
                    <a:lnTo>
                      <a:pt x="2775077" y="395579"/>
                    </a:lnTo>
                    <a:close/>
                  </a:path>
                  <a:path w="5786120" h="406400">
                    <a:moveTo>
                      <a:pt x="2836519" y="395579"/>
                    </a:moveTo>
                    <a:lnTo>
                      <a:pt x="2826283" y="395579"/>
                    </a:lnTo>
                    <a:lnTo>
                      <a:pt x="2826283" y="405828"/>
                    </a:lnTo>
                    <a:lnTo>
                      <a:pt x="2836519" y="405828"/>
                    </a:lnTo>
                    <a:lnTo>
                      <a:pt x="2836519" y="395579"/>
                    </a:lnTo>
                    <a:close/>
                  </a:path>
                  <a:path w="5786120" h="406400">
                    <a:moveTo>
                      <a:pt x="2897962" y="395579"/>
                    </a:moveTo>
                    <a:lnTo>
                      <a:pt x="2887726" y="395579"/>
                    </a:lnTo>
                    <a:lnTo>
                      <a:pt x="2887726" y="405828"/>
                    </a:lnTo>
                    <a:lnTo>
                      <a:pt x="2897962" y="405828"/>
                    </a:lnTo>
                    <a:lnTo>
                      <a:pt x="2897962" y="395579"/>
                    </a:lnTo>
                    <a:close/>
                  </a:path>
                  <a:path w="5786120" h="406400">
                    <a:moveTo>
                      <a:pt x="2959404" y="395579"/>
                    </a:moveTo>
                    <a:lnTo>
                      <a:pt x="2949156" y="395579"/>
                    </a:lnTo>
                    <a:lnTo>
                      <a:pt x="2949156" y="405828"/>
                    </a:lnTo>
                    <a:lnTo>
                      <a:pt x="2959404" y="405828"/>
                    </a:lnTo>
                    <a:lnTo>
                      <a:pt x="2959404" y="395579"/>
                    </a:lnTo>
                    <a:close/>
                  </a:path>
                  <a:path w="5786120" h="406400">
                    <a:moveTo>
                      <a:pt x="3020847" y="395579"/>
                    </a:moveTo>
                    <a:lnTo>
                      <a:pt x="3010598" y="395579"/>
                    </a:lnTo>
                    <a:lnTo>
                      <a:pt x="3010598" y="405828"/>
                    </a:lnTo>
                    <a:lnTo>
                      <a:pt x="3020847" y="405828"/>
                    </a:lnTo>
                    <a:lnTo>
                      <a:pt x="3020847" y="395579"/>
                    </a:lnTo>
                    <a:close/>
                  </a:path>
                  <a:path w="5786120" h="406400">
                    <a:moveTo>
                      <a:pt x="3082277" y="395579"/>
                    </a:moveTo>
                    <a:lnTo>
                      <a:pt x="3072041" y="395579"/>
                    </a:lnTo>
                    <a:lnTo>
                      <a:pt x="3072041" y="405828"/>
                    </a:lnTo>
                    <a:lnTo>
                      <a:pt x="3082277" y="405828"/>
                    </a:lnTo>
                    <a:lnTo>
                      <a:pt x="3082277" y="395579"/>
                    </a:lnTo>
                    <a:close/>
                  </a:path>
                  <a:path w="5786120" h="406400">
                    <a:moveTo>
                      <a:pt x="3143720" y="395579"/>
                    </a:moveTo>
                    <a:lnTo>
                      <a:pt x="3133483" y="395579"/>
                    </a:lnTo>
                    <a:lnTo>
                      <a:pt x="3133483" y="405828"/>
                    </a:lnTo>
                    <a:lnTo>
                      <a:pt x="3143720" y="405828"/>
                    </a:lnTo>
                    <a:lnTo>
                      <a:pt x="3143720" y="395579"/>
                    </a:lnTo>
                    <a:close/>
                  </a:path>
                  <a:path w="5786120" h="406400">
                    <a:moveTo>
                      <a:pt x="3205162" y="395579"/>
                    </a:moveTo>
                    <a:lnTo>
                      <a:pt x="3194926" y="395579"/>
                    </a:lnTo>
                    <a:lnTo>
                      <a:pt x="3194926" y="405828"/>
                    </a:lnTo>
                    <a:lnTo>
                      <a:pt x="3205162" y="405828"/>
                    </a:lnTo>
                    <a:lnTo>
                      <a:pt x="3205162" y="395579"/>
                    </a:lnTo>
                    <a:close/>
                  </a:path>
                  <a:path w="5786120" h="406400">
                    <a:moveTo>
                      <a:pt x="3266605" y="395579"/>
                    </a:moveTo>
                    <a:lnTo>
                      <a:pt x="3256369" y="395579"/>
                    </a:lnTo>
                    <a:lnTo>
                      <a:pt x="3256369" y="405828"/>
                    </a:lnTo>
                    <a:lnTo>
                      <a:pt x="3266605" y="405828"/>
                    </a:lnTo>
                    <a:lnTo>
                      <a:pt x="3266605" y="395579"/>
                    </a:lnTo>
                    <a:close/>
                  </a:path>
                  <a:path w="5786120" h="406400">
                    <a:moveTo>
                      <a:pt x="3328047" y="395579"/>
                    </a:moveTo>
                    <a:lnTo>
                      <a:pt x="3317811" y="395579"/>
                    </a:lnTo>
                    <a:lnTo>
                      <a:pt x="3317811" y="405828"/>
                    </a:lnTo>
                    <a:lnTo>
                      <a:pt x="3328047" y="405828"/>
                    </a:lnTo>
                    <a:lnTo>
                      <a:pt x="3328047" y="395579"/>
                    </a:lnTo>
                    <a:close/>
                  </a:path>
                  <a:path w="5786120" h="406400">
                    <a:moveTo>
                      <a:pt x="3389490" y="395579"/>
                    </a:moveTo>
                    <a:lnTo>
                      <a:pt x="3379241" y="395579"/>
                    </a:lnTo>
                    <a:lnTo>
                      <a:pt x="3379241" y="405828"/>
                    </a:lnTo>
                    <a:lnTo>
                      <a:pt x="3389490" y="405828"/>
                    </a:lnTo>
                    <a:lnTo>
                      <a:pt x="3389490" y="395579"/>
                    </a:lnTo>
                    <a:close/>
                  </a:path>
                  <a:path w="5786120" h="406400">
                    <a:moveTo>
                      <a:pt x="3450933" y="395579"/>
                    </a:moveTo>
                    <a:lnTo>
                      <a:pt x="3440684" y="395579"/>
                    </a:lnTo>
                    <a:lnTo>
                      <a:pt x="3440684" y="405828"/>
                    </a:lnTo>
                    <a:lnTo>
                      <a:pt x="3450933" y="405828"/>
                    </a:lnTo>
                    <a:lnTo>
                      <a:pt x="3450933" y="395579"/>
                    </a:lnTo>
                    <a:close/>
                  </a:path>
                  <a:path w="5786120" h="406400">
                    <a:moveTo>
                      <a:pt x="3512375" y="395579"/>
                    </a:moveTo>
                    <a:lnTo>
                      <a:pt x="3502126" y="395579"/>
                    </a:lnTo>
                    <a:lnTo>
                      <a:pt x="3502126" y="405828"/>
                    </a:lnTo>
                    <a:lnTo>
                      <a:pt x="3512375" y="405828"/>
                    </a:lnTo>
                    <a:lnTo>
                      <a:pt x="3512375" y="395579"/>
                    </a:lnTo>
                    <a:close/>
                  </a:path>
                  <a:path w="5786120" h="406400">
                    <a:moveTo>
                      <a:pt x="3573805" y="395579"/>
                    </a:moveTo>
                    <a:lnTo>
                      <a:pt x="3563569" y="395579"/>
                    </a:lnTo>
                    <a:lnTo>
                      <a:pt x="3563569" y="405828"/>
                    </a:lnTo>
                    <a:lnTo>
                      <a:pt x="3573805" y="405828"/>
                    </a:lnTo>
                    <a:lnTo>
                      <a:pt x="3573805" y="395579"/>
                    </a:lnTo>
                    <a:close/>
                  </a:path>
                  <a:path w="5786120" h="406400">
                    <a:moveTo>
                      <a:pt x="3635248" y="395579"/>
                    </a:moveTo>
                    <a:lnTo>
                      <a:pt x="3625011" y="395579"/>
                    </a:lnTo>
                    <a:lnTo>
                      <a:pt x="3625011" y="405828"/>
                    </a:lnTo>
                    <a:lnTo>
                      <a:pt x="3635248" y="405828"/>
                    </a:lnTo>
                    <a:lnTo>
                      <a:pt x="3635248" y="395579"/>
                    </a:lnTo>
                    <a:close/>
                  </a:path>
                  <a:path w="5786120" h="406400">
                    <a:moveTo>
                      <a:pt x="3696690" y="395579"/>
                    </a:moveTo>
                    <a:lnTo>
                      <a:pt x="3686454" y="395579"/>
                    </a:lnTo>
                    <a:lnTo>
                      <a:pt x="3686454" y="405828"/>
                    </a:lnTo>
                    <a:lnTo>
                      <a:pt x="3696690" y="405828"/>
                    </a:lnTo>
                    <a:lnTo>
                      <a:pt x="3696690" y="395579"/>
                    </a:lnTo>
                    <a:close/>
                  </a:path>
                  <a:path w="5786120" h="406400">
                    <a:moveTo>
                      <a:pt x="3758133" y="395579"/>
                    </a:moveTo>
                    <a:lnTo>
                      <a:pt x="3747897" y="395579"/>
                    </a:lnTo>
                    <a:lnTo>
                      <a:pt x="3747897" y="405828"/>
                    </a:lnTo>
                    <a:lnTo>
                      <a:pt x="3758133" y="405828"/>
                    </a:lnTo>
                    <a:lnTo>
                      <a:pt x="3758133" y="395579"/>
                    </a:lnTo>
                    <a:close/>
                  </a:path>
                  <a:path w="5786120" h="406400">
                    <a:moveTo>
                      <a:pt x="3819575" y="395579"/>
                    </a:moveTo>
                    <a:lnTo>
                      <a:pt x="3809339" y="395579"/>
                    </a:lnTo>
                    <a:lnTo>
                      <a:pt x="3809339" y="405828"/>
                    </a:lnTo>
                    <a:lnTo>
                      <a:pt x="3819575" y="405828"/>
                    </a:lnTo>
                    <a:lnTo>
                      <a:pt x="3819575" y="395579"/>
                    </a:lnTo>
                    <a:close/>
                  </a:path>
                  <a:path w="5786120" h="406400">
                    <a:moveTo>
                      <a:pt x="3881018" y="395579"/>
                    </a:moveTo>
                    <a:lnTo>
                      <a:pt x="3870769" y="395579"/>
                    </a:lnTo>
                    <a:lnTo>
                      <a:pt x="3870769" y="405828"/>
                    </a:lnTo>
                    <a:lnTo>
                      <a:pt x="3881018" y="405828"/>
                    </a:lnTo>
                    <a:lnTo>
                      <a:pt x="3881018" y="395579"/>
                    </a:lnTo>
                    <a:close/>
                  </a:path>
                  <a:path w="5786120" h="406400">
                    <a:moveTo>
                      <a:pt x="3942461" y="395579"/>
                    </a:moveTo>
                    <a:lnTo>
                      <a:pt x="3932212" y="395579"/>
                    </a:lnTo>
                    <a:lnTo>
                      <a:pt x="3932212" y="405828"/>
                    </a:lnTo>
                    <a:lnTo>
                      <a:pt x="3942461" y="405828"/>
                    </a:lnTo>
                    <a:lnTo>
                      <a:pt x="3942461" y="395579"/>
                    </a:lnTo>
                    <a:close/>
                  </a:path>
                  <a:path w="5786120" h="406400">
                    <a:moveTo>
                      <a:pt x="4003891" y="395579"/>
                    </a:moveTo>
                    <a:lnTo>
                      <a:pt x="3993654" y="395579"/>
                    </a:lnTo>
                    <a:lnTo>
                      <a:pt x="3993654" y="405828"/>
                    </a:lnTo>
                    <a:lnTo>
                      <a:pt x="4003891" y="405828"/>
                    </a:lnTo>
                    <a:lnTo>
                      <a:pt x="4003891" y="395579"/>
                    </a:lnTo>
                    <a:close/>
                  </a:path>
                  <a:path w="5786120" h="406400">
                    <a:moveTo>
                      <a:pt x="4065333" y="395579"/>
                    </a:moveTo>
                    <a:lnTo>
                      <a:pt x="4055097" y="395579"/>
                    </a:lnTo>
                    <a:lnTo>
                      <a:pt x="4055097" y="405828"/>
                    </a:lnTo>
                    <a:lnTo>
                      <a:pt x="4065333" y="405828"/>
                    </a:lnTo>
                    <a:lnTo>
                      <a:pt x="4065333" y="395579"/>
                    </a:lnTo>
                    <a:close/>
                  </a:path>
                  <a:path w="5786120" h="406400">
                    <a:moveTo>
                      <a:pt x="4126776" y="395579"/>
                    </a:moveTo>
                    <a:lnTo>
                      <a:pt x="4116540" y="395579"/>
                    </a:lnTo>
                    <a:lnTo>
                      <a:pt x="4116540" y="405828"/>
                    </a:lnTo>
                    <a:lnTo>
                      <a:pt x="4126776" y="405828"/>
                    </a:lnTo>
                    <a:lnTo>
                      <a:pt x="4126776" y="395579"/>
                    </a:lnTo>
                    <a:close/>
                  </a:path>
                  <a:path w="5786120" h="406400">
                    <a:moveTo>
                      <a:pt x="4188218" y="395579"/>
                    </a:moveTo>
                    <a:lnTo>
                      <a:pt x="4177982" y="395579"/>
                    </a:lnTo>
                    <a:lnTo>
                      <a:pt x="4177982" y="405828"/>
                    </a:lnTo>
                    <a:lnTo>
                      <a:pt x="4188218" y="405828"/>
                    </a:lnTo>
                    <a:lnTo>
                      <a:pt x="4188218" y="395579"/>
                    </a:lnTo>
                    <a:close/>
                  </a:path>
                  <a:path w="5786120" h="406400">
                    <a:moveTo>
                      <a:pt x="4249661" y="395579"/>
                    </a:moveTo>
                    <a:lnTo>
                      <a:pt x="4239425" y="395579"/>
                    </a:lnTo>
                    <a:lnTo>
                      <a:pt x="4239425" y="405828"/>
                    </a:lnTo>
                    <a:lnTo>
                      <a:pt x="4249661" y="405828"/>
                    </a:lnTo>
                    <a:lnTo>
                      <a:pt x="4249661" y="395579"/>
                    </a:lnTo>
                    <a:close/>
                  </a:path>
                  <a:path w="5786120" h="406400">
                    <a:moveTo>
                      <a:pt x="4311104" y="395579"/>
                    </a:moveTo>
                    <a:lnTo>
                      <a:pt x="4300855" y="395579"/>
                    </a:lnTo>
                    <a:lnTo>
                      <a:pt x="4300855" y="405828"/>
                    </a:lnTo>
                    <a:lnTo>
                      <a:pt x="4311104" y="405828"/>
                    </a:lnTo>
                    <a:lnTo>
                      <a:pt x="4311104" y="395579"/>
                    </a:lnTo>
                    <a:close/>
                  </a:path>
                  <a:path w="5786120" h="406400">
                    <a:moveTo>
                      <a:pt x="4372546" y="395579"/>
                    </a:moveTo>
                    <a:lnTo>
                      <a:pt x="4362297" y="395579"/>
                    </a:lnTo>
                    <a:lnTo>
                      <a:pt x="4362297" y="405828"/>
                    </a:lnTo>
                    <a:lnTo>
                      <a:pt x="4372546" y="405828"/>
                    </a:lnTo>
                    <a:lnTo>
                      <a:pt x="4372546" y="395579"/>
                    </a:lnTo>
                    <a:close/>
                  </a:path>
                  <a:path w="5786120" h="406400">
                    <a:moveTo>
                      <a:pt x="4433976" y="395579"/>
                    </a:moveTo>
                    <a:lnTo>
                      <a:pt x="4423740" y="395579"/>
                    </a:lnTo>
                    <a:lnTo>
                      <a:pt x="4423740" y="405828"/>
                    </a:lnTo>
                    <a:lnTo>
                      <a:pt x="4433976" y="405828"/>
                    </a:lnTo>
                    <a:lnTo>
                      <a:pt x="4433976" y="395579"/>
                    </a:lnTo>
                    <a:close/>
                  </a:path>
                  <a:path w="5786120" h="406400">
                    <a:moveTo>
                      <a:pt x="4495419" y="395579"/>
                    </a:moveTo>
                    <a:lnTo>
                      <a:pt x="4485183" y="395579"/>
                    </a:lnTo>
                    <a:lnTo>
                      <a:pt x="4485183" y="405828"/>
                    </a:lnTo>
                    <a:lnTo>
                      <a:pt x="4495419" y="405828"/>
                    </a:lnTo>
                    <a:lnTo>
                      <a:pt x="4495419" y="395579"/>
                    </a:lnTo>
                    <a:close/>
                  </a:path>
                  <a:path w="5786120" h="406400">
                    <a:moveTo>
                      <a:pt x="4556861" y="395579"/>
                    </a:moveTo>
                    <a:lnTo>
                      <a:pt x="4546625" y="395579"/>
                    </a:lnTo>
                    <a:lnTo>
                      <a:pt x="4546625" y="405828"/>
                    </a:lnTo>
                    <a:lnTo>
                      <a:pt x="4556861" y="405828"/>
                    </a:lnTo>
                    <a:lnTo>
                      <a:pt x="4556861" y="395579"/>
                    </a:lnTo>
                    <a:close/>
                  </a:path>
                  <a:path w="5786120" h="406400">
                    <a:moveTo>
                      <a:pt x="4618304" y="395579"/>
                    </a:moveTo>
                    <a:lnTo>
                      <a:pt x="4608068" y="395579"/>
                    </a:lnTo>
                    <a:lnTo>
                      <a:pt x="4608068" y="405828"/>
                    </a:lnTo>
                    <a:lnTo>
                      <a:pt x="4618304" y="405828"/>
                    </a:lnTo>
                    <a:lnTo>
                      <a:pt x="4618304" y="395579"/>
                    </a:lnTo>
                    <a:close/>
                  </a:path>
                  <a:path w="5786120" h="406400">
                    <a:moveTo>
                      <a:pt x="4679747" y="395579"/>
                    </a:moveTo>
                    <a:lnTo>
                      <a:pt x="4669510" y="395579"/>
                    </a:lnTo>
                    <a:lnTo>
                      <a:pt x="4669510" y="405828"/>
                    </a:lnTo>
                    <a:lnTo>
                      <a:pt x="4679747" y="405828"/>
                    </a:lnTo>
                    <a:lnTo>
                      <a:pt x="4679747" y="395579"/>
                    </a:lnTo>
                    <a:close/>
                  </a:path>
                  <a:path w="5786120" h="406400">
                    <a:moveTo>
                      <a:pt x="4741189" y="395579"/>
                    </a:moveTo>
                    <a:lnTo>
                      <a:pt x="4730940" y="395579"/>
                    </a:lnTo>
                    <a:lnTo>
                      <a:pt x="4730940" y="405828"/>
                    </a:lnTo>
                    <a:lnTo>
                      <a:pt x="4741189" y="405828"/>
                    </a:lnTo>
                    <a:lnTo>
                      <a:pt x="4741189" y="395579"/>
                    </a:lnTo>
                    <a:close/>
                  </a:path>
                  <a:path w="5786120" h="406400">
                    <a:moveTo>
                      <a:pt x="4802632" y="395579"/>
                    </a:moveTo>
                    <a:lnTo>
                      <a:pt x="4792383" y="395579"/>
                    </a:lnTo>
                    <a:lnTo>
                      <a:pt x="4792383" y="405828"/>
                    </a:lnTo>
                    <a:lnTo>
                      <a:pt x="4802632" y="405828"/>
                    </a:lnTo>
                    <a:lnTo>
                      <a:pt x="4802632" y="395579"/>
                    </a:lnTo>
                    <a:close/>
                  </a:path>
                  <a:path w="5786120" h="406400">
                    <a:moveTo>
                      <a:pt x="4864062" y="395579"/>
                    </a:moveTo>
                    <a:lnTo>
                      <a:pt x="4853825" y="395579"/>
                    </a:lnTo>
                    <a:lnTo>
                      <a:pt x="4853825" y="405828"/>
                    </a:lnTo>
                    <a:lnTo>
                      <a:pt x="4864062" y="405828"/>
                    </a:lnTo>
                    <a:lnTo>
                      <a:pt x="4864062" y="395579"/>
                    </a:lnTo>
                    <a:close/>
                  </a:path>
                  <a:path w="5786120" h="406400">
                    <a:moveTo>
                      <a:pt x="4925504" y="395579"/>
                    </a:moveTo>
                    <a:lnTo>
                      <a:pt x="4915268" y="395579"/>
                    </a:lnTo>
                    <a:lnTo>
                      <a:pt x="4915268" y="405828"/>
                    </a:lnTo>
                    <a:lnTo>
                      <a:pt x="4925504" y="405828"/>
                    </a:lnTo>
                    <a:lnTo>
                      <a:pt x="4925504" y="395579"/>
                    </a:lnTo>
                    <a:close/>
                  </a:path>
                  <a:path w="5786120" h="406400">
                    <a:moveTo>
                      <a:pt x="4986947" y="395579"/>
                    </a:moveTo>
                    <a:lnTo>
                      <a:pt x="4976711" y="395579"/>
                    </a:lnTo>
                    <a:lnTo>
                      <a:pt x="4976711" y="405828"/>
                    </a:lnTo>
                    <a:lnTo>
                      <a:pt x="4986947" y="405828"/>
                    </a:lnTo>
                    <a:lnTo>
                      <a:pt x="4986947" y="395579"/>
                    </a:lnTo>
                    <a:close/>
                  </a:path>
                  <a:path w="5786120" h="406400">
                    <a:moveTo>
                      <a:pt x="5048389" y="395579"/>
                    </a:moveTo>
                    <a:lnTo>
                      <a:pt x="5038153" y="395579"/>
                    </a:lnTo>
                    <a:lnTo>
                      <a:pt x="5038153" y="405828"/>
                    </a:lnTo>
                    <a:lnTo>
                      <a:pt x="5048389" y="405828"/>
                    </a:lnTo>
                    <a:lnTo>
                      <a:pt x="5048389" y="395579"/>
                    </a:lnTo>
                    <a:close/>
                  </a:path>
                  <a:path w="5786120" h="406400">
                    <a:moveTo>
                      <a:pt x="5109832" y="395579"/>
                    </a:moveTo>
                    <a:lnTo>
                      <a:pt x="5099596" y="395579"/>
                    </a:lnTo>
                    <a:lnTo>
                      <a:pt x="5099596" y="405828"/>
                    </a:lnTo>
                    <a:lnTo>
                      <a:pt x="5109832" y="405828"/>
                    </a:lnTo>
                    <a:lnTo>
                      <a:pt x="5109832" y="395579"/>
                    </a:lnTo>
                    <a:close/>
                  </a:path>
                  <a:path w="5786120" h="406400">
                    <a:moveTo>
                      <a:pt x="5171275" y="395579"/>
                    </a:moveTo>
                    <a:lnTo>
                      <a:pt x="5161026" y="395579"/>
                    </a:lnTo>
                    <a:lnTo>
                      <a:pt x="5161026" y="405828"/>
                    </a:lnTo>
                    <a:lnTo>
                      <a:pt x="5171275" y="405828"/>
                    </a:lnTo>
                    <a:lnTo>
                      <a:pt x="5171275" y="395579"/>
                    </a:lnTo>
                    <a:close/>
                  </a:path>
                  <a:path w="5786120" h="406400">
                    <a:moveTo>
                      <a:pt x="5232717" y="395579"/>
                    </a:moveTo>
                    <a:lnTo>
                      <a:pt x="5222468" y="395579"/>
                    </a:lnTo>
                    <a:lnTo>
                      <a:pt x="5222468" y="405828"/>
                    </a:lnTo>
                    <a:lnTo>
                      <a:pt x="5232717" y="405828"/>
                    </a:lnTo>
                    <a:lnTo>
                      <a:pt x="5232717" y="395579"/>
                    </a:lnTo>
                    <a:close/>
                  </a:path>
                  <a:path w="5786120" h="406400">
                    <a:moveTo>
                      <a:pt x="5294147" y="395579"/>
                    </a:moveTo>
                    <a:lnTo>
                      <a:pt x="5283911" y="395579"/>
                    </a:lnTo>
                    <a:lnTo>
                      <a:pt x="5283911" y="405828"/>
                    </a:lnTo>
                    <a:lnTo>
                      <a:pt x="5294147" y="405828"/>
                    </a:lnTo>
                    <a:lnTo>
                      <a:pt x="5294147" y="395579"/>
                    </a:lnTo>
                    <a:close/>
                  </a:path>
                  <a:path w="5786120" h="406400">
                    <a:moveTo>
                      <a:pt x="5355590" y="395579"/>
                    </a:moveTo>
                    <a:lnTo>
                      <a:pt x="5345354" y="395579"/>
                    </a:lnTo>
                    <a:lnTo>
                      <a:pt x="5345354" y="405828"/>
                    </a:lnTo>
                    <a:lnTo>
                      <a:pt x="5355590" y="405828"/>
                    </a:lnTo>
                    <a:lnTo>
                      <a:pt x="5355590" y="395579"/>
                    </a:lnTo>
                    <a:close/>
                  </a:path>
                  <a:path w="5786120" h="406400">
                    <a:moveTo>
                      <a:pt x="5417032" y="395579"/>
                    </a:moveTo>
                    <a:lnTo>
                      <a:pt x="5406796" y="395579"/>
                    </a:lnTo>
                    <a:lnTo>
                      <a:pt x="5406796" y="405828"/>
                    </a:lnTo>
                    <a:lnTo>
                      <a:pt x="5417032" y="405828"/>
                    </a:lnTo>
                    <a:lnTo>
                      <a:pt x="5417032" y="395579"/>
                    </a:lnTo>
                    <a:close/>
                  </a:path>
                  <a:path w="5786120" h="406400">
                    <a:moveTo>
                      <a:pt x="5478475" y="395579"/>
                    </a:moveTo>
                    <a:lnTo>
                      <a:pt x="5468239" y="395579"/>
                    </a:lnTo>
                    <a:lnTo>
                      <a:pt x="5468239" y="405828"/>
                    </a:lnTo>
                    <a:lnTo>
                      <a:pt x="5478475" y="405828"/>
                    </a:lnTo>
                    <a:lnTo>
                      <a:pt x="5478475" y="395579"/>
                    </a:lnTo>
                    <a:close/>
                  </a:path>
                  <a:path w="5786120" h="406400">
                    <a:moveTo>
                      <a:pt x="5539918" y="395579"/>
                    </a:moveTo>
                    <a:lnTo>
                      <a:pt x="5529681" y="395579"/>
                    </a:lnTo>
                    <a:lnTo>
                      <a:pt x="5529681" y="405828"/>
                    </a:lnTo>
                    <a:lnTo>
                      <a:pt x="5539918" y="405828"/>
                    </a:lnTo>
                    <a:lnTo>
                      <a:pt x="5539918" y="395579"/>
                    </a:lnTo>
                    <a:close/>
                  </a:path>
                  <a:path w="5786120" h="406400">
                    <a:moveTo>
                      <a:pt x="5601360" y="395579"/>
                    </a:moveTo>
                    <a:lnTo>
                      <a:pt x="5591111" y="395579"/>
                    </a:lnTo>
                    <a:lnTo>
                      <a:pt x="5591111" y="405828"/>
                    </a:lnTo>
                    <a:lnTo>
                      <a:pt x="5601360" y="405828"/>
                    </a:lnTo>
                    <a:lnTo>
                      <a:pt x="5601360" y="395579"/>
                    </a:lnTo>
                    <a:close/>
                  </a:path>
                  <a:path w="5786120" h="406400">
                    <a:moveTo>
                      <a:pt x="5662803" y="395579"/>
                    </a:moveTo>
                    <a:lnTo>
                      <a:pt x="5652554" y="395579"/>
                    </a:lnTo>
                    <a:lnTo>
                      <a:pt x="5652554" y="405828"/>
                    </a:lnTo>
                    <a:lnTo>
                      <a:pt x="5662803" y="405828"/>
                    </a:lnTo>
                    <a:lnTo>
                      <a:pt x="5662803" y="395579"/>
                    </a:lnTo>
                    <a:close/>
                  </a:path>
                  <a:path w="5786120" h="406400">
                    <a:moveTo>
                      <a:pt x="5724245" y="395579"/>
                    </a:moveTo>
                    <a:lnTo>
                      <a:pt x="5713996" y="395579"/>
                    </a:lnTo>
                    <a:lnTo>
                      <a:pt x="5713996" y="405828"/>
                    </a:lnTo>
                    <a:lnTo>
                      <a:pt x="5724245" y="405828"/>
                    </a:lnTo>
                    <a:lnTo>
                      <a:pt x="5724245" y="395579"/>
                    </a:lnTo>
                    <a:close/>
                  </a:path>
                  <a:path w="5786120" h="406400">
                    <a:moveTo>
                      <a:pt x="5785675" y="395579"/>
                    </a:moveTo>
                    <a:lnTo>
                      <a:pt x="5775439" y="395579"/>
                    </a:lnTo>
                    <a:lnTo>
                      <a:pt x="5775439" y="405828"/>
                    </a:lnTo>
                    <a:lnTo>
                      <a:pt x="5785675" y="405828"/>
                    </a:lnTo>
                    <a:lnTo>
                      <a:pt x="5785675" y="39557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4" name="object 134"/>
              <p:cNvSpPr/>
              <p:nvPr/>
            </p:nvSpPr>
            <p:spPr>
              <a:xfrm>
                <a:off x="1790090" y="2775127"/>
                <a:ext cx="431165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4311650" h="1079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48"/>
                    </a:lnTo>
                    <a:lnTo>
                      <a:pt x="10248" y="10248"/>
                    </a:lnTo>
                    <a:lnTo>
                      <a:pt x="10248" y="0"/>
                    </a:lnTo>
                    <a:close/>
                  </a:path>
                  <a:path w="4311650" h="10794">
                    <a:moveTo>
                      <a:pt x="71678" y="0"/>
                    </a:moveTo>
                    <a:lnTo>
                      <a:pt x="61442" y="0"/>
                    </a:lnTo>
                    <a:lnTo>
                      <a:pt x="61442" y="10248"/>
                    </a:lnTo>
                    <a:lnTo>
                      <a:pt x="71678" y="10248"/>
                    </a:lnTo>
                    <a:lnTo>
                      <a:pt x="71678" y="0"/>
                    </a:lnTo>
                    <a:close/>
                  </a:path>
                  <a:path w="4311650" h="10794">
                    <a:moveTo>
                      <a:pt x="133121" y="0"/>
                    </a:moveTo>
                    <a:lnTo>
                      <a:pt x="122885" y="0"/>
                    </a:lnTo>
                    <a:lnTo>
                      <a:pt x="122885" y="10248"/>
                    </a:lnTo>
                    <a:lnTo>
                      <a:pt x="133121" y="10248"/>
                    </a:lnTo>
                    <a:lnTo>
                      <a:pt x="133121" y="0"/>
                    </a:lnTo>
                    <a:close/>
                  </a:path>
                  <a:path w="4311650" h="10794">
                    <a:moveTo>
                      <a:pt x="194564" y="0"/>
                    </a:moveTo>
                    <a:lnTo>
                      <a:pt x="184327" y="0"/>
                    </a:lnTo>
                    <a:lnTo>
                      <a:pt x="184327" y="10248"/>
                    </a:lnTo>
                    <a:lnTo>
                      <a:pt x="194564" y="10248"/>
                    </a:lnTo>
                    <a:lnTo>
                      <a:pt x="194564" y="0"/>
                    </a:lnTo>
                    <a:close/>
                  </a:path>
                  <a:path w="4311650" h="10794">
                    <a:moveTo>
                      <a:pt x="256006" y="0"/>
                    </a:moveTo>
                    <a:lnTo>
                      <a:pt x="245770" y="0"/>
                    </a:lnTo>
                    <a:lnTo>
                      <a:pt x="245770" y="10248"/>
                    </a:lnTo>
                    <a:lnTo>
                      <a:pt x="256006" y="10248"/>
                    </a:lnTo>
                    <a:lnTo>
                      <a:pt x="256006" y="0"/>
                    </a:lnTo>
                    <a:close/>
                  </a:path>
                  <a:path w="4311650" h="10794">
                    <a:moveTo>
                      <a:pt x="317449" y="0"/>
                    </a:moveTo>
                    <a:lnTo>
                      <a:pt x="307213" y="0"/>
                    </a:lnTo>
                    <a:lnTo>
                      <a:pt x="307213" y="10248"/>
                    </a:lnTo>
                    <a:lnTo>
                      <a:pt x="317449" y="10248"/>
                    </a:lnTo>
                    <a:lnTo>
                      <a:pt x="317449" y="0"/>
                    </a:lnTo>
                    <a:close/>
                  </a:path>
                  <a:path w="4311650" h="10794">
                    <a:moveTo>
                      <a:pt x="378891" y="0"/>
                    </a:moveTo>
                    <a:lnTo>
                      <a:pt x="368642" y="0"/>
                    </a:lnTo>
                    <a:lnTo>
                      <a:pt x="368642" y="10248"/>
                    </a:lnTo>
                    <a:lnTo>
                      <a:pt x="378891" y="10248"/>
                    </a:lnTo>
                    <a:lnTo>
                      <a:pt x="378891" y="0"/>
                    </a:lnTo>
                    <a:close/>
                  </a:path>
                  <a:path w="4311650" h="10794">
                    <a:moveTo>
                      <a:pt x="440334" y="0"/>
                    </a:moveTo>
                    <a:lnTo>
                      <a:pt x="430085" y="0"/>
                    </a:lnTo>
                    <a:lnTo>
                      <a:pt x="430085" y="10248"/>
                    </a:lnTo>
                    <a:lnTo>
                      <a:pt x="440334" y="10248"/>
                    </a:lnTo>
                    <a:lnTo>
                      <a:pt x="440334" y="0"/>
                    </a:lnTo>
                    <a:close/>
                  </a:path>
                  <a:path w="4311650" h="10794">
                    <a:moveTo>
                      <a:pt x="501777" y="0"/>
                    </a:moveTo>
                    <a:lnTo>
                      <a:pt x="491528" y="0"/>
                    </a:lnTo>
                    <a:lnTo>
                      <a:pt x="491528" y="10248"/>
                    </a:lnTo>
                    <a:lnTo>
                      <a:pt x="501777" y="10248"/>
                    </a:lnTo>
                    <a:lnTo>
                      <a:pt x="501777" y="0"/>
                    </a:lnTo>
                    <a:close/>
                  </a:path>
                  <a:path w="4311650" h="10794">
                    <a:moveTo>
                      <a:pt x="563206" y="0"/>
                    </a:moveTo>
                    <a:lnTo>
                      <a:pt x="552970" y="0"/>
                    </a:lnTo>
                    <a:lnTo>
                      <a:pt x="552970" y="10248"/>
                    </a:lnTo>
                    <a:lnTo>
                      <a:pt x="563206" y="10248"/>
                    </a:lnTo>
                    <a:lnTo>
                      <a:pt x="563206" y="0"/>
                    </a:lnTo>
                    <a:close/>
                  </a:path>
                  <a:path w="4311650" h="10794">
                    <a:moveTo>
                      <a:pt x="624649" y="0"/>
                    </a:moveTo>
                    <a:lnTo>
                      <a:pt x="614413" y="0"/>
                    </a:lnTo>
                    <a:lnTo>
                      <a:pt x="614413" y="10248"/>
                    </a:lnTo>
                    <a:lnTo>
                      <a:pt x="624649" y="10248"/>
                    </a:lnTo>
                    <a:lnTo>
                      <a:pt x="624649" y="0"/>
                    </a:lnTo>
                    <a:close/>
                  </a:path>
                  <a:path w="4311650" h="10794">
                    <a:moveTo>
                      <a:pt x="686092" y="0"/>
                    </a:moveTo>
                    <a:lnTo>
                      <a:pt x="675855" y="0"/>
                    </a:lnTo>
                    <a:lnTo>
                      <a:pt x="675855" y="10248"/>
                    </a:lnTo>
                    <a:lnTo>
                      <a:pt x="686092" y="10248"/>
                    </a:lnTo>
                    <a:lnTo>
                      <a:pt x="686092" y="0"/>
                    </a:lnTo>
                    <a:close/>
                  </a:path>
                  <a:path w="4311650" h="10794">
                    <a:moveTo>
                      <a:pt x="747534" y="0"/>
                    </a:moveTo>
                    <a:lnTo>
                      <a:pt x="737298" y="0"/>
                    </a:lnTo>
                    <a:lnTo>
                      <a:pt x="737298" y="10248"/>
                    </a:lnTo>
                    <a:lnTo>
                      <a:pt x="747534" y="10248"/>
                    </a:lnTo>
                    <a:lnTo>
                      <a:pt x="747534" y="0"/>
                    </a:lnTo>
                    <a:close/>
                  </a:path>
                  <a:path w="4311650" h="10794">
                    <a:moveTo>
                      <a:pt x="808977" y="0"/>
                    </a:moveTo>
                    <a:lnTo>
                      <a:pt x="798741" y="0"/>
                    </a:lnTo>
                    <a:lnTo>
                      <a:pt x="798741" y="10248"/>
                    </a:lnTo>
                    <a:lnTo>
                      <a:pt x="808977" y="10248"/>
                    </a:lnTo>
                    <a:lnTo>
                      <a:pt x="808977" y="0"/>
                    </a:lnTo>
                    <a:close/>
                  </a:path>
                  <a:path w="4311650" h="10794">
                    <a:moveTo>
                      <a:pt x="870419" y="0"/>
                    </a:moveTo>
                    <a:lnTo>
                      <a:pt x="860171" y="0"/>
                    </a:lnTo>
                    <a:lnTo>
                      <a:pt x="860171" y="10248"/>
                    </a:lnTo>
                    <a:lnTo>
                      <a:pt x="870419" y="10248"/>
                    </a:lnTo>
                    <a:lnTo>
                      <a:pt x="870419" y="0"/>
                    </a:lnTo>
                    <a:close/>
                  </a:path>
                  <a:path w="4311650" h="10794">
                    <a:moveTo>
                      <a:pt x="931862" y="0"/>
                    </a:moveTo>
                    <a:lnTo>
                      <a:pt x="921613" y="0"/>
                    </a:lnTo>
                    <a:lnTo>
                      <a:pt x="921613" y="10248"/>
                    </a:lnTo>
                    <a:lnTo>
                      <a:pt x="931862" y="10248"/>
                    </a:lnTo>
                    <a:lnTo>
                      <a:pt x="931862" y="0"/>
                    </a:lnTo>
                    <a:close/>
                  </a:path>
                  <a:path w="4311650" h="10794">
                    <a:moveTo>
                      <a:pt x="993292" y="0"/>
                    </a:moveTo>
                    <a:lnTo>
                      <a:pt x="983056" y="0"/>
                    </a:lnTo>
                    <a:lnTo>
                      <a:pt x="983056" y="10248"/>
                    </a:lnTo>
                    <a:lnTo>
                      <a:pt x="993292" y="10248"/>
                    </a:lnTo>
                    <a:lnTo>
                      <a:pt x="993292" y="0"/>
                    </a:lnTo>
                    <a:close/>
                  </a:path>
                  <a:path w="4311650" h="10794">
                    <a:moveTo>
                      <a:pt x="1054735" y="0"/>
                    </a:moveTo>
                    <a:lnTo>
                      <a:pt x="1044498" y="0"/>
                    </a:lnTo>
                    <a:lnTo>
                      <a:pt x="1044498" y="10248"/>
                    </a:lnTo>
                    <a:lnTo>
                      <a:pt x="1054735" y="10248"/>
                    </a:lnTo>
                    <a:lnTo>
                      <a:pt x="1054735" y="0"/>
                    </a:lnTo>
                    <a:close/>
                  </a:path>
                  <a:path w="4311650" h="10794">
                    <a:moveTo>
                      <a:pt x="1116177" y="0"/>
                    </a:moveTo>
                    <a:lnTo>
                      <a:pt x="1105941" y="0"/>
                    </a:lnTo>
                    <a:lnTo>
                      <a:pt x="1105941" y="10248"/>
                    </a:lnTo>
                    <a:lnTo>
                      <a:pt x="1116177" y="10248"/>
                    </a:lnTo>
                    <a:lnTo>
                      <a:pt x="1116177" y="0"/>
                    </a:lnTo>
                    <a:close/>
                  </a:path>
                  <a:path w="4311650" h="10794">
                    <a:moveTo>
                      <a:pt x="1177620" y="0"/>
                    </a:moveTo>
                    <a:lnTo>
                      <a:pt x="1167384" y="0"/>
                    </a:lnTo>
                    <a:lnTo>
                      <a:pt x="1167384" y="10248"/>
                    </a:lnTo>
                    <a:lnTo>
                      <a:pt x="1177620" y="10248"/>
                    </a:lnTo>
                    <a:lnTo>
                      <a:pt x="1177620" y="0"/>
                    </a:lnTo>
                    <a:close/>
                  </a:path>
                  <a:path w="4311650" h="10794">
                    <a:moveTo>
                      <a:pt x="1239062" y="0"/>
                    </a:moveTo>
                    <a:lnTo>
                      <a:pt x="1228826" y="0"/>
                    </a:lnTo>
                    <a:lnTo>
                      <a:pt x="1228826" y="10248"/>
                    </a:lnTo>
                    <a:lnTo>
                      <a:pt x="1239062" y="10248"/>
                    </a:lnTo>
                    <a:lnTo>
                      <a:pt x="1239062" y="0"/>
                    </a:lnTo>
                    <a:close/>
                  </a:path>
                  <a:path w="4311650" h="10794">
                    <a:moveTo>
                      <a:pt x="1300505" y="0"/>
                    </a:moveTo>
                    <a:lnTo>
                      <a:pt x="1290256" y="0"/>
                    </a:lnTo>
                    <a:lnTo>
                      <a:pt x="1290256" y="10248"/>
                    </a:lnTo>
                    <a:lnTo>
                      <a:pt x="1300505" y="10248"/>
                    </a:lnTo>
                    <a:lnTo>
                      <a:pt x="1300505" y="0"/>
                    </a:lnTo>
                    <a:close/>
                  </a:path>
                  <a:path w="4311650" h="10794">
                    <a:moveTo>
                      <a:pt x="1361948" y="0"/>
                    </a:moveTo>
                    <a:lnTo>
                      <a:pt x="1351699" y="0"/>
                    </a:lnTo>
                    <a:lnTo>
                      <a:pt x="1351699" y="10248"/>
                    </a:lnTo>
                    <a:lnTo>
                      <a:pt x="1361948" y="10248"/>
                    </a:lnTo>
                    <a:lnTo>
                      <a:pt x="1361948" y="0"/>
                    </a:lnTo>
                    <a:close/>
                  </a:path>
                  <a:path w="4311650" h="10794">
                    <a:moveTo>
                      <a:pt x="1423377" y="0"/>
                    </a:moveTo>
                    <a:lnTo>
                      <a:pt x="1413141" y="0"/>
                    </a:lnTo>
                    <a:lnTo>
                      <a:pt x="1413141" y="10248"/>
                    </a:lnTo>
                    <a:lnTo>
                      <a:pt x="1423377" y="10248"/>
                    </a:lnTo>
                    <a:lnTo>
                      <a:pt x="1423377" y="0"/>
                    </a:lnTo>
                    <a:close/>
                  </a:path>
                  <a:path w="4311650" h="10794">
                    <a:moveTo>
                      <a:pt x="1484820" y="0"/>
                    </a:moveTo>
                    <a:lnTo>
                      <a:pt x="1474584" y="0"/>
                    </a:lnTo>
                    <a:lnTo>
                      <a:pt x="1474584" y="10248"/>
                    </a:lnTo>
                    <a:lnTo>
                      <a:pt x="1484820" y="10248"/>
                    </a:lnTo>
                    <a:lnTo>
                      <a:pt x="1484820" y="0"/>
                    </a:lnTo>
                    <a:close/>
                  </a:path>
                  <a:path w="4311650" h="10794">
                    <a:moveTo>
                      <a:pt x="1546263" y="0"/>
                    </a:moveTo>
                    <a:lnTo>
                      <a:pt x="1536026" y="0"/>
                    </a:lnTo>
                    <a:lnTo>
                      <a:pt x="1536026" y="10248"/>
                    </a:lnTo>
                    <a:lnTo>
                      <a:pt x="1546263" y="10248"/>
                    </a:lnTo>
                    <a:lnTo>
                      <a:pt x="1546263" y="0"/>
                    </a:lnTo>
                    <a:close/>
                  </a:path>
                  <a:path w="4311650" h="10794">
                    <a:moveTo>
                      <a:pt x="1607705" y="0"/>
                    </a:moveTo>
                    <a:lnTo>
                      <a:pt x="1597469" y="0"/>
                    </a:lnTo>
                    <a:lnTo>
                      <a:pt x="1597469" y="10248"/>
                    </a:lnTo>
                    <a:lnTo>
                      <a:pt x="1607705" y="10248"/>
                    </a:lnTo>
                    <a:lnTo>
                      <a:pt x="1607705" y="0"/>
                    </a:lnTo>
                    <a:close/>
                  </a:path>
                  <a:path w="4311650" h="10794">
                    <a:moveTo>
                      <a:pt x="1669148" y="0"/>
                    </a:moveTo>
                    <a:lnTo>
                      <a:pt x="1658912" y="0"/>
                    </a:lnTo>
                    <a:lnTo>
                      <a:pt x="1658912" y="10248"/>
                    </a:lnTo>
                    <a:lnTo>
                      <a:pt x="1669148" y="10248"/>
                    </a:lnTo>
                    <a:lnTo>
                      <a:pt x="1669148" y="0"/>
                    </a:lnTo>
                    <a:close/>
                  </a:path>
                  <a:path w="4311650" h="10794">
                    <a:moveTo>
                      <a:pt x="1730590" y="0"/>
                    </a:moveTo>
                    <a:lnTo>
                      <a:pt x="1720342" y="0"/>
                    </a:lnTo>
                    <a:lnTo>
                      <a:pt x="1720342" y="10248"/>
                    </a:lnTo>
                    <a:lnTo>
                      <a:pt x="1730590" y="10248"/>
                    </a:lnTo>
                    <a:lnTo>
                      <a:pt x="1730590" y="0"/>
                    </a:lnTo>
                    <a:close/>
                  </a:path>
                  <a:path w="4311650" h="10794">
                    <a:moveTo>
                      <a:pt x="1792033" y="0"/>
                    </a:moveTo>
                    <a:lnTo>
                      <a:pt x="1781784" y="0"/>
                    </a:lnTo>
                    <a:lnTo>
                      <a:pt x="1781784" y="10248"/>
                    </a:lnTo>
                    <a:lnTo>
                      <a:pt x="1792033" y="10248"/>
                    </a:lnTo>
                    <a:lnTo>
                      <a:pt x="1792033" y="0"/>
                    </a:lnTo>
                    <a:close/>
                  </a:path>
                  <a:path w="4311650" h="10794">
                    <a:moveTo>
                      <a:pt x="1853463" y="0"/>
                    </a:moveTo>
                    <a:lnTo>
                      <a:pt x="1843227" y="0"/>
                    </a:lnTo>
                    <a:lnTo>
                      <a:pt x="1843227" y="10248"/>
                    </a:lnTo>
                    <a:lnTo>
                      <a:pt x="1853463" y="10248"/>
                    </a:lnTo>
                    <a:lnTo>
                      <a:pt x="1853463" y="0"/>
                    </a:lnTo>
                    <a:close/>
                  </a:path>
                  <a:path w="4311650" h="10794">
                    <a:moveTo>
                      <a:pt x="1914906" y="0"/>
                    </a:moveTo>
                    <a:lnTo>
                      <a:pt x="1904669" y="0"/>
                    </a:lnTo>
                    <a:lnTo>
                      <a:pt x="1904669" y="10248"/>
                    </a:lnTo>
                    <a:lnTo>
                      <a:pt x="1914906" y="10248"/>
                    </a:lnTo>
                    <a:lnTo>
                      <a:pt x="1914906" y="0"/>
                    </a:lnTo>
                    <a:close/>
                  </a:path>
                  <a:path w="4311650" h="10794">
                    <a:moveTo>
                      <a:pt x="1976348" y="0"/>
                    </a:moveTo>
                    <a:lnTo>
                      <a:pt x="1966112" y="0"/>
                    </a:lnTo>
                    <a:lnTo>
                      <a:pt x="1966112" y="10248"/>
                    </a:lnTo>
                    <a:lnTo>
                      <a:pt x="1976348" y="10248"/>
                    </a:lnTo>
                    <a:lnTo>
                      <a:pt x="1976348" y="0"/>
                    </a:lnTo>
                    <a:close/>
                  </a:path>
                  <a:path w="4311650" h="10794">
                    <a:moveTo>
                      <a:pt x="2037791" y="0"/>
                    </a:moveTo>
                    <a:lnTo>
                      <a:pt x="2027555" y="0"/>
                    </a:lnTo>
                    <a:lnTo>
                      <a:pt x="2027555" y="10248"/>
                    </a:lnTo>
                    <a:lnTo>
                      <a:pt x="2037791" y="10248"/>
                    </a:lnTo>
                    <a:lnTo>
                      <a:pt x="2037791" y="0"/>
                    </a:lnTo>
                    <a:close/>
                  </a:path>
                  <a:path w="4311650" h="10794">
                    <a:moveTo>
                      <a:pt x="2099233" y="0"/>
                    </a:moveTo>
                    <a:lnTo>
                      <a:pt x="2088997" y="0"/>
                    </a:lnTo>
                    <a:lnTo>
                      <a:pt x="2088997" y="10248"/>
                    </a:lnTo>
                    <a:lnTo>
                      <a:pt x="2099233" y="10248"/>
                    </a:lnTo>
                    <a:lnTo>
                      <a:pt x="2099233" y="0"/>
                    </a:lnTo>
                    <a:close/>
                  </a:path>
                  <a:path w="4311650" h="10794">
                    <a:moveTo>
                      <a:pt x="2160676" y="0"/>
                    </a:moveTo>
                    <a:lnTo>
                      <a:pt x="2150427" y="0"/>
                    </a:lnTo>
                    <a:lnTo>
                      <a:pt x="2150427" y="10248"/>
                    </a:lnTo>
                    <a:lnTo>
                      <a:pt x="2160676" y="10248"/>
                    </a:lnTo>
                    <a:lnTo>
                      <a:pt x="2160676" y="0"/>
                    </a:lnTo>
                    <a:close/>
                  </a:path>
                  <a:path w="4311650" h="10794">
                    <a:moveTo>
                      <a:pt x="2222119" y="0"/>
                    </a:moveTo>
                    <a:lnTo>
                      <a:pt x="2211870" y="0"/>
                    </a:lnTo>
                    <a:lnTo>
                      <a:pt x="2211870" y="10248"/>
                    </a:lnTo>
                    <a:lnTo>
                      <a:pt x="2222119" y="10248"/>
                    </a:lnTo>
                    <a:lnTo>
                      <a:pt x="2222119" y="0"/>
                    </a:lnTo>
                    <a:close/>
                  </a:path>
                  <a:path w="4311650" h="10794">
                    <a:moveTo>
                      <a:pt x="2283561" y="0"/>
                    </a:moveTo>
                    <a:lnTo>
                      <a:pt x="2273312" y="0"/>
                    </a:lnTo>
                    <a:lnTo>
                      <a:pt x="2273312" y="10248"/>
                    </a:lnTo>
                    <a:lnTo>
                      <a:pt x="2283561" y="10248"/>
                    </a:lnTo>
                    <a:lnTo>
                      <a:pt x="2283561" y="0"/>
                    </a:lnTo>
                    <a:close/>
                  </a:path>
                  <a:path w="4311650" h="10794">
                    <a:moveTo>
                      <a:pt x="2344991" y="0"/>
                    </a:moveTo>
                    <a:lnTo>
                      <a:pt x="2334755" y="0"/>
                    </a:lnTo>
                    <a:lnTo>
                      <a:pt x="2334755" y="10248"/>
                    </a:lnTo>
                    <a:lnTo>
                      <a:pt x="2344991" y="10248"/>
                    </a:lnTo>
                    <a:lnTo>
                      <a:pt x="2344991" y="0"/>
                    </a:lnTo>
                    <a:close/>
                  </a:path>
                  <a:path w="4311650" h="10794">
                    <a:moveTo>
                      <a:pt x="2406434" y="0"/>
                    </a:moveTo>
                    <a:lnTo>
                      <a:pt x="2396198" y="0"/>
                    </a:lnTo>
                    <a:lnTo>
                      <a:pt x="2396198" y="10248"/>
                    </a:lnTo>
                    <a:lnTo>
                      <a:pt x="2406434" y="10248"/>
                    </a:lnTo>
                    <a:lnTo>
                      <a:pt x="2406434" y="0"/>
                    </a:lnTo>
                    <a:close/>
                  </a:path>
                  <a:path w="4311650" h="10794">
                    <a:moveTo>
                      <a:pt x="2467876" y="0"/>
                    </a:moveTo>
                    <a:lnTo>
                      <a:pt x="2457640" y="0"/>
                    </a:lnTo>
                    <a:lnTo>
                      <a:pt x="2457640" y="10248"/>
                    </a:lnTo>
                    <a:lnTo>
                      <a:pt x="2467876" y="10248"/>
                    </a:lnTo>
                    <a:lnTo>
                      <a:pt x="2467876" y="0"/>
                    </a:lnTo>
                    <a:close/>
                  </a:path>
                  <a:path w="4311650" h="10794">
                    <a:moveTo>
                      <a:pt x="2529319" y="0"/>
                    </a:moveTo>
                    <a:lnTo>
                      <a:pt x="2519083" y="0"/>
                    </a:lnTo>
                    <a:lnTo>
                      <a:pt x="2519083" y="10248"/>
                    </a:lnTo>
                    <a:lnTo>
                      <a:pt x="2529319" y="10248"/>
                    </a:lnTo>
                    <a:lnTo>
                      <a:pt x="2529319" y="0"/>
                    </a:lnTo>
                    <a:close/>
                  </a:path>
                  <a:path w="4311650" h="10794">
                    <a:moveTo>
                      <a:pt x="2590762" y="0"/>
                    </a:moveTo>
                    <a:lnTo>
                      <a:pt x="2580525" y="0"/>
                    </a:lnTo>
                    <a:lnTo>
                      <a:pt x="2580525" y="10248"/>
                    </a:lnTo>
                    <a:lnTo>
                      <a:pt x="2590762" y="10248"/>
                    </a:lnTo>
                    <a:lnTo>
                      <a:pt x="2590762" y="0"/>
                    </a:lnTo>
                    <a:close/>
                  </a:path>
                  <a:path w="4311650" h="10794">
                    <a:moveTo>
                      <a:pt x="2652204" y="0"/>
                    </a:moveTo>
                    <a:lnTo>
                      <a:pt x="2641955" y="0"/>
                    </a:lnTo>
                    <a:lnTo>
                      <a:pt x="2641955" y="10248"/>
                    </a:lnTo>
                    <a:lnTo>
                      <a:pt x="2652204" y="10248"/>
                    </a:lnTo>
                    <a:lnTo>
                      <a:pt x="2652204" y="0"/>
                    </a:lnTo>
                    <a:close/>
                  </a:path>
                  <a:path w="4311650" h="10794">
                    <a:moveTo>
                      <a:pt x="2713647" y="0"/>
                    </a:moveTo>
                    <a:lnTo>
                      <a:pt x="2703398" y="0"/>
                    </a:lnTo>
                    <a:lnTo>
                      <a:pt x="2703398" y="10248"/>
                    </a:lnTo>
                    <a:lnTo>
                      <a:pt x="2713647" y="10248"/>
                    </a:lnTo>
                    <a:lnTo>
                      <a:pt x="2713647" y="0"/>
                    </a:lnTo>
                    <a:close/>
                  </a:path>
                  <a:path w="4311650" h="10794">
                    <a:moveTo>
                      <a:pt x="2775077" y="0"/>
                    </a:moveTo>
                    <a:lnTo>
                      <a:pt x="2764840" y="0"/>
                    </a:lnTo>
                    <a:lnTo>
                      <a:pt x="2764840" y="10248"/>
                    </a:lnTo>
                    <a:lnTo>
                      <a:pt x="2775077" y="10248"/>
                    </a:lnTo>
                    <a:lnTo>
                      <a:pt x="2775077" y="0"/>
                    </a:lnTo>
                    <a:close/>
                  </a:path>
                  <a:path w="4311650" h="10794">
                    <a:moveTo>
                      <a:pt x="2836519" y="0"/>
                    </a:moveTo>
                    <a:lnTo>
                      <a:pt x="2826283" y="0"/>
                    </a:lnTo>
                    <a:lnTo>
                      <a:pt x="2826283" y="10248"/>
                    </a:lnTo>
                    <a:lnTo>
                      <a:pt x="2836519" y="10248"/>
                    </a:lnTo>
                    <a:lnTo>
                      <a:pt x="2836519" y="0"/>
                    </a:lnTo>
                    <a:close/>
                  </a:path>
                  <a:path w="4311650" h="10794">
                    <a:moveTo>
                      <a:pt x="2897962" y="0"/>
                    </a:moveTo>
                    <a:lnTo>
                      <a:pt x="2887726" y="0"/>
                    </a:lnTo>
                    <a:lnTo>
                      <a:pt x="2887726" y="10248"/>
                    </a:lnTo>
                    <a:lnTo>
                      <a:pt x="2897962" y="10248"/>
                    </a:lnTo>
                    <a:lnTo>
                      <a:pt x="2897962" y="0"/>
                    </a:lnTo>
                    <a:close/>
                  </a:path>
                  <a:path w="4311650" h="10794">
                    <a:moveTo>
                      <a:pt x="2959404" y="0"/>
                    </a:moveTo>
                    <a:lnTo>
                      <a:pt x="2949168" y="0"/>
                    </a:lnTo>
                    <a:lnTo>
                      <a:pt x="2949168" y="10248"/>
                    </a:lnTo>
                    <a:lnTo>
                      <a:pt x="2959404" y="10248"/>
                    </a:lnTo>
                    <a:lnTo>
                      <a:pt x="2959404" y="0"/>
                    </a:lnTo>
                    <a:close/>
                  </a:path>
                  <a:path w="4311650" h="10794">
                    <a:moveTo>
                      <a:pt x="3020847" y="0"/>
                    </a:moveTo>
                    <a:lnTo>
                      <a:pt x="3010611" y="0"/>
                    </a:lnTo>
                    <a:lnTo>
                      <a:pt x="3010611" y="10248"/>
                    </a:lnTo>
                    <a:lnTo>
                      <a:pt x="3020847" y="10248"/>
                    </a:lnTo>
                    <a:lnTo>
                      <a:pt x="3020847" y="0"/>
                    </a:lnTo>
                    <a:close/>
                  </a:path>
                  <a:path w="4311650" h="10794">
                    <a:moveTo>
                      <a:pt x="3082290" y="0"/>
                    </a:moveTo>
                    <a:lnTo>
                      <a:pt x="3072041" y="0"/>
                    </a:lnTo>
                    <a:lnTo>
                      <a:pt x="3072041" y="10248"/>
                    </a:lnTo>
                    <a:lnTo>
                      <a:pt x="3082290" y="10248"/>
                    </a:lnTo>
                    <a:lnTo>
                      <a:pt x="3082290" y="0"/>
                    </a:lnTo>
                    <a:close/>
                  </a:path>
                  <a:path w="4311650" h="10794">
                    <a:moveTo>
                      <a:pt x="3143732" y="0"/>
                    </a:moveTo>
                    <a:lnTo>
                      <a:pt x="3133483" y="0"/>
                    </a:lnTo>
                    <a:lnTo>
                      <a:pt x="3133483" y="10248"/>
                    </a:lnTo>
                    <a:lnTo>
                      <a:pt x="3143732" y="10248"/>
                    </a:lnTo>
                    <a:lnTo>
                      <a:pt x="3143732" y="0"/>
                    </a:lnTo>
                    <a:close/>
                  </a:path>
                  <a:path w="4311650" h="10794">
                    <a:moveTo>
                      <a:pt x="3205162" y="0"/>
                    </a:moveTo>
                    <a:lnTo>
                      <a:pt x="3194926" y="0"/>
                    </a:lnTo>
                    <a:lnTo>
                      <a:pt x="3194926" y="10248"/>
                    </a:lnTo>
                    <a:lnTo>
                      <a:pt x="3205162" y="10248"/>
                    </a:lnTo>
                    <a:lnTo>
                      <a:pt x="3205162" y="0"/>
                    </a:lnTo>
                    <a:close/>
                  </a:path>
                  <a:path w="4311650" h="10794">
                    <a:moveTo>
                      <a:pt x="3266605" y="0"/>
                    </a:moveTo>
                    <a:lnTo>
                      <a:pt x="3256369" y="0"/>
                    </a:lnTo>
                    <a:lnTo>
                      <a:pt x="3256369" y="10248"/>
                    </a:lnTo>
                    <a:lnTo>
                      <a:pt x="3266605" y="10248"/>
                    </a:lnTo>
                    <a:lnTo>
                      <a:pt x="3266605" y="0"/>
                    </a:lnTo>
                    <a:close/>
                  </a:path>
                  <a:path w="4311650" h="10794">
                    <a:moveTo>
                      <a:pt x="3328047" y="0"/>
                    </a:moveTo>
                    <a:lnTo>
                      <a:pt x="3317811" y="0"/>
                    </a:lnTo>
                    <a:lnTo>
                      <a:pt x="3317811" y="10248"/>
                    </a:lnTo>
                    <a:lnTo>
                      <a:pt x="3328047" y="10248"/>
                    </a:lnTo>
                    <a:lnTo>
                      <a:pt x="3328047" y="0"/>
                    </a:lnTo>
                    <a:close/>
                  </a:path>
                  <a:path w="4311650" h="10794">
                    <a:moveTo>
                      <a:pt x="3389490" y="0"/>
                    </a:moveTo>
                    <a:lnTo>
                      <a:pt x="3379254" y="0"/>
                    </a:lnTo>
                    <a:lnTo>
                      <a:pt x="3379254" y="10248"/>
                    </a:lnTo>
                    <a:lnTo>
                      <a:pt x="3389490" y="10248"/>
                    </a:lnTo>
                    <a:lnTo>
                      <a:pt x="3389490" y="0"/>
                    </a:lnTo>
                    <a:close/>
                  </a:path>
                  <a:path w="4311650" h="10794">
                    <a:moveTo>
                      <a:pt x="3450933" y="0"/>
                    </a:moveTo>
                    <a:lnTo>
                      <a:pt x="3440696" y="0"/>
                    </a:lnTo>
                    <a:lnTo>
                      <a:pt x="3440696" y="10248"/>
                    </a:lnTo>
                    <a:lnTo>
                      <a:pt x="3450933" y="10248"/>
                    </a:lnTo>
                    <a:lnTo>
                      <a:pt x="3450933" y="0"/>
                    </a:lnTo>
                    <a:close/>
                  </a:path>
                  <a:path w="4311650" h="10794">
                    <a:moveTo>
                      <a:pt x="3512375" y="0"/>
                    </a:moveTo>
                    <a:lnTo>
                      <a:pt x="3502126" y="0"/>
                    </a:lnTo>
                    <a:lnTo>
                      <a:pt x="3502126" y="10248"/>
                    </a:lnTo>
                    <a:lnTo>
                      <a:pt x="3512375" y="10248"/>
                    </a:lnTo>
                    <a:lnTo>
                      <a:pt x="3512375" y="0"/>
                    </a:lnTo>
                    <a:close/>
                  </a:path>
                  <a:path w="4311650" h="10794">
                    <a:moveTo>
                      <a:pt x="3573818" y="0"/>
                    </a:moveTo>
                    <a:lnTo>
                      <a:pt x="3563569" y="0"/>
                    </a:lnTo>
                    <a:lnTo>
                      <a:pt x="3563569" y="10248"/>
                    </a:lnTo>
                    <a:lnTo>
                      <a:pt x="3573818" y="10248"/>
                    </a:lnTo>
                    <a:lnTo>
                      <a:pt x="3573818" y="0"/>
                    </a:lnTo>
                    <a:close/>
                  </a:path>
                  <a:path w="4311650" h="10794">
                    <a:moveTo>
                      <a:pt x="3635248" y="0"/>
                    </a:moveTo>
                    <a:lnTo>
                      <a:pt x="3625011" y="0"/>
                    </a:lnTo>
                    <a:lnTo>
                      <a:pt x="3625011" y="10248"/>
                    </a:lnTo>
                    <a:lnTo>
                      <a:pt x="3635248" y="10248"/>
                    </a:lnTo>
                    <a:lnTo>
                      <a:pt x="3635248" y="0"/>
                    </a:lnTo>
                    <a:close/>
                  </a:path>
                  <a:path w="4311650" h="10794">
                    <a:moveTo>
                      <a:pt x="3696690" y="0"/>
                    </a:moveTo>
                    <a:lnTo>
                      <a:pt x="3686454" y="0"/>
                    </a:lnTo>
                    <a:lnTo>
                      <a:pt x="3686454" y="10248"/>
                    </a:lnTo>
                    <a:lnTo>
                      <a:pt x="3696690" y="10248"/>
                    </a:lnTo>
                    <a:lnTo>
                      <a:pt x="3696690" y="0"/>
                    </a:lnTo>
                    <a:close/>
                  </a:path>
                  <a:path w="4311650" h="10794">
                    <a:moveTo>
                      <a:pt x="3758133" y="0"/>
                    </a:moveTo>
                    <a:lnTo>
                      <a:pt x="3747897" y="0"/>
                    </a:lnTo>
                    <a:lnTo>
                      <a:pt x="3747897" y="10248"/>
                    </a:lnTo>
                    <a:lnTo>
                      <a:pt x="3758133" y="10248"/>
                    </a:lnTo>
                    <a:lnTo>
                      <a:pt x="3758133" y="0"/>
                    </a:lnTo>
                    <a:close/>
                  </a:path>
                  <a:path w="4311650" h="10794">
                    <a:moveTo>
                      <a:pt x="3819575" y="0"/>
                    </a:moveTo>
                    <a:lnTo>
                      <a:pt x="3809339" y="0"/>
                    </a:lnTo>
                    <a:lnTo>
                      <a:pt x="3809339" y="10248"/>
                    </a:lnTo>
                    <a:lnTo>
                      <a:pt x="3819575" y="10248"/>
                    </a:lnTo>
                    <a:lnTo>
                      <a:pt x="3819575" y="0"/>
                    </a:lnTo>
                    <a:close/>
                  </a:path>
                  <a:path w="4311650" h="10794">
                    <a:moveTo>
                      <a:pt x="3881018" y="0"/>
                    </a:moveTo>
                    <a:lnTo>
                      <a:pt x="3870782" y="0"/>
                    </a:lnTo>
                    <a:lnTo>
                      <a:pt x="3870782" y="10248"/>
                    </a:lnTo>
                    <a:lnTo>
                      <a:pt x="3881018" y="10248"/>
                    </a:lnTo>
                    <a:lnTo>
                      <a:pt x="3881018" y="0"/>
                    </a:lnTo>
                    <a:close/>
                  </a:path>
                  <a:path w="4311650" h="10794">
                    <a:moveTo>
                      <a:pt x="3942461" y="0"/>
                    </a:moveTo>
                    <a:lnTo>
                      <a:pt x="3932212" y="0"/>
                    </a:lnTo>
                    <a:lnTo>
                      <a:pt x="3932212" y="10248"/>
                    </a:lnTo>
                    <a:lnTo>
                      <a:pt x="3942461" y="10248"/>
                    </a:lnTo>
                    <a:lnTo>
                      <a:pt x="3942461" y="0"/>
                    </a:lnTo>
                    <a:close/>
                  </a:path>
                  <a:path w="4311650" h="10794">
                    <a:moveTo>
                      <a:pt x="4003903" y="0"/>
                    </a:moveTo>
                    <a:lnTo>
                      <a:pt x="3993654" y="0"/>
                    </a:lnTo>
                    <a:lnTo>
                      <a:pt x="3993654" y="10248"/>
                    </a:lnTo>
                    <a:lnTo>
                      <a:pt x="4003903" y="10248"/>
                    </a:lnTo>
                    <a:lnTo>
                      <a:pt x="4003903" y="0"/>
                    </a:lnTo>
                    <a:close/>
                  </a:path>
                  <a:path w="4311650" h="10794">
                    <a:moveTo>
                      <a:pt x="4065333" y="0"/>
                    </a:moveTo>
                    <a:lnTo>
                      <a:pt x="4055097" y="0"/>
                    </a:lnTo>
                    <a:lnTo>
                      <a:pt x="4055097" y="10248"/>
                    </a:lnTo>
                    <a:lnTo>
                      <a:pt x="4065333" y="10248"/>
                    </a:lnTo>
                    <a:lnTo>
                      <a:pt x="4065333" y="0"/>
                    </a:lnTo>
                    <a:close/>
                  </a:path>
                  <a:path w="4311650" h="10794">
                    <a:moveTo>
                      <a:pt x="4126776" y="0"/>
                    </a:moveTo>
                    <a:lnTo>
                      <a:pt x="4116540" y="0"/>
                    </a:lnTo>
                    <a:lnTo>
                      <a:pt x="4116540" y="10248"/>
                    </a:lnTo>
                    <a:lnTo>
                      <a:pt x="4126776" y="10248"/>
                    </a:lnTo>
                    <a:lnTo>
                      <a:pt x="4126776" y="0"/>
                    </a:lnTo>
                    <a:close/>
                  </a:path>
                  <a:path w="4311650" h="10794">
                    <a:moveTo>
                      <a:pt x="4188218" y="0"/>
                    </a:moveTo>
                    <a:lnTo>
                      <a:pt x="4177982" y="0"/>
                    </a:lnTo>
                    <a:lnTo>
                      <a:pt x="4177982" y="10248"/>
                    </a:lnTo>
                    <a:lnTo>
                      <a:pt x="4188218" y="10248"/>
                    </a:lnTo>
                    <a:lnTo>
                      <a:pt x="4188218" y="0"/>
                    </a:lnTo>
                    <a:close/>
                  </a:path>
                  <a:path w="4311650" h="10794">
                    <a:moveTo>
                      <a:pt x="4249661" y="0"/>
                    </a:moveTo>
                    <a:lnTo>
                      <a:pt x="4239425" y="0"/>
                    </a:lnTo>
                    <a:lnTo>
                      <a:pt x="4239425" y="10248"/>
                    </a:lnTo>
                    <a:lnTo>
                      <a:pt x="4249661" y="10248"/>
                    </a:lnTo>
                    <a:lnTo>
                      <a:pt x="4249661" y="0"/>
                    </a:lnTo>
                    <a:close/>
                  </a:path>
                  <a:path w="4311650" h="10794">
                    <a:moveTo>
                      <a:pt x="4311104" y="0"/>
                    </a:moveTo>
                    <a:lnTo>
                      <a:pt x="4300867" y="0"/>
                    </a:lnTo>
                    <a:lnTo>
                      <a:pt x="4300867" y="10248"/>
                    </a:lnTo>
                    <a:lnTo>
                      <a:pt x="4311104" y="10248"/>
                    </a:lnTo>
                    <a:lnTo>
                      <a:pt x="431110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5" name="object 135"/>
              <p:cNvSpPr/>
              <p:nvPr/>
            </p:nvSpPr>
            <p:spPr>
              <a:xfrm>
                <a:off x="561276" y="2379547"/>
                <a:ext cx="5786120" cy="406400"/>
              </a:xfrm>
              <a:custGeom>
                <a:avLst/>
                <a:gdLst/>
                <a:ahLst/>
                <a:cxnLst/>
                <a:rect l="l" t="t" r="r" b="b"/>
                <a:pathLst>
                  <a:path w="5786120" h="406400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48"/>
                    </a:lnTo>
                    <a:lnTo>
                      <a:pt x="10236" y="10248"/>
                    </a:lnTo>
                    <a:lnTo>
                      <a:pt x="10236" y="0"/>
                    </a:lnTo>
                    <a:close/>
                  </a:path>
                  <a:path w="5786120" h="406400">
                    <a:moveTo>
                      <a:pt x="71678" y="0"/>
                    </a:moveTo>
                    <a:lnTo>
                      <a:pt x="61442" y="0"/>
                    </a:lnTo>
                    <a:lnTo>
                      <a:pt x="61442" y="10248"/>
                    </a:lnTo>
                    <a:lnTo>
                      <a:pt x="71678" y="10248"/>
                    </a:lnTo>
                    <a:lnTo>
                      <a:pt x="71678" y="0"/>
                    </a:lnTo>
                    <a:close/>
                  </a:path>
                  <a:path w="5786120" h="406400">
                    <a:moveTo>
                      <a:pt x="133121" y="0"/>
                    </a:moveTo>
                    <a:lnTo>
                      <a:pt x="122885" y="0"/>
                    </a:lnTo>
                    <a:lnTo>
                      <a:pt x="122885" y="10248"/>
                    </a:lnTo>
                    <a:lnTo>
                      <a:pt x="133121" y="10248"/>
                    </a:lnTo>
                    <a:lnTo>
                      <a:pt x="133121" y="0"/>
                    </a:lnTo>
                    <a:close/>
                  </a:path>
                  <a:path w="5786120" h="406400">
                    <a:moveTo>
                      <a:pt x="194564" y="0"/>
                    </a:moveTo>
                    <a:lnTo>
                      <a:pt x="184327" y="0"/>
                    </a:lnTo>
                    <a:lnTo>
                      <a:pt x="184327" y="10248"/>
                    </a:lnTo>
                    <a:lnTo>
                      <a:pt x="194564" y="10248"/>
                    </a:lnTo>
                    <a:lnTo>
                      <a:pt x="194564" y="0"/>
                    </a:lnTo>
                    <a:close/>
                  </a:path>
                  <a:path w="5786120" h="406400">
                    <a:moveTo>
                      <a:pt x="256006" y="0"/>
                    </a:moveTo>
                    <a:lnTo>
                      <a:pt x="245770" y="0"/>
                    </a:lnTo>
                    <a:lnTo>
                      <a:pt x="245770" y="10248"/>
                    </a:lnTo>
                    <a:lnTo>
                      <a:pt x="256006" y="10248"/>
                    </a:lnTo>
                    <a:lnTo>
                      <a:pt x="256006" y="0"/>
                    </a:lnTo>
                    <a:close/>
                  </a:path>
                  <a:path w="5786120" h="406400">
                    <a:moveTo>
                      <a:pt x="317449" y="0"/>
                    </a:moveTo>
                    <a:lnTo>
                      <a:pt x="307200" y="0"/>
                    </a:lnTo>
                    <a:lnTo>
                      <a:pt x="307200" y="10248"/>
                    </a:lnTo>
                    <a:lnTo>
                      <a:pt x="317449" y="10248"/>
                    </a:lnTo>
                    <a:lnTo>
                      <a:pt x="317449" y="0"/>
                    </a:lnTo>
                    <a:close/>
                  </a:path>
                  <a:path w="5786120" h="406400">
                    <a:moveTo>
                      <a:pt x="378891" y="0"/>
                    </a:moveTo>
                    <a:lnTo>
                      <a:pt x="368642" y="0"/>
                    </a:lnTo>
                    <a:lnTo>
                      <a:pt x="368642" y="10248"/>
                    </a:lnTo>
                    <a:lnTo>
                      <a:pt x="378891" y="10248"/>
                    </a:lnTo>
                    <a:lnTo>
                      <a:pt x="378891" y="0"/>
                    </a:lnTo>
                    <a:close/>
                  </a:path>
                  <a:path w="5786120" h="406400">
                    <a:moveTo>
                      <a:pt x="440321" y="0"/>
                    </a:moveTo>
                    <a:lnTo>
                      <a:pt x="430085" y="0"/>
                    </a:lnTo>
                    <a:lnTo>
                      <a:pt x="430085" y="10248"/>
                    </a:lnTo>
                    <a:lnTo>
                      <a:pt x="440321" y="10248"/>
                    </a:lnTo>
                    <a:lnTo>
                      <a:pt x="440321" y="0"/>
                    </a:lnTo>
                    <a:close/>
                  </a:path>
                  <a:path w="5786120" h="406400">
                    <a:moveTo>
                      <a:pt x="501764" y="0"/>
                    </a:moveTo>
                    <a:lnTo>
                      <a:pt x="491528" y="0"/>
                    </a:lnTo>
                    <a:lnTo>
                      <a:pt x="491528" y="10248"/>
                    </a:lnTo>
                    <a:lnTo>
                      <a:pt x="501764" y="10248"/>
                    </a:lnTo>
                    <a:lnTo>
                      <a:pt x="501764" y="0"/>
                    </a:lnTo>
                    <a:close/>
                  </a:path>
                  <a:path w="5786120" h="406400">
                    <a:moveTo>
                      <a:pt x="563206" y="0"/>
                    </a:moveTo>
                    <a:lnTo>
                      <a:pt x="552970" y="0"/>
                    </a:lnTo>
                    <a:lnTo>
                      <a:pt x="552970" y="10248"/>
                    </a:lnTo>
                    <a:lnTo>
                      <a:pt x="563206" y="10248"/>
                    </a:lnTo>
                    <a:lnTo>
                      <a:pt x="563206" y="0"/>
                    </a:lnTo>
                    <a:close/>
                  </a:path>
                  <a:path w="5786120" h="406400">
                    <a:moveTo>
                      <a:pt x="624649" y="0"/>
                    </a:moveTo>
                    <a:lnTo>
                      <a:pt x="614413" y="0"/>
                    </a:lnTo>
                    <a:lnTo>
                      <a:pt x="614413" y="10248"/>
                    </a:lnTo>
                    <a:lnTo>
                      <a:pt x="624649" y="10248"/>
                    </a:lnTo>
                    <a:lnTo>
                      <a:pt x="624649" y="0"/>
                    </a:lnTo>
                    <a:close/>
                  </a:path>
                  <a:path w="5786120" h="406400">
                    <a:moveTo>
                      <a:pt x="686092" y="0"/>
                    </a:moveTo>
                    <a:lnTo>
                      <a:pt x="675855" y="0"/>
                    </a:lnTo>
                    <a:lnTo>
                      <a:pt x="675855" y="10248"/>
                    </a:lnTo>
                    <a:lnTo>
                      <a:pt x="686092" y="10248"/>
                    </a:lnTo>
                    <a:lnTo>
                      <a:pt x="686092" y="0"/>
                    </a:lnTo>
                    <a:close/>
                  </a:path>
                  <a:path w="5786120" h="406400">
                    <a:moveTo>
                      <a:pt x="747534" y="0"/>
                    </a:moveTo>
                    <a:lnTo>
                      <a:pt x="737285" y="0"/>
                    </a:lnTo>
                    <a:lnTo>
                      <a:pt x="737285" y="10248"/>
                    </a:lnTo>
                    <a:lnTo>
                      <a:pt x="747534" y="10248"/>
                    </a:lnTo>
                    <a:lnTo>
                      <a:pt x="747534" y="0"/>
                    </a:lnTo>
                    <a:close/>
                  </a:path>
                  <a:path w="5786120" h="406400">
                    <a:moveTo>
                      <a:pt x="808977" y="0"/>
                    </a:moveTo>
                    <a:lnTo>
                      <a:pt x="798728" y="0"/>
                    </a:lnTo>
                    <a:lnTo>
                      <a:pt x="798728" y="10248"/>
                    </a:lnTo>
                    <a:lnTo>
                      <a:pt x="808977" y="10248"/>
                    </a:lnTo>
                    <a:lnTo>
                      <a:pt x="808977" y="0"/>
                    </a:lnTo>
                    <a:close/>
                  </a:path>
                  <a:path w="5786120" h="406400">
                    <a:moveTo>
                      <a:pt x="870407" y="0"/>
                    </a:moveTo>
                    <a:lnTo>
                      <a:pt x="860171" y="0"/>
                    </a:lnTo>
                    <a:lnTo>
                      <a:pt x="860171" y="10248"/>
                    </a:lnTo>
                    <a:lnTo>
                      <a:pt x="870407" y="10248"/>
                    </a:lnTo>
                    <a:lnTo>
                      <a:pt x="870407" y="0"/>
                    </a:lnTo>
                    <a:close/>
                  </a:path>
                  <a:path w="5786120" h="406400">
                    <a:moveTo>
                      <a:pt x="931849" y="0"/>
                    </a:moveTo>
                    <a:lnTo>
                      <a:pt x="921613" y="0"/>
                    </a:lnTo>
                    <a:lnTo>
                      <a:pt x="921613" y="10248"/>
                    </a:lnTo>
                    <a:lnTo>
                      <a:pt x="931849" y="10248"/>
                    </a:lnTo>
                    <a:lnTo>
                      <a:pt x="931849" y="0"/>
                    </a:lnTo>
                    <a:close/>
                  </a:path>
                  <a:path w="5786120" h="406400">
                    <a:moveTo>
                      <a:pt x="993292" y="0"/>
                    </a:moveTo>
                    <a:lnTo>
                      <a:pt x="983056" y="0"/>
                    </a:lnTo>
                    <a:lnTo>
                      <a:pt x="983056" y="10248"/>
                    </a:lnTo>
                    <a:lnTo>
                      <a:pt x="993292" y="10248"/>
                    </a:lnTo>
                    <a:lnTo>
                      <a:pt x="993292" y="0"/>
                    </a:lnTo>
                    <a:close/>
                  </a:path>
                  <a:path w="5786120" h="406400">
                    <a:moveTo>
                      <a:pt x="1054735" y="0"/>
                    </a:moveTo>
                    <a:lnTo>
                      <a:pt x="1044498" y="0"/>
                    </a:lnTo>
                    <a:lnTo>
                      <a:pt x="1044498" y="10248"/>
                    </a:lnTo>
                    <a:lnTo>
                      <a:pt x="1054735" y="10248"/>
                    </a:lnTo>
                    <a:lnTo>
                      <a:pt x="1054735" y="0"/>
                    </a:lnTo>
                    <a:close/>
                  </a:path>
                  <a:path w="5786120" h="406400">
                    <a:moveTo>
                      <a:pt x="1116177" y="0"/>
                    </a:moveTo>
                    <a:lnTo>
                      <a:pt x="1105941" y="0"/>
                    </a:lnTo>
                    <a:lnTo>
                      <a:pt x="1105941" y="10248"/>
                    </a:lnTo>
                    <a:lnTo>
                      <a:pt x="1116177" y="10248"/>
                    </a:lnTo>
                    <a:lnTo>
                      <a:pt x="1116177" y="0"/>
                    </a:lnTo>
                    <a:close/>
                  </a:path>
                  <a:path w="5786120" h="406400">
                    <a:moveTo>
                      <a:pt x="1177620" y="0"/>
                    </a:moveTo>
                    <a:lnTo>
                      <a:pt x="1167371" y="0"/>
                    </a:lnTo>
                    <a:lnTo>
                      <a:pt x="1167371" y="10248"/>
                    </a:lnTo>
                    <a:lnTo>
                      <a:pt x="1177620" y="10248"/>
                    </a:lnTo>
                    <a:lnTo>
                      <a:pt x="1177620" y="0"/>
                    </a:lnTo>
                    <a:close/>
                  </a:path>
                  <a:path w="5786120" h="406400">
                    <a:moveTo>
                      <a:pt x="1239062" y="0"/>
                    </a:moveTo>
                    <a:lnTo>
                      <a:pt x="1228813" y="0"/>
                    </a:lnTo>
                    <a:lnTo>
                      <a:pt x="1228813" y="10248"/>
                    </a:lnTo>
                    <a:lnTo>
                      <a:pt x="1239062" y="10248"/>
                    </a:lnTo>
                    <a:lnTo>
                      <a:pt x="1239062" y="0"/>
                    </a:lnTo>
                    <a:close/>
                  </a:path>
                  <a:path w="5786120" h="406400">
                    <a:moveTo>
                      <a:pt x="1300492" y="0"/>
                    </a:moveTo>
                    <a:lnTo>
                      <a:pt x="1290256" y="0"/>
                    </a:lnTo>
                    <a:lnTo>
                      <a:pt x="1290256" y="10248"/>
                    </a:lnTo>
                    <a:lnTo>
                      <a:pt x="1300492" y="10248"/>
                    </a:lnTo>
                    <a:lnTo>
                      <a:pt x="1300492" y="0"/>
                    </a:lnTo>
                    <a:close/>
                  </a:path>
                  <a:path w="5786120" h="406400">
                    <a:moveTo>
                      <a:pt x="1361935" y="0"/>
                    </a:moveTo>
                    <a:lnTo>
                      <a:pt x="1351699" y="0"/>
                    </a:lnTo>
                    <a:lnTo>
                      <a:pt x="1351699" y="10248"/>
                    </a:lnTo>
                    <a:lnTo>
                      <a:pt x="1361935" y="10248"/>
                    </a:lnTo>
                    <a:lnTo>
                      <a:pt x="1361935" y="0"/>
                    </a:lnTo>
                    <a:close/>
                  </a:path>
                  <a:path w="5786120" h="406400">
                    <a:moveTo>
                      <a:pt x="1423377" y="0"/>
                    </a:moveTo>
                    <a:lnTo>
                      <a:pt x="1413141" y="0"/>
                    </a:lnTo>
                    <a:lnTo>
                      <a:pt x="1413141" y="10248"/>
                    </a:lnTo>
                    <a:lnTo>
                      <a:pt x="1423377" y="10248"/>
                    </a:lnTo>
                    <a:lnTo>
                      <a:pt x="1423377" y="0"/>
                    </a:lnTo>
                    <a:close/>
                  </a:path>
                  <a:path w="5786120" h="406400">
                    <a:moveTo>
                      <a:pt x="1484820" y="0"/>
                    </a:moveTo>
                    <a:lnTo>
                      <a:pt x="1474584" y="0"/>
                    </a:lnTo>
                    <a:lnTo>
                      <a:pt x="1474584" y="10248"/>
                    </a:lnTo>
                    <a:lnTo>
                      <a:pt x="1484820" y="10248"/>
                    </a:lnTo>
                    <a:lnTo>
                      <a:pt x="1484820" y="0"/>
                    </a:lnTo>
                    <a:close/>
                  </a:path>
                  <a:path w="5786120" h="406400">
                    <a:moveTo>
                      <a:pt x="1546263" y="0"/>
                    </a:moveTo>
                    <a:lnTo>
                      <a:pt x="1536026" y="0"/>
                    </a:lnTo>
                    <a:lnTo>
                      <a:pt x="1536026" y="10248"/>
                    </a:lnTo>
                    <a:lnTo>
                      <a:pt x="1546263" y="10248"/>
                    </a:lnTo>
                    <a:lnTo>
                      <a:pt x="1546263" y="0"/>
                    </a:lnTo>
                    <a:close/>
                  </a:path>
                  <a:path w="5786120" h="406400">
                    <a:moveTo>
                      <a:pt x="1607705" y="0"/>
                    </a:moveTo>
                    <a:lnTo>
                      <a:pt x="1597456" y="0"/>
                    </a:lnTo>
                    <a:lnTo>
                      <a:pt x="1597456" y="10248"/>
                    </a:lnTo>
                    <a:lnTo>
                      <a:pt x="1607705" y="10248"/>
                    </a:lnTo>
                    <a:lnTo>
                      <a:pt x="1607705" y="0"/>
                    </a:lnTo>
                    <a:close/>
                  </a:path>
                  <a:path w="5786120" h="406400">
                    <a:moveTo>
                      <a:pt x="1669148" y="0"/>
                    </a:moveTo>
                    <a:lnTo>
                      <a:pt x="1658899" y="0"/>
                    </a:lnTo>
                    <a:lnTo>
                      <a:pt x="1658899" y="10248"/>
                    </a:lnTo>
                    <a:lnTo>
                      <a:pt x="1669148" y="10248"/>
                    </a:lnTo>
                    <a:lnTo>
                      <a:pt x="1669148" y="0"/>
                    </a:lnTo>
                    <a:close/>
                  </a:path>
                  <a:path w="5786120" h="406400">
                    <a:moveTo>
                      <a:pt x="1730590" y="0"/>
                    </a:moveTo>
                    <a:lnTo>
                      <a:pt x="1720342" y="0"/>
                    </a:lnTo>
                    <a:lnTo>
                      <a:pt x="1720342" y="10248"/>
                    </a:lnTo>
                    <a:lnTo>
                      <a:pt x="1730590" y="10248"/>
                    </a:lnTo>
                    <a:lnTo>
                      <a:pt x="1730590" y="0"/>
                    </a:lnTo>
                    <a:close/>
                  </a:path>
                  <a:path w="5786120" h="406400">
                    <a:moveTo>
                      <a:pt x="1792020" y="0"/>
                    </a:moveTo>
                    <a:lnTo>
                      <a:pt x="1781784" y="0"/>
                    </a:lnTo>
                    <a:lnTo>
                      <a:pt x="1781784" y="10248"/>
                    </a:lnTo>
                    <a:lnTo>
                      <a:pt x="1792020" y="10248"/>
                    </a:lnTo>
                    <a:lnTo>
                      <a:pt x="1792020" y="0"/>
                    </a:lnTo>
                    <a:close/>
                  </a:path>
                  <a:path w="5786120" h="406400">
                    <a:moveTo>
                      <a:pt x="1853463" y="0"/>
                    </a:moveTo>
                    <a:lnTo>
                      <a:pt x="1843227" y="0"/>
                    </a:lnTo>
                    <a:lnTo>
                      <a:pt x="1843227" y="10248"/>
                    </a:lnTo>
                    <a:lnTo>
                      <a:pt x="1853463" y="10248"/>
                    </a:lnTo>
                    <a:lnTo>
                      <a:pt x="1853463" y="0"/>
                    </a:lnTo>
                    <a:close/>
                  </a:path>
                  <a:path w="5786120" h="406400">
                    <a:moveTo>
                      <a:pt x="1914906" y="0"/>
                    </a:moveTo>
                    <a:lnTo>
                      <a:pt x="1904669" y="0"/>
                    </a:lnTo>
                    <a:lnTo>
                      <a:pt x="1904669" y="10248"/>
                    </a:lnTo>
                    <a:lnTo>
                      <a:pt x="1914906" y="10248"/>
                    </a:lnTo>
                    <a:lnTo>
                      <a:pt x="1914906" y="0"/>
                    </a:lnTo>
                    <a:close/>
                  </a:path>
                  <a:path w="5786120" h="406400">
                    <a:moveTo>
                      <a:pt x="1976348" y="0"/>
                    </a:moveTo>
                    <a:lnTo>
                      <a:pt x="1966112" y="0"/>
                    </a:lnTo>
                    <a:lnTo>
                      <a:pt x="1966112" y="10248"/>
                    </a:lnTo>
                    <a:lnTo>
                      <a:pt x="1976348" y="10248"/>
                    </a:lnTo>
                    <a:lnTo>
                      <a:pt x="1976348" y="0"/>
                    </a:lnTo>
                    <a:close/>
                  </a:path>
                  <a:path w="5786120" h="406400">
                    <a:moveTo>
                      <a:pt x="2037791" y="0"/>
                    </a:moveTo>
                    <a:lnTo>
                      <a:pt x="2027555" y="0"/>
                    </a:lnTo>
                    <a:lnTo>
                      <a:pt x="2027555" y="10248"/>
                    </a:lnTo>
                    <a:lnTo>
                      <a:pt x="2037791" y="10248"/>
                    </a:lnTo>
                    <a:lnTo>
                      <a:pt x="2037791" y="0"/>
                    </a:lnTo>
                    <a:close/>
                  </a:path>
                  <a:path w="5786120" h="406400">
                    <a:moveTo>
                      <a:pt x="2099233" y="0"/>
                    </a:moveTo>
                    <a:lnTo>
                      <a:pt x="2088984" y="0"/>
                    </a:lnTo>
                    <a:lnTo>
                      <a:pt x="2088984" y="10248"/>
                    </a:lnTo>
                    <a:lnTo>
                      <a:pt x="2099233" y="10248"/>
                    </a:lnTo>
                    <a:lnTo>
                      <a:pt x="2099233" y="0"/>
                    </a:lnTo>
                    <a:close/>
                  </a:path>
                  <a:path w="5786120" h="406400">
                    <a:moveTo>
                      <a:pt x="2160676" y="0"/>
                    </a:moveTo>
                    <a:lnTo>
                      <a:pt x="2150427" y="0"/>
                    </a:lnTo>
                    <a:lnTo>
                      <a:pt x="2150427" y="10248"/>
                    </a:lnTo>
                    <a:lnTo>
                      <a:pt x="2160676" y="10248"/>
                    </a:lnTo>
                    <a:lnTo>
                      <a:pt x="2160676" y="0"/>
                    </a:lnTo>
                    <a:close/>
                  </a:path>
                  <a:path w="5786120" h="406400">
                    <a:moveTo>
                      <a:pt x="2222106" y="0"/>
                    </a:moveTo>
                    <a:lnTo>
                      <a:pt x="2211870" y="0"/>
                    </a:lnTo>
                    <a:lnTo>
                      <a:pt x="2211870" y="10248"/>
                    </a:lnTo>
                    <a:lnTo>
                      <a:pt x="2222106" y="10248"/>
                    </a:lnTo>
                    <a:lnTo>
                      <a:pt x="2222106" y="0"/>
                    </a:lnTo>
                    <a:close/>
                  </a:path>
                  <a:path w="5786120" h="406400">
                    <a:moveTo>
                      <a:pt x="2283549" y="0"/>
                    </a:moveTo>
                    <a:lnTo>
                      <a:pt x="2273312" y="0"/>
                    </a:lnTo>
                    <a:lnTo>
                      <a:pt x="2273312" y="10248"/>
                    </a:lnTo>
                    <a:lnTo>
                      <a:pt x="2283549" y="10248"/>
                    </a:lnTo>
                    <a:lnTo>
                      <a:pt x="2283549" y="0"/>
                    </a:lnTo>
                    <a:close/>
                  </a:path>
                  <a:path w="5786120" h="406400">
                    <a:moveTo>
                      <a:pt x="2344991" y="0"/>
                    </a:moveTo>
                    <a:lnTo>
                      <a:pt x="2334755" y="0"/>
                    </a:lnTo>
                    <a:lnTo>
                      <a:pt x="2334755" y="10248"/>
                    </a:lnTo>
                    <a:lnTo>
                      <a:pt x="2344991" y="10248"/>
                    </a:lnTo>
                    <a:lnTo>
                      <a:pt x="2344991" y="0"/>
                    </a:lnTo>
                    <a:close/>
                  </a:path>
                  <a:path w="5786120" h="406400">
                    <a:moveTo>
                      <a:pt x="2406434" y="0"/>
                    </a:moveTo>
                    <a:lnTo>
                      <a:pt x="2396198" y="0"/>
                    </a:lnTo>
                    <a:lnTo>
                      <a:pt x="2396198" y="10248"/>
                    </a:lnTo>
                    <a:lnTo>
                      <a:pt x="2406434" y="10248"/>
                    </a:lnTo>
                    <a:lnTo>
                      <a:pt x="2406434" y="0"/>
                    </a:lnTo>
                    <a:close/>
                  </a:path>
                  <a:path w="5786120" h="406400">
                    <a:moveTo>
                      <a:pt x="2467876" y="0"/>
                    </a:moveTo>
                    <a:lnTo>
                      <a:pt x="2457640" y="0"/>
                    </a:lnTo>
                    <a:lnTo>
                      <a:pt x="2457640" y="10248"/>
                    </a:lnTo>
                    <a:lnTo>
                      <a:pt x="2467876" y="10248"/>
                    </a:lnTo>
                    <a:lnTo>
                      <a:pt x="2467876" y="0"/>
                    </a:lnTo>
                    <a:close/>
                  </a:path>
                  <a:path w="5786120" h="406400">
                    <a:moveTo>
                      <a:pt x="2529319" y="0"/>
                    </a:moveTo>
                    <a:lnTo>
                      <a:pt x="2519070" y="0"/>
                    </a:lnTo>
                    <a:lnTo>
                      <a:pt x="2519070" y="10248"/>
                    </a:lnTo>
                    <a:lnTo>
                      <a:pt x="2529319" y="10248"/>
                    </a:lnTo>
                    <a:lnTo>
                      <a:pt x="2529319" y="0"/>
                    </a:lnTo>
                    <a:close/>
                  </a:path>
                  <a:path w="5786120" h="406400">
                    <a:moveTo>
                      <a:pt x="2590762" y="0"/>
                    </a:moveTo>
                    <a:lnTo>
                      <a:pt x="2580513" y="0"/>
                    </a:lnTo>
                    <a:lnTo>
                      <a:pt x="2580513" y="10248"/>
                    </a:lnTo>
                    <a:lnTo>
                      <a:pt x="2590762" y="10248"/>
                    </a:lnTo>
                    <a:lnTo>
                      <a:pt x="2590762" y="0"/>
                    </a:lnTo>
                    <a:close/>
                  </a:path>
                  <a:path w="5786120" h="406400">
                    <a:moveTo>
                      <a:pt x="2652191" y="0"/>
                    </a:moveTo>
                    <a:lnTo>
                      <a:pt x="2641955" y="0"/>
                    </a:lnTo>
                    <a:lnTo>
                      <a:pt x="2641955" y="10248"/>
                    </a:lnTo>
                    <a:lnTo>
                      <a:pt x="2652191" y="10248"/>
                    </a:lnTo>
                    <a:lnTo>
                      <a:pt x="2652191" y="0"/>
                    </a:lnTo>
                    <a:close/>
                  </a:path>
                  <a:path w="5786120" h="406400">
                    <a:moveTo>
                      <a:pt x="2713634" y="0"/>
                    </a:moveTo>
                    <a:lnTo>
                      <a:pt x="2703398" y="0"/>
                    </a:lnTo>
                    <a:lnTo>
                      <a:pt x="2703398" y="10248"/>
                    </a:lnTo>
                    <a:lnTo>
                      <a:pt x="2713634" y="10248"/>
                    </a:lnTo>
                    <a:lnTo>
                      <a:pt x="2713634" y="0"/>
                    </a:lnTo>
                    <a:close/>
                  </a:path>
                  <a:path w="5786120" h="406400">
                    <a:moveTo>
                      <a:pt x="2775077" y="0"/>
                    </a:moveTo>
                    <a:lnTo>
                      <a:pt x="2764840" y="0"/>
                    </a:lnTo>
                    <a:lnTo>
                      <a:pt x="2764840" y="10248"/>
                    </a:lnTo>
                    <a:lnTo>
                      <a:pt x="2775077" y="10248"/>
                    </a:lnTo>
                    <a:lnTo>
                      <a:pt x="2775077" y="0"/>
                    </a:lnTo>
                    <a:close/>
                  </a:path>
                  <a:path w="5786120" h="406400">
                    <a:moveTo>
                      <a:pt x="2836519" y="0"/>
                    </a:moveTo>
                    <a:lnTo>
                      <a:pt x="2826283" y="0"/>
                    </a:lnTo>
                    <a:lnTo>
                      <a:pt x="2826283" y="10248"/>
                    </a:lnTo>
                    <a:lnTo>
                      <a:pt x="2836519" y="10248"/>
                    </a:lnTo>
                    <a:lnTo>
                      <a:pt x="2836519" y="0"/>
                    </a:lnTo>
                    <a:close/>
                  </a:path>
                  <a:path w="5786120" h="406400">
                    <a:moveTo>
                      <a:pt x="2897962" y="0"/>
                    </a:moveTo>
                    <a:lnTo>
                      <a:pt x="2887726" y="0"/>
                    </a:lnTo>
                    <a:lnTo>
                      <a:pt x="2887726" y="10248"/>
                    </a:lnTo>
                    <a:lnTo>
                      <a:pt x="2897962" y="10248"/>
                    </a:lnTo>
                    <a:lnTo>
                      <a:pt x="2897962" y="0"/>
                    </a:lnTo>
                    <a:close/>
                  </a:path>
                  <a:path w="5786120" h="406400">
                    <a:moveTo>
                      <a:pt x="2959404" y="0"/>
                    </a:moveTo>
                    <a:lnTo>
                      <a:pt x="2949156" y="0"/>
                    </a:lnTo>
                    <a:lnTo>
                      <a:pt x="2949156" y="10248"/>
                    </a:lnTo>
                    <a:lnTo>
                      <a:pt x="2959404" y="10248"/>
                    </a:lnTo>
                    <a:lnTo>
                      <a:pt x="2959404" y="0"/>
                    </a:lnTo>
                    <a:close/>
                  </a:path>
                  <a:path w="5786120" h="406400">
                    <a:moveTo>
                      <a:pt x="3020847" y="0"/>
                    </a:moveTo>
                    <a:lnTo>
                      <a:pt x="3010598" y="0"/>
                    </a:lnTo>
                    <a:lnTo>
                      <a:pt x="3010598" y="10248"/>
                    </a:lnTo>
                    <a:lnTo>
                      <a:pt x="3020847" y="10248"/>
                    </a:lnTo>
                    <a:lnTo>
                      <a:pt x="3020847" y="0"/>
                    </a:lnTo>
                    <a:close/>
                  </a:path>
                  <a:path w="5786120" h="406400">
                    <a:moveTo>
                      <a:pt x="3082277" y="0"/>
                    </a:moveTo>
                    <a:lnTo>
                      <a:pt x="3072041" y="0"/>
                    </a:lnTo>
                    <a:lnTo>
                      <a:pt x="3072041" y="10248"/>
                    </a:lnTo>
                    <a:lnTo>
                      <a:pt x="3082277" y="10248"/>
                    </a:lnTo>
                    <a:lnTo>
                      <a:pt x="3082277" y="0"/>
                    </a:lnTo>
                    <a:close/>
                  </a:path>
                  <a:path w="5786120" h="406400">
                    <a:moveTo>
                      <a:pt x="3143720" y="0"/>
                    </a:moveTo>
                    <a:lnTo>
                      <a:pt x="3133483" y="0"/>
                    </a:lnTo>
                    <a:lnTo>
                      <a:pt x="3133483" y="10248"/>
                    </a:lnTo>
                    <a:lnTo>
                      <a:pt x="3143720" y="10248"/>
                    </a:lnTo>
                    <a:lnTo>
                      <a:pt x="3143720" y="0"/>
                    </a:lnTo>
                    <a:close/>
                  </a:path>
                  <a:path w="5786120" h="406400">
                    <a:moveTo>
                      <a:pt x="3205162" y="0"/>
                    </a:moveTo>
                    <a:lnTo>
                      <a:pt x="3194926" y="0"/>
                    </a:lnTo>
                    <a:lnTo>
                      <a:pt x="3194926" y="10248"/>
                    </a:lnTo>
                    <a:lnTo>
                      <a:pt x="3205162" y="10248"/>
                    </a:lnTo>
                    <a:lnTo>
                      <a:pt x="3205162" y="0"/>
                    </a:lnTo>
                    <a:close/>
                  </a:path>
                  <a:path w="5786120" h="406400">
                    <a:moveTo>
                      <a:pt x="3266605" y="0"/>
                    </a:moveTo>
                    <a:lnTo>
                      <a:pt x="3256369" y="0"/>
                    </a:lnTo>
                    <a:lnTo>
                      <a:pt x="3256369" y="10248"/>
                    </a:lnTo>
                    <a:lnTo>
                      <a:pt x="3266605" y="10248"/>
                    </a:lnTo>
                    <a:lnTo>
                      <a:pt x="3266605" y="0"/>
                    </a:lnTo>
                    <a:close/>
                  </a:path>
                  <a:path w="5786120" h="406400">
                    <a:moveTo>
                      <a:pt x="3328047" y="0"/>
                    </a:moveTo>
                    <a:lnTo>
                      <a:pt x="3317811" y="0"/>
                    </a:lnTo>
                    <a:lnTo>
                      <a:pt x="3317811" y="10248"/>
                    </a:lnTo>
                    <a:lnTo>
                      <a:pt x="3328047" y="10248"/>
                    </a:lnTo>
                    <a:lnTo>
                      <a:pt x="3328047" y="0"/>
                    </a:lnTo>
                    <a:close/>
                  </a:path>
                  <a:path w="5786120" h="406400">
                    <a:moveTo>
                      <a:pt x="3389490" y="0"/>
                    </a:moveTo>
                    <a:lnTo>
                      <a:pt x="3379241" y="0"/>
                    </a:lnTo>
                    <a:lnTo>
                      <a:pt x="3379241" y="10248"/>
                    </a:lnTo>
                    <a:lnTo>
                      <a:pt x="3389490" y="10248"/>
                    </a:lnTo>
                    <a:lnTo>
                      <a:pt x="3389490" y="0"/>
                    </a:lnTo>
                    <a:close/>
                  </a:path>
                  <a:path w="5786120" h="406400">
                    <a:moveTo>
                      <a:pt x="3450933" y="0"/>
                    </a:moveTo>
                    <a:lnTo>
                      <a:pt x="3440684" y="0"/>
                    </a:lnTo>
                    <a:lnTo>
                      <a:pt x="3440684" y="10248"/>
                    </a:lnTo>
                    <a:lnTo>
                      <a:pt x="3450933" y="10248"/>
                    </a:lnTo>
                    <a:lnTo>
                      <a:pt x="3450933" y="0"/>
                    </a:lnTo>
                    <a:close/>
                  </a:path>
                  <a:path w="5786120" h="406400">
                    <a:moveTo>
                      <a:pt x="3512375" y="0"/>
                    </a:moveTo>
                    <a:lnTo>
                      <a:pt x="3502126" y="0"/>
                    </a:lnTo>
                    <a:lnTo>
                      <a:pt x="3502126" y="10248"/>
                    </a:lnTo>
                    <a:lnTo>
                      <a:pt x="3512375" y="10248"/>
                    </a:lnTo>
                    <a:lnTo>
                      <a:pt x="3512375" y="0"/>
                    </a:lnTo>
                    <a:close/>
                  </a:path>
                  <a:path w="5786120" h="406400">
                    <a:moveTo>
                      <a:pt x="3573805" y="0"/>
                    </a:moveTo>
                    <a:lnTo>
                      <a:pt x="3563569" y="0"/>
                    </a:lnTo>
                    <a:lnTo>
                      <a:pt x="3563569" y="10248"/>
                    </a:lnTo>
                    <a:lnTo>
                      <a:pt x="3573805" y="10248"/>
                    </a:lnTo>
                    <a:lnTo>
                      <a:pt x="3573805" y="0"/>
                    </a:lnTo>
                    <a:close/>
                  </a:path>
                  <a:path w="5786120" h="406400">
                    <a:moveTo>
                      <a:pt x="3635248" y="0"/>
                    </a:moveTo>
                    <a:lnTo>
                      <a:pt x="3625011" y="0"/>
                    </a:lnTo>
                    <a:lnTo>
                      <a:pt x="3625011" y="10248"/>
                    </a:lnTo>
                    <a:lnTo>
                      <a:pt x="3635248" y="10248"/>
                    </a:lnTo>
                    <a:lnTo>
                      <a:pt x="3635248" y="0"/>
                    </a:lnTo>
                    <a:close/>
                  </a:path>
                  <a:path w="5786120" h="406400">
                    <a:moveTo>
                      <a:pt x="3696690" y="0"/>
                    </a:moveTo>
                    <a:lnTo>
                      <a:pt x="3686454" y="0"/>
                    </a:lnTo>
                    <a:lnTo>
                      <a:pt x="3686454" y="10248"/>
                    </a:lnTo>
                    <a:lnTo>
                      <a:pt x="3696690" y="10248"/>
                    </a:lnTo>
                    <a:lnTo>
                      <a:pt x="3696690" y="0"/>
                    </a:lnTo>
                    <a:close/>
                  </a:path>
                  <a:path w="5786120" h="406400">
                    <a:moveTo>
                      <a:pt x="3758133" y="0"/>
                    </a:moveTo>
                    <a:lnTo>
                      <a:pt x="3747897" y="0"/>
                    </a:lnTo>
                    <a:lnTo>
                      <a:pt x="3747897" y="10248"/>
                    </a:lnTo>
                    <a:lnTo>
                      <a:pt x="3758133" y="10248"/>
                    </a:lnTo>
                    <a:lnTo>
                      <a:pt x="3758133" y="0"/>
                    </a:lnTo>
                    <a:close/>
                  </a:path>
                  <a:path w="5786120" h="406400">
                    <a:moveTo>
                      <a:pt x="3819575" y="0"/>
                    </a:moveTo>
                    <a:lnTo>
                      <a:pt x="3809339" y="0"/>
                    </a:lnTo>
                    <a:lnTo>
                      <a:pt x="3809339" y="10248"/>
                    </a:lnTo>
                    <a:lnTo>
                      <a:pt x="3819575" y="10248"/>
                    </a:lnTo>
                    <a:lnTo>
                      <a:pt x="3819575" y="0"/>
                    </a:lnTo>
                    <a:close/>
                  </a:path>
                  <a:path w="5786120" h="406400">
                    <a:moveTo>
                      <a:pt x="3881018" y="0"/>
                    </a:moveTo>
                    <a:lnTo>
                      <a:pt x="3870769" y="0"/>
                    </a:lnTo>
                    <a:lnTo>
                      <a:pt x="3870769" y="10248"/>
                    </a:lnTo>
                    <a:lnTo>
                      <a:pt x="3881018" y="10248"/>
                    </a:lnTo>
                    <a:lnTo>
                      <a:pt x="3881018" y="0"/>
                    </a:lnTo>
                    <a:close/>
                  </a:path>
                  <a:path w="5786120" h="406400">
                    <a:moveTo>
                      <a:pt x="3942461" y="0"/>
                    </a:moveTo>
                    <a:lnTo>
                      <a:pt x="3932212" y="0"/>
                    </a:lnTo>
                    <a:lnTo>
                      <a:pt x="3932212" y="10248"/>
                    </a:lnTo>
                    <a:lnTo>
                      <a:pt x="3942461" y="10248"/>
                    </a:lnTo>
                    <a:lnTo>
                      <a:pt x="3942461" y="0"/>
                    </a:lnTo>
                    <a:close/>
                  </a:path>
                  <a:path w="5786120" h="406400">
                    <a:moveTo>
                      <a:pt x="4003891" y="0"/>
                    </a:moveTo>
                    <a:lnTo>
                      <a:pt x="3993654" y="0"/>
                    </a:lnTo>
                    <a:lnTo>
                      <a:pt x="3993654" y="10248"/>
                    </a:lnTo>
                    <a:lnTo>
                      <a:pt x="4003891" y="10248"/>
                    </a:lnTo>
                    <a:lnTo>
                      <a:pt x="4003891" y="0"/>
                    </a:lnTo>
                    <a:close/>
                  </a:path>
                  <a:path w="5786120" h="406400">
                    <a:moveTo>
                      <a:pt x="5539918" y="395579"/>
                    </a:moveTo>
                    <a:lnTo>
                      <a:pt x="5529681" y="395579"/>
                    </a:lnTo>
                    <a:lnTo>
                      <a:pt x="5529681" y="405828"/>
                    </a:lnTo>
                    <a:lnTo>
                      <a:pt x="5539918" y="405828"/>
                    </a:lnTo>
                    <a:lnTo>
                      <a:pt x="5539918" y="395579"/>
                    </a:lnTo>
                    <a:close/>
                  </a:path>
                  <a:path w="5786120" h="406400">
                    <a:moveTo>
                      <a:pt x="5601360" y="395579"/>
                    </a:moveTo>
                    <a:lnTo>
                      <a:pt x="5591111" y="395579"/>
                    </a:lnTo>
                    <a:lnTo>
                      <a:pt x="5591111" y="405828"/>
                    </a:lnTo>
                    <a:lnTo>
                      <a:pt x="5601360" y="405828"/>
                    </a:lnTo>
                    <a:lnTo>
                      <a:pt x="5601360" y="395579"/>
                    </a:lnTo>
                    <a:close/>
                  </a:path>
                  <a:path w="5786120" h="406400">
                    <a:moveTo>
                      <a:pt x="5662803" y="395579"/>
                    </a:moveTo>
                    <a:lnTo>
                      <a:pt x="5652554" y="395579"/>
                    </a:lnTo>
                    <a:lnTo>
                      <a:pt x="5652554" y="405828"/>
                    </a:lnTo>
                    <a:lnTo>
                      <a:pt x="5662803" y="405828"/>
                    </a:lnTo>
                    <a:lnTo>
                      <a:pt x="5662803" y="395579"/>
                    </a:lnTo>
                    <a:close/>
                  </a:path>
                  <a:path w="5786120" h="406400">
                    <a:moveTo>
                      <a:pt x="5724245" y="395579"/>
                    </a:moveTo>
                    <a:lnTo>
                      <a:pt x="5713996" y="395579"/>
                    </a:lnTo>
                    <a:lnTo>
                      <a:pt x="5713996" y="405828"/>
                    </a:lnTo>
                    <a:lnTo>
                      <a:pt x="5724245" y="405828"/>
                    </a:lnTo>
                    <a:lnTo>
                      <a:pt x="5724245" y="395579"/>
                    </a:lnTo>
                    <a:close/>
                  </a:path>
                  <a:path w="5786120" h="406400">
                    <a:moveTo>
                      <a:pt x="5785675" y="395579"/>
                    </a:moveTo>
                    <a:lnTo>
                      <a:pt x="5775439" y="395579"/>
                    </a:lnTo>
                    <a:lnTo>
                      <a:pt x="5775439" y="405828"/>
                    </a:lnTo>
                    <a:lnTo>
                      <a:pt x="5785675" y="405828"/>
                    </a:lnTo>
                    <a:lnTo>
                      <a:pt x="5785675" y="39557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6" name="object 136"/>
              <p:cNvSpPr/>
              <p:nvPr/>
            </p:nvSpPr>
            <p:spPr>
              <a:xfrm>
                <a:off x="561276" y="1983968"/>
                <a:ext cx="5786120" cy="406400"/>
              </a:xfrm>
              <a:custGeom>
                <a:avLst/>
                <a:gdLst/>
                <a:ahLst/>
                <a:cxnLst/>
                <a:rect l="l" t="t" r="r" b="b"/>
                <a:pathLst>
                  <a:path w="5786120" h="406400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36" y="10236"/>
                    </a:lnTo>
                    <a:lnTo>
                      <a:pt x="10236" y="0"/>
                    </a:lnTo>
                    <a:close/>
                  </a:path>
                  <a:path w="5786120" h="406400">
                    <a:moveTo>
                      <a:pt x="71678" y="0"/>
                    </a:moveTo>
                    <a:lnTo>
                      <a:pt x="61442" y="0"/>
                    </a:lnTo>
                    <a:lnTo>
                      <a:pt x="61442" y="10236"/>
                    </a:lnTo>
                    <a:lnTo>
                      <a:pt x="71678" y="10236"/>
                    </a:lnTo>
                    <a:lnTo>
                      <a:pt x="71678" y="0"/>
                    </a:lnTo>
                    <a:close/>
                  </a:path>
                  <a:path w="5786120" h="406400">
                    <a:moveTo>
                      <a:pt x="133121" y="0"/>
                    </a:moveTo>
                    <a:lnTo>
                      <a:pt x="122885" y="0"/>
                    </a:lnTo>
                    <a:lnTo>
                      <a:pt x="122885" y="10236"/>
                    </a:lnTo>
                    <a:lnTo>
                      <a:pt x="133121" y="10236"/>
                    </a:lnTo>
                    <a:lnTo>
                      <a:pt x="133121" y="0"/>
                    </a:lnTo>
                    <a:close/>
                  </a:path>
                  <a:path w="5786120" h="406400">
                    <a:moveTo>
                      <a:pt x="194564" y="0"/>
                    </a:moveTo>
                    <a:lnTo>
                      <a:pt x="184327" y="0"/>
                    </a:lnTo>
                    <a:lnTo>
                      <a:pt x="184327" y="10236"/>
                    </a:lnTo>
                    <a:lnTo>
                      <a:pt x="194564" y="10236"/>
                    </a:lnTo>
                    <a:lnTo>
                      <a:pt x="194564" y="0"/>
                    </a:lnTo>
                    <a:close/>
                  </a:path>
                  <a:path w="5786120" h="406400">
                    <a:moveTo>
                      <a:pt x="256006" y="0"/>
                    </a:moveTo>
                    <a:lnTo>
                      <a:pt x="245770" y="0"/>
                    </a:lnTo>
                    <a:lnTo>
                      <a:pt x="245770" y="10236"/>
                    </a:lnTo>
                    <a:lnTo>
                      <a:pt x="256006" y="10236"/>
                    </a:lnTo>
                    <a:lnTo>
                      <a:pt x="256006" y="0"/>
                    </a:lnTo>
                    <a:close/>
                  </a:path>
                  <a:path w="5786120" h="406400">
                    <a:moveTo>
                      <a:pt x="317449" y="0"/>
                    </a:moveTo>
                    <a:lnTo>
                      <a:pt x="307200" y="0"/>
                    </a:lnTo>
                    <a:lnTo>
                      <a:pt x="307200" y="10236"/>
                    </a:lnTo>
                    <a:lnTo>
                      <a:pt x="317449" y="10236"/>
                    </a:lnTo>
                    <a:lnTo>
                      <a:pt x="317449" y="0"/>
                    </a:lnTo>
                    <a:close/>
                  </a:path>
                  <a:path w="5786120" h="406400">
                    <a:moveTo>
                      <a:pt x="378891" y="0"/>
                    </a:moveTo>
                    <a:lnTo>
                      <a:pt x="368642" y="0"/>
                    </a:lnTo>
                    <a:lnTo>
                      <a:pt x="368642" y="10236"/>
                    </a:lnTo>
                    <a:lnTo>
                      <a:pt x="378891" y="10236"/>
                    </a:lnTo>
                    <a:lnTo>
                      <a:pt x="378891" y="0"/>
                    </a:lnTo>
                    <a:close/>
                  </a:path>
                  <a:path w="5786120" h="406400">
                    <a:moveTo>
                      <a:pt x="440321" y="0"/>
                    </a:moveTo>
                    <a:lnTo>
                      <a:pt x="430085" y="0"/>
                    </a:lnTo>
                    <a:lnTo>
                      <a:pt x="430085" y="10236"/>
                    </a:lnTo>
                    <a:lnTo>
                      <a:pt x="440321" y="10236"/>
                    </a:lnTo>
                    <a:lnTo>
                      <a:pt x="440321" y="0"/>
                    </a:lnTo>
                    <a:close/>
                  </a:path>
                  <a:path w="5786120" h="406400">
                    <a:moveTo>
                      <a:pt x="501764" y="0"/>
                    </a:moveTo>
                    <a:lnTo>
                      <a:pt x="491528" y="0"/>
                    </a:lnTo>
                    <a:lnTo>
                      <a:pt x="491528" y="10236"/>
                    </a:lnTo>
                    <a:lnTo>
                      <a:pt x="501764" y="10236"/>
                    </a:lnTo>
                    <a:lnTo>
                      <a:pt x="501764" y="0"/>
                    </a:lnTo>
                    <a:close/>
                  </a:path>
                  <a:path w="5786120" h="406400">
                    <a:moveTo>
                      <a:pt x="563206" y="0"/>
                    </a:moveTo>
                    <a:lnTo>
                      <a:pt x="552970" y="0"/>
                    </a:lnTo>
                    <a:lnTo>
                      <a:pt x="552970" y="10236"/>
                    </a:lnTo>
                    <a:lnTo>
                      <a:pt x="563206" y="10236"/>
                    </a:lnTo>
                    <a:lnTo>
                      <a:pt x="563206" y="0"/>
                    </a:lnTo>
                    <a:close/>
                  </a:path>
                  <a:path w="5786120" h="406400">
                    <a:moveTo>
                      <a:pt x="624649" y="0"/>
                    </a:moveTo>
                    <a:lnTo>
                      <a:pt x="614413" y="0"/>
                    </a:lnTo>
                    <a:lnTo>
                      <a:pt x="614413" y="10236"/>
                    </a:lnTo>
                    <a:lnTo>
                      <a:pt x="624649" y="10236"/>
                    </a:lnTo>
                    <a:lnTo>
                      <a:pt x="624649" y="0"/>
                    </a:lnTo>
                    <a:close/>
                  </a:path>
                  <a:path w="5786120" h="406400">
                    <a:moveTo>
                      <a:pt x="686092" y="0"/>
                    </a:moveTo>
                    <a:lnTo>
                      <a:pt x="675855" y="0"/>
                    </a:lnTo>
                    <a:lnTo>
                      <a:pt x="675855" y="10236"/>
                    </a:lnTo>
                    <a:lnTo>
                      <a:pt x="686092" y="10236"/>
                    </a:lnTo>
                    <a:lnTo>
                      <a:pt x="686092" y="0"/>
                    </a:lnTo>
                    <a:close/>
                  </a:path>
                  <a:path w="5786120" h="406400">
                    <a:moveTo>
                      <a:pt x="747534" y="0"/>
                    </a:moveTo>
                    <a:lnTo>
                      <a:pt x="737285" y="0"/>
                    </a:lnTo>
                    <a:lnTo>
                      <a:pt x="737285" y="10236"/>
                    </a:lnTo>
                    <a:lnTo>
                      <a:pt x="747534" y="10236"/>
                    </a:lnTo>
                    <a:lnTo>
                      <a:pt x="747534" y="0"/>
                    </a:lnTo>
                    <a:close/>
                  </a:path>
                  <a:path w="5786120" h="406400">
                    <a:moveTo>
                      <a:pt x="808977" y="0"/>
                    </a:moveTo>
                    <a:lnTo>
                      <a:pt x="798728" y="0"/>
                    </a:lnTo>
                    <a:lnTo>
                      <a:pt x="798728" y="10236"/>
                    </a:lnTo>
                    <a:lnTo>
                      <a:pt x="808977" y="10236"/>
                    </a:lnTo>
                    <a:lnTo>
                      <a:pt x="808977" y="0"/>
                    </a:lnTo>
                    <a:close/>
                  </a:path>
                  <a:path w="5786120" h="406400">
                    <a:moveTo>
                      <a:pt x="870407" y="0"/>
                    </a:moveTo>
                    <a:lnTo>
                      <a:pt x="860171" y="0"/>
                    </a:lnTo>
                    <a:lnTo>
                      <a:pt x="860171" y="10236"/>
                    </a:lnTo>
                    <a:lnTo>
                      <a:pt x="870407" y="10236"/>
                    </a:lnTo>
                    <a:lnTo>
                      <a:pt x="870407" y="0"/>
                    </a:lnTo>
                    <a:close/>
                  </a:path>
                  <a:path w="5786120" h="406400">
                    <a:moveTo>
                      <a:pt x="931849" y="0"/>
                    </a:moveTo>
                    <a:lnTo>
                      <a:pt x="921613" y="0"/>
                    </a:lnTo>
                    <a:lnTo>
                      <a:pt x="921613" y="10236"/>
                    </a:lnTo>
                    <a:lnTo>
                      <a:pt x="931849" y="10236"/>
                    </a:lnTo>
                    <a:lnTo>
                      <a:pt x="931849" y="0"/>
                    </a:lnTo>
                    <a:close/>
                  </a:path>
                  <a:path w="5786120" h="406400">
                    <a:moveTo>
                      <a:pt x="993292" y="0"/>
                    </a:moveTo>
                    <a:lnTo>
                      <a:pt x="983056" y="0"/>
                    </a:lnTo>
                    <a:lnTo>
                      <a:pt x="983056" y="10236"/>
                    </a:lnTo>
                    <a:lnTo>
                      <a:pt x="993292" y="10236"/>
                    </a:lnTo>
                    <a:lnTo>
                      <a:pt x="993292" y="0"/>
                    </a:lnTo>
                    <a:close/>
                  </a:path>
                  <a:path w="5786120" h="406400">
                    <a:moveTo>
                      <a:pt x="1054735" y="0"/>
                    </a:moveTo>
                    <a:lnTo>
                      <a:pt x="1044498" y="0"/>
                    </a:lnTo>
                    <a:lnTo>
                      <a:pt x="1044498" y="10236"/>
                    </a:lnTo>
                    <a:lnTo>
                      <a:pt x="1054735" y="10236"/>
                    </a:lnTo>
                    <a:lnTo>
                      <a:pt x="1054735" y="0"/>
                    </a:lnTo>
                    <a:close/>
                  </a:path>
                  <a:path w="5786120" h="406400">
                    <a:moveTo>
                      <a:pt x="1116177" y="0"/>
                    </a:moveTo>
                    <a:lnTo>
                      <a:pt x="1105941" y="0"/>
                    </a:lnTo>
                    <a:lnTo>
                      <a:pt x="1105941" y="10236"/>
                    </a:lnTo>
                    <a:lnTo>
                      <a:pt x="1116177" y="10236"/>
                    </a:lnTo>
                    <a:lnTo>
                      <a:pt x="1116177" y="0"/>
                    </a:lnTo>
                    <a:close/>
                  </a:path>
                  <a:path w="5786120" h="406400">
                    <a:moveTo>
                      <a:pt x="1177620" y="0"/>
                    </a:moveTo>
                    <a:lnTo>
                      <a:pt x="1167371" y="0"/>
                    </a:lnTo>
                    <a:lnTo>
                      <a:pt x="1167371" y="10236"/>
                    </a:lnTo>
                    <a:lnTo>
                      <a:pt x="1177620" y="10236"/>
                    </a:lnTo>
                    <a:lnTo>
                      <a:pt x="1177620" y="0"/>
                    </a:lnTo>
                    <a:close/>
                  </a:path>
                  <a:path w="5786120" h="406400">
                    <a:moveTo>
                      <a:pt x="1239062" y="0"/>
                    </a:moveTo>
                    <a:lnTo>
                      <a:pt x="1228813" y="0"/>
                    </a:lnTo>
                    <a:lnTo>
                      <a:pt x="1228813" y="10236"/>
                    </a:lnTo>
                    <a:lnTo>
                      <a:pt x="1239062" y="10236"/>
                    </a:lnTo>
                    <a:lnTo>
                      <a:pt x="1239062" y="0"/>
                    </a:lnTo>
                    <a:close/>
                  </a:path>
                  <a:path w="5786120" h="406400">
                    <a:moveTo>
                      <a:pt x="1300492" y="0"/>
                    </a:moveTo>
                    <a:lnTo>
                      <a:pt x="1290256" y="0"/>
                    </a:lnTo>
                    <a:lnTo>
                      <a:pt x="1290256" y="10236"/>
                    </a:lnTo>
                    <a:lnTo>
                      <a:pt x="1300492" y="10236"/>
                    </a:lnTo>
                    <a:lnTo>
                      <a:pt x="1300492" y="0"/>
                    </a:lnTo>
                    <a:close/>
                  </a:path>
                  <a:path w="5786120" h="406400">
                    <a:moveTo>
                      <a:pt x="1361935" y="0"/>
                    </a:moveTo>
                    <a:lnTo>
                      <a:pt x="1351699" y="0"/>
                    </a:lnTo>
                    <a:lnTo>
                      <a:pt x="1351699" y="10236"/>
                    </a:lnTo>
                    <a:lnTo>
                      <a:pt x="1361935" y="10236"/>
                    </a:lnTo>
                    <a:lnTo>
                      <a:pt x="1361935" y="0"/>
                    </a:lnTo>
                    <a:close/>
                  </a:path>
                  <a:path w="5786120" h="406400">
                    <a:moveTo>
                      <a:pt x="1423377" y="0"/>
                    </a:moveTo>
                    <a:lnTo>
                      <a:pt x="1413141" y="0"/>
                    </a:lnTo>
                    <a:lnTo>
                      <a:pt x="1413141" y="10236"/>
                    </a:lnTo>
                    <a:lnTo>
                      <a:pt x="1423377" y="10236"/>
                    </a:lnTo>
                    <a:lnTo>
                      <a:pt x="1423377" y="0"/>
                    </a:lnTo>
                    <a:close/>
                  </a:path>
                  <a:path w="5786120" h="406400">
                    <a:moveTo>
                      <a:pt x="1484820" y="0"/>
                    </a:moveTo>
                    <a:lnTo>
                      <a:pt x="1474584" y="0"/>
                    </a:lnTo>
                    <a:lnTo>
                      <a:pt x="1474584" y="10236"/>
                    </a:lnTo>
                    <a:lnTo>
                      <a:pt x="1484820" y="10236"/>
                    </a:lnTo>
                    <a:lnTo>
                      <a:pt x="1484820" y="0"/>
                    </a:lnTo>
                    <a:close/>
                  </a:path>
                  <a:path w="5786120" h="406400">
                    <a:moveTo>
                      <a:pt x="1546263" y="0"/>
                    </a:moveTo>
                    <a:lnTo>
                      <a:pt x="1536026" y="0"/>
                    </a:lnTo>
                    <a:lnTo>
                      <a:pt x="1536026" y="10236"/>
                    </a:lnTo>
                    <a:lnTo>
                      <a:pt x="1546263" y="10236"/>
                    </a:lnTo>
                    <a:lnTo>
                      <a:pt x="1546263" y="0"/>
                    </a:lnTo>
                    <a:close/>
                  </a:path>
                  <a:path w="5786120" h="406400">
                    <a:moveTo>
                      <a:pt x="1607705" y="0"/>
                    </a:moveTo>
                    <a:lnTo>
                      <a:pt x="1597456" y="0"/>
                    </a:lnTo>
                    <a:lnTo>
                      <a:pt x="1597456" y="10236"/>
                    </a:lnTo>
                    <a:lnTo>
                      <a:pt x="1607705" y="10236"/>
                    </a:lnTo>
                    <a:lnTo>
                      <a:pt x="1607705" y="0"/>
                    </a:lnTo>
                    <a:close/>
                  </a:path>
                  <a:path w="5786120" h="406400">
                    <a:moveTo>
                      <a:pt x="1669148" y="0"/>
                    </a:moveTo>
                    <a:lnTo>
                      <a:pt x="1658899" y="0"/>
                    </a:lnTo>
                    <a:lnTo>
                      <a:pt x="1658899" y="10236"/>
                    </a:lnTo>
                    <a:lnTo>
                      <a:pt x="1669148" y="10236"/>
                    </a:lnTo>
                    <a:lnTo>
                      <a:pt x="1669148" y="0"/>
                    </a:lnTo>
                    <a:close/>
                  </a:path>
                  <a:path w="5786120" h="406400">
                    <a:moveTo>
                      <a:pt x="1730590" y="0"/>
                    </a:moveTo>
                    <a:lnTo>
                      <a:pt x="1720342" y="0"/>
                    </a:lnTo>
                    <a:lnTo>
                      <a:pt x="1720342" y="10236"/>
                    </a:lnTo>
                    <a:lnTo>
                      <a:pt x="1730590" y="10236"/>
                    </a:lnTo>
                    <a:lnTo>
                      <a:pt x="1730590" y="0"/>
                    </a:lnTo>
                    <a:close/>
                  </a:path>
                  <a:path w="5786120" h="406400">
                    <a:moveTo>
                      <a:pt x="1792020" y="0"/>
                    </a:moveTo>
                    <a:lnTo>
                      <a:pt x="1781784" y="0"/>
                    </a:lnTo>
                    <a:lnTo>
                      <a:pt x="1781784" y="10236"/>
                    </a:lnTo>
                    <a:lnTo>
                      <a:pt x="1792020" y="10236"/>
                    </a:lnTo>
                    <a:lnTo>
                      <a:pt x="1792020" y="0"/>
                    </a:lnTo>
                    <a:close/>
                  </a:path>
                  <a:path w="5786120" h="406400">
                    <a:moveTo>
                      <a:pt x="1853463" y="0"/>
                    </a:moveTo>
                    <a:lnTo>
                      <a:pt x="1843227" y="0"/>
                    </a:lnTo>
                    <a:lnTo>
                      <a:pt x="1843227" y="10236"/>
                    </a:lnTo>
                    <a:lnTo>
                      <a:pt x="1853463" y="10236"/>
                    </a:lnTo>
                    <a:lnTo>
                      <a:pt x="1853463" y="0"/>
                    </a:lnTo>
                    <a:close/>
                  </a:path>
                  <a:path w="5786120" h="406400">
                    <a:moveTo>
                      <a:pt x="1914906" y="0"/>
                    </a:moveTo>
                    <a:lnTo>
                      <a:pt x="1904669" y="0"/>
                    </a:lnTo>
                    <a:lnTo>
                      <a:pt x="1904669" y="10236"/>
                    </a:lnTo>
                    <a:lnTo>
                      <a:pt x="1914906" y="10236"/>
                    </a:lnTo>
                    <a:lnTo>
                      <a:pt x="1914906" y="0"/>
                    </a:lnTo>
                    <a:close/>
                  </a:path>
                  <a:path w="5786120" h="406400">
                    <a:moveTo>
                      <a:pt x="1976348" y="0"/>
                    </a:moveTo>
                    <a:lnTo>
                      <a:pt x="1966112" y="0"/>
                    </a:lnTo>
                    <a:lnTo>
                      <a:pt x="1966112" y="10236"/>
                    </a:lnTo>
                    <a:lnTo>
                      <a:pt x="1976348" y="10236"/>
                    </a:lnTo>
                    <a:lnTo>
                      <a:pt x="1976348" y="0"/>
                    </a:lnTo>
                    <a:close/>
                  </a:path>
                  <a:path w="5786120" h="406400">
                    <a:moveTo>
                      <a:pt x="2037791" y="0"/>
                    </a:moveTo>
                    <a:lnTo>
                      <a:pt x="2027555" y="0"/>
                    </a:lnTo>
                    <a:lnTo>
                      <a:pt x="2027555" y="10236"/>
                    </a:lnTo>
                    <a:lnTo>
                      <a:pt x="2037791" y="10236"/>
                    </a:lnTo>
                    <a:lnTo>
                      <a:pt x="2037791" y="0"/>
                    </a:lnTo>
                    <a:close/>
                  </a:path>
                  <a:path w="5786120" h="406400">
                    <a:moveTo>
                      <a:pt x="2099233" y="0"/>
                    </a:moveTo>
                    <a:lnTo>
                      <a:pt x="2088984" y="0"/>
                    </a:lnTo>
                    <a:lnTo>
                      <a:pt x="2088984" y="10236"/>
                    </a:lnTo>
                    <a:lnTo>
                      <a:pt x="2099233" y="10236"/>
                    </a:lnTo>
                    <a:lnTo>
                      <a:pt x="2099233" y="0"/>
                    </a:lnTo>
                    <a:close/>
                  </a:path>
                  <a:path w="5786120" h="406400">
                    <a:moveTo>
                      <a:pt x="2160676" y="0"/>
                    </a:moveTo>
                    <a:lnTo>
                      <a:pt x="2150427" y="0"/>
                    </a:lnTo>
                    <a:lnTo>
                      <a:pt x="2150427" y="10236"/>
                    </a:lnTo>
                    <a:lnTo>
                      <a:pt x="2160676" y="10236"/>
                    </a:lnTo>
                    <a:lnTo>
                      <a:pt x="2160676" y="0"/>
                    </a:lnTo>
                    <a:close/>
                  </a:path>
                  <a:path w="5786120" h="406400">
                    <a:moveTo>
                      <a:pt x="2222106" y="0"/>
                    </a:moveTo>
                    <a:lnTo>
                      <a:pt x="2211870" y="0"/>
                    </a:lnTo>
                    <a:lnTo>
                      <a:pt x="2211870" y="10236"/>
                    </a:lnTo>
                    <a:lnTo>
                      <a:pt x="2222106" y="10236"/>
                    </a:lnTo>
                    <a:lnTo>
                      <a:pt x="2222106" y="0"/>
                    </a:lnTo>
                    <a:close/>
                  </a:path>
                  <a:path w="5786120" h="406400">
                    <a:moveTo>
                      <a:pt x="2283549" y="0"/>
                    </a:moveTo>
                    <a:lnTo>
                      <a:pt x="2273312" y="0"/>
                    </a:lnTo>
                    <a:lnTo>
                      <a:pt x="2273312" y="10236"/>
                    </a:lnTo>
                    <a:lnTo>
                      <a:pt x="2283549" y="10236"/>
                    </a:lnTo>
                    <a:lnTo>
                      <a:pt x="2283549" y="0"/>
                    </a:lnTo>
                    <a:close/>
                  </a:path>
                  <a:path w="5786120" h="406400">
                    <a:moveTo>
                      <a:pt x="2344991" y="0"/>
                    </a:moveTo>
                    <a:lnTo>
                      <a:pt x="2334755" y="0"/>
                    </a:lnTo>
                    <a:lnTo>
                      <a:pt x="2334755" y="10236"/>
                    </a:lnTo>
                    <a:lnTo>
                      <a:pt x="2344991" y="10236"/>
                    </a:lnTo>
                    <a:lnTo>
                      <a:pt x="2344991" y="0"/>
                    </a:lnTo>
                    <a:close/>
                  </a:path>
                  <a:path w="5786120" h="406400">
                    <a:moveTo>
                      <a:pt x="2406434" y="0"/>
                    </a:moveTo>
                    <a:lnTo>
                      <a:pt x="2396198" y="0"/>
                    </a:lnTo>
                    <a:lnTo>
                      <a:pt x="2396198" y="10236"/>
                    </a:lnTo>
                    <a:lnTo>
                      <a:pt x="2406434" y="10236"/>
                    </a:lnTo>
                    <a:lnTo>
                      <a:pt x="2406434" y="0"/>
                    </a:lnTo>
                    <a:close/>
                  </a:path>
                  <a:path w="5786120" h="406400">
                    <a:moveTo>
                      <a:pt x="2467876" y="0"/>
                    </a:moveTo>
                    <a:lnTo>
                      <a:pt x="2457640" y="0"/>
                    </a:lnTo>
                    <a:lnTo>
                      <a:pt x="2457640" y="10236"/>
                    </a:lnTo>
                    <a:lnTo>
                      <a:pt x="2467876" y="10236"/>
                    </a:lnTo>
                    <a:lnTo>
                      <a:pt x="2467876" y="0"/>
                    </a:lnTo>
                    <a:close/>
                  </a:path>
                  <a:path w="5786120" h="406400">
                    <a:moveTo>
                      <a:pt x="4003891" y="395579"/>
                    </a:moveTo>
                    <a:lnTo>
                      <a:pt x="3993654" y="395579"/>
                    </a:lnTo>
                    <a:lnTo>
                      <a:pt x="3993654" y="405828"/>
                    </a:lnTo>
                    <a:lnTo>
                      <a:pt x="4003891" y="405828"/>
                    </a:lnTo>
                    <a:lnTo>
                      <a:pt x="4003891" y="395579"/>
                    </a:lnTo>
                    <a:close/>
                  </a:path>
                  <a:path w="5786120" h="406400">
                    <a:moveTo>
                      <a:pt x="4065333" y="395579"/>
                    </a:moveTo>
                    <a:lnTo>
                      <a:pt x="4055097" y="395579"/>
                    </a:lnTo>
                    <a:lnTo>
                      <a:pt x="4055097" y="405828"/>
                    </a:lnTo>
                    <a:lnTo>
                      <a:pt x="4065333" y="405828"/>
                    </a:lnTo>
                    <a:lnTo>
                      <a:pt x="4065333" y="395579"/>
                    </a:lnTo>
                    <a:close/>
                  </a:path>
                  <a:path w="5786120" h="406400">
                    <a:moveTo>
                      <a:pt x="4126776" y="395579"/>
                    </a:moveTo>
                    <a:lnTo>
                      <a:pt x="4116540" y="395579"/>
                    </a:lnTo>
                    <a:lnTo>
                      <a:pt x="4116540" y="405828"/>
                    </a:lnTo>
                    <a:lnTo>
                      <a:pt x="4126776" y="405828"/>
                    </a:lnTo>
                    <a:lnTo>
                      <a:pt x="4126776" y="395579"/>
                    </a:lnTo>
                    <a:close/>
                  </a:path>
                  <a:path w="5786120" h="406400">
                    <a:moveTo>
                      <a:pt x="4188218" y="395579"/>
                    </a:moveTo>
                    <a:lnTo>
                      <a:pt x="4177982" y="395579"/>
                    </a:lnTo>
                    <a:lnTo>
                      <a:pt x="4177982" y="405828"/>
                    </a:lnTo>
                    <a:lnTo>
                      <a:pt x="4188218" y="405828"/>
                    </a:lnTo>
                    <a:lnTo>
                      <a:pt x="4188218" y="395579"/>
                    </a:lnTo>
                    <a:close/>
                  </a:path>
                  <a:path w="5786120" h="406400">
                    <a:moveTo>
                      <a:pt x="4249661" y="395579"/>
                    </a:moveTo>
                    <a:lnTo>
                      <a:pt x="4239425" y="395579"/>
                    </a:lnTo>
                    <a:lnTo>
                      <a:pt x="4239425" y="405828"/>
                    </a:lnTo>
                    <a:lnTo>
                      <a:pt x="4249661" y="405828"/>
                    </a:lnTo>
                    <a:lnTo>
                      <a:pt x="4249661" y="395579"/>
                    </a:lnTo>
                    <a:close/>
                  </a:path>
                  <a:path w="5786120" h="406400">
                    <a:moveTo>
                      <a:pt x="4311104" y="395579"/>
                    </a:moveTo>
                    <a:lnTo>
                      <a:pt x="4300855" y="395579"/>
                    </a:lnTo>
                    <a:lnTo>
                      <a:pt x="4300855" y="405828"/>
                    </a:lnTo>
                    <a:lnTo>
                      <a:pt x="4311104" y="405828"/>
                    </a:lnTo>
                    <a:lnTo>
                      <a:pt x="4311104" y="395579"/>
                    </a:lnTo>
                    <a:close/>
                  </a:path>
                  <a:path w="5786120" h="406400">
                    <a:moveTo>
                      <a:pt x="4372546" y="395579"/>
                    </a:moveTo>
                    <a:lnTo>
                      <a:pt x="4362297" y="395579"/>
                    </a:lnTo>
                    <a:lnTo>
                      <a:pt x="4362297" y="405828"/>
                    </a:lnTo>
                    <a:lnTo>
                      <a:pt x="4372546" y="405828"/>
                    </a:lnTo>
                    <a:lnTo>
                      <a:pt x="4372546" y="395579"/>
                    </a:lnTo>
                    <a:close/>
                  </a:path>
                  <a:path w="5786120" h="406400">
                    <a:moveTo>
                      <a:pt x="4433976" y="395579"/>
                    </a:moveTo>
                    <a:lnTo>
                      <a:pt x="4423740" y="395579"/>
                    </a:lnTo>
                    <a:lnTo>
                      <a:pt x="4423740" y="405828"/>
                    </a:lnTo>
                    <a:lnTo>
                      <a:pt x="4433976" y="405828"/>
                    </a:lnTo>
                    <a:lnTo>
                      <a:pt x="4433976" y="395579"/>
                    </a:lnTo>
                    <a:close/>
                  </a:path>
                  <a:path w="5786120" h="406400">
                    <a:moveTo>
                      <a:pt x="4495419" y="395579"/>
                    </a:moveTo>
                    <a:lnTo>
                      <a:pt x="4485183" y="395579"/>
                    </a:lnTo>
                    <a:lnTo>
                      <a:pt x="4485183" y="405828"/>
                    </a:lnTo>
                    <a:lnTo>
                      <a:pt x="4495419" y="405828"/>
                    </a:lnTo>
                    <a:lnTo>
                      <a:pt x="4495419" y="395579"/>
                    </a:lnTo>
                    <a:close/>
                  </a:path>
                  <a:path w="5786120" h="406400">
                    <a:moveTo>
                      <a:pt x="4556861" y="395579"/>
                    </a:moveTo>
                    <a:lnTo>
                      <a:pt x="4546625" y="395579"/>
                    </a:lnTo>
                    <a:lnTo>
                      <a:pt x="4546625" y="405828"/>
                    </a:lnTo>
                    <a:lnTo>
                      <a:pt x="4556861" y="405828"/>
                    </a:lnTo>
                    <a:lnTo>
                      <a:pt x="4556861" y="395579"/>
                    </a:lnTo>
                    <a:close/>
                  </a:path>
                  <a:path w="5786120" h="406400">
                    <a:moveTo>
                      <a:pt x="4618304" y="395579"/>
                    </a:moveTo>
                    <a:lnTo>
                      <a:pt x="4608068" y="395579"/>
                    </a:lnTo>
                    <a:lnTo>
                      <a:pt x="4608068" y="405828"/>
                    </a:lnTo>
                    <a:lnTo>
                      <a:pt x="4618304" y="405828"/>
                    </a:lnTo>
                    <a:lnTo>
                      <a:pt x="4618304" y="395579"/>
                    </a:lnTo>
                    <a:close/>
                  </a:path>
                  <a:path w="5786120" h="406400">
                    <a:moveTo>
                      <a:pt x="4679747" y="395579"/>
                    </a:moveTo>
                    <a:lnTo>
                      <a:pt x="4669510" y="395579"/>
                    </a:lnTo>
                    <a:lnTo>
                      <a:pt x="4669510" y="405828"/>
                    </a:lnTo>
                    <a:lnTo>
                      <a:pt x="4679747" y="405828"/>
                    </a:lnTo>
                    <a:lnTo>
                      <a:pt x="4679747" y="395579"/>
                    </a:lnTo>
                    <a:close/>
                  </a:path>
                  <a:path w="5786120" h="406400">
                    <a:moveTo>
                      <a:pt x="4741189" y="395579"/>
                    </a:moveTo>
                    <a:lnTo>
                      <a:pt x="4730940" y="395579"/>
                    </a:lnTo>
                    <a:lnTo>
                      <a:pt x="4730940" y="405828"/>
                    </a:lnTo>
                    <a:lnTo>
                      <a:pt x="4741189" y="405828"/>
                    </a:lnTo>
                    <a:lnTo>
                      <a:pt x="4741189" y="395579"/>
                    </a:lnTo>
                    <a:close/>
                  </a:path>
                  <a:path w="5786120" h="406400">
                    <a:moveTo>
                      <a:pt x="4802632" y="395579"/>
                    </a:moveTo>
                    <a:lnTo>
                      <a:pt x="4792383" y="395579"/>
                    </a:lnTo>
                    <a:lnTo>
                      <a:pt x="4792383" y="405828"/>
                    </a:lnTo>
                    <a:lnTo>
                      <a:pt x="4802632" y="405828"/>
                    </a:lnTo>
                    <a:lnTo>
                      <a:pt x="4802632" y="395579"/>
                    </a:lnTo>
                    <a:close/>
                  </a:path>
                  <a:path w="5786120" h="406400">
                    <a:moveTo>
                      <a:pt x="4864062" y="395579"/>
                    </a:moveTo>
                    <a:lnTo>
                      <a:pt x="4853825" y="395579"/>
                    </a:lnTo>
                    <a:lnTo>
                      <a:pt x="4853825" y="405828"/>
                    </a:lnTo>
                    <a:lnTo>
                      <a:pt x="4864062" y="405828"/>
                    </a:lnTo>
                    <a:lnTo>
                      <a:pt x="4864062" y="395579"/>
                    </a:lnTo>
                    <a:close/>
                  </a:path>
                  <a:path w="5786120" h="406400">
                    <a:moveTo>
                      <a:pt x="4925504" y="395579"/>
                    </a:moveTo>
                    <a:lnTo>
                      <a:pt x="4915268" y="395579"/>
                    </a:lnTo>
                    <a:lnTo>
                      <a:pt x="4915268" y="405828"/>
                    </a:lnTo>
                    <a:lnTo>
                      <a:pt x="4925504" y="405828"/>
                    </a:lnTo>
                    <a:lnTo>
                      <a:pt x="4925504" y="395579"/>
                    </a:lnTo>
                    <a:close/>
                  </a:path>
                  <a:path w="5786120" h="406400">
                    <a:moveTo>
                      <a:pt x="4986947" y="395579"/>
                    </a:moveTo>
                    <a:lnTo>
                      <a:pt x="4976711" y="395579"/>
                    </a:lnTo>
                    <a:lnTo>
                      <a:pt x="4976711" y="405828"/>
                    </a:lnTo>
                    <a:lnTo>
                      <a:pt x="4986947" y="405828"/>
                    </a:lnTo>
                    <a:lnTo>
                      <a:pt x="4986947" y="395579"/>
                    </a:lnTo>
                    <a:close/>
                  </a:path>
                  <a:path w="5786120" h="406400">
                    <a:moveTo>
                      <a:pt x="5048389" y="395579"/>
                    </a:moveTo>
                    <a:lnTo>
                      <a:pt x="5038153" y="395579"/>
                    </a:lnTo>
                    <a:lnTo>
                      <a:pt x="5038153" y="405828"/>
                    </a:lnTo>
                    <a:lnTo>
                      <a:pt x="5048389" y="405828"/>
                    </a:lnTo>
                    <a:lnTo>
                      <a:pt x="5048389" y="395579"/>
                    </a:lnTo>
                    <a:close/>
                  </a:path>
                  <a:path w="5786120" h="406400">
                    <a:moveTo>
                      <a:pt x="5109832" y="395579"/>
                    </a:moveTo>
                    <a:lnTo>
                      <a:pt x="5099596" y="395579"/>
                    </a:lnTo>
                    <a:lnTo>
                      <a:pt x="5099596" y="405828"/>
                    </a:lnTo>
                    <a:lnTo>
                      <a:pt x="5109832" y="405828"/>
                    </a:lnTo>
                    <a:lnTo>
                      <a:pt x="5109832" y="395579"/>
                    </a:lnTo>
                    <a:close/>
                  </a:path>
                  <a:path w="5786120" h="406400">
                    <a:moveTo>
                      <a:pt x="5171275" y="395579"/>
                    </a:moveTo>
                    <a:lnTo>
                      <a:pt x="5161026" y="395579"/>
                    </a:lnTo>
                    <a:lnTo>
                      <a:pt x="5161026" y="405828"/>
                    </a:lnTo>
                    <a:lnTo>
                      <a:pt x="5171275" y="405828"/>
                    </a:lnTo>
                    <a:lnTo>
                      <a:pt x="5171275" y="395579"/>
                    </a:lnTo>
                    <a:close/>
                  </a:path>
                  <a:path w="5786120" h="406400">
                    <a:moveTo>
                      <a:pt x="5232717" y="395579"/>
                    </a:moveTo>
                    <a:lnTo>
                      <a:pt x="5222468" y="395579"/>
                    </a:lnTo>
                    <a:lnTo>
                      <a:pt x="5222468" y="405828"/>
                    </a:lnTo>
                    <a:lnTo>
                      <a:pt x="5232717" y="405828"/>
                    </a:lnTo>
                    <a:lnTo>
                      <a:pt x="5232717" y="395579"/>
                    </a:lnTo>
                    <a:close/>
                  </a:path>
                  <a:path w="5786120" h="406400">
                    <a:moveTo>
                      <a:pt x="5294147" y="395579"/>
                    </a:moveTo>
                    <a:lnTo>
                      <a:pt x="5283911" y="395579"/>
                    </a:lnTo>
                    <a:lnTo>
                      <a:pt x="5283911" y="405828"/>
                    </a:lnTo>
                    <a:lnTo>
                      <a:pt x="5294147" y="405828"/>
                    </a:lnTo>
                    <a:lnTo>
                      <a:pt x="5294147" y="395579"/>
                    </a:lnTo>
                    <a:close/>
                  </a:path>
                  <a:path w="5786120" h="406400">
                    <a:moveTo>
                      <a:pt x="5355590" y="395579"/>
                    </a:moveTo>
                    <a:lnTo>
                      <a:pt x="5345354" y="395579"/>
                    </a:lnTo>
                    <a:lnTo>
                      <a:pt x="5345354" y="405828"/>
                    </a:lnTo>
                    <a:lnTo>
                      <a:pt x="5355590" y="405828"/>
                    </a:lnTo>
                    <a:lnTo>
                      <a:pt x="5355590" y="395579"/>
                    </a:lnTo>
                    <a:close/>
                  </a:path>
                  <a:path w="5786120" h="406400">
                    <a:moveTo>
                      <a:pt x="5417032" y="395579"/>
                    </a:moveTo>
                    <a:lnTo>
                      <a:pt x="5406796" y="395579"/>
                    </a:lnTo>
                    <a:lnTo>
                      <a:pt x="5406796" y="405828"/>
                    </a:lnTo>
                    <a:lnTo>
                      <a:pt x="5417032" y="405828"/>
                    </a:lnTo>
                    <a:lnTo>
                      <a:pt x="5417032" y="395579"/>
                    </a:lnTo>
                    <a:close/>
                  </a:path>
                  <a:path w="5786120" h="406400">
                    <a:moveTo>
                      <a:pt x="5478475" y="395579"/>
                    </a:moveTo>
                    <a:lnTo>
                      <a:pt x="5468239" y="395579"/>
                    </a:lnTo>
                    <a:lnTo>
                      <a:pt x="5468239" y="405828"/>
                    </a:lnTo>
                    <a:lnTo>
                      <a:pt x="5478475" y="405828"/>
                    </a:lnTo>
                    <a:lnTo>
                      <a:pt x="5478475" y="395579"/>
                    </a:lnTo>
                    <a:close/>
                  </a:path>
                  <a:path w="5786120" h="406400">
                    <a:moveTo>
                      <a:pt x="5539918" y="395579"/>
                    </a:moveTo>
                    <a:lnTo>
                      <a:pt x="5529681" y="395579"/>
                    </a:lnTo>
                    <a:lnTo>
                      <a:pt x="5529681" y="405828"/>
                    </a:lnTo>
                    <a:lnTo>
                      <a:pt x="5539918" y="405828"/>
                    </a:lnTo>
                    <a:lnTo>
                      <a:pt x="5539918" y="395579"/>
                    </a:lnTo>
                    <a:close/>
                  </a:path>
                  <a:path w="5786120" h="406400">
                    <a:moveTo>
                      <a:pt x="5601360" y="395579"/>
                    </a:moveTo>
                    <a:lnTo>
                      <a:pt x="5591111" y="395579"/>
                    </a:lnTo>
                    <a:lnTo>
                      <a:pt x="5591111" y="405828"/>
                    </a:lnTo>
                    <a:lnTo>
                      <a:pt x="5601360" y="405828"/>
                    </a:lnTo>
                    <a:lnTo>
                      <a:pt x="5601360" y="395579"/>
                    </a:lnTo>
                    <a:close/>
                  </a:path>
                  <a:path w="5786120" h="406400">
                    <a:moveTo>
                      <a:pt x="5662803" y="395579"/>
                    </a:moveTo>
                    <a:lnTo>
                      <a:pt x="5652554" y="395579"/>
                    </a:lnTo>
                    <a:lnTo>
                      <a:pt x="5652554" y="405828"/>
                    </a:lnTo>
                    <a:lnTo>
                      <a:pt x="5662803" y="405828"/>
                    </a:lnTo>
                    <a:lnTo>
                      <a:pt x="5662803" y="395579"/>
                    </a:lnTo>
                    <a:close/>
                  </a:path>
                  <a:path w="5786120" h="406400">
                    <a:moveTo>
                      <a:pt x="5724245" y="395579"/>
                    </a:moveTo>
                    <a:lnTo>
                      <a:pt x="5713996" y="395579"/>
                    </a:lnTo>
                    <a:lnTo>
                      <a:pt x="5713996" y="405828"/>
                    </a:lnTo>
                    <a:lnTo>
                      <a:pt x="5724245" y="405828"/>
                    </a:lnTo>
                    <a:lnTo>
                      <a:pt x="5724245" y="395579"/>
                    </a:lnTo>
                    <a:close/>
                  </a:path>
                  <a:path w="5786120" h="406400">
                    <a:moveTo>
                      <a:pt x="5785675" y="395579"/>
                    </a:moveTo>
                    <a:lnTo>
                      <a:pt x="5775439" y="395579"/>
                    </a:lnTo>
                    <a:lnTo>
                      <a:pt x="5775439" y="405828"/>
                    </a:lnTo>
                    <a:lnTo>
                      <a:pt x="5785675" y="405828"/>
                    </a:lnTo>
                    <a:lnTo>
                      <a:pt x="5785675" y="39557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7" name="object 137"/>
              <p:cNvSpPr/>
              <p:nvPr/>
            </p:nvSpPr>
            <p:spPr>
              <a:xfrm>
                <a:off x="561276" y="1588388"/>
                <a:ext cx="5786120" cy="406400"/>
              </a:xfrm>
              <a:custGeom>
                <a:avLst/>
                <a:gdLst/>
                <a:ahLst/>
                <a:cxnLst/>
                <a:rect l="l" t="t" r="r" b="b"/>
                <a:pathLst>
                  <a:path w="5786120" h="406400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36" y="10236"/>
                    </a:lnTo>
                    <a:lnTo>
                      <a:pt x="10236" y="0"/>
                    </a:lnTo>
                    <a:close/>
                  </a:path>
                  <a:path w="5786120" h="406400">
                    <a:moveTo>
                      <a:pt x="71678" y="0"/>
                    </a:moveTo>
                    <a:lnTo>
                      <a:pt x="61442" y="0"/>
                    </a:lnTo>
                    <a:lnTo>
                      <a:pt x="61442" y="10236"/>
                    </a:lnTo>
                    <a:lnTo>
                      <a:pt x="71678" y="10236"/>
                    </a:lnTo>
                    <a:lnTo>
                      <a:pt x="71678" y="0"/>
                    </a:lnTo>
                    <a:close/>
                  </a:path>
                  <a:path w="5786120" h="406400">
                    <a:moveTo>
                      <a:pt x="133121" y="0"/>
                    </a:moveTo>
                    <a:lnTo>
                      <a:pt x="122885" y="0"/>
                    </a:lnTo>
                    <a:lnTo>
                      <a:pt x="122885" y="10236"/>
                    </a:lnTo>
                    <a:lnTo>
                      <a:pt x="133121" y="10236"/>
                    </a:lnTo>
                    <a:lnTo>
                      <a:pt x="133121" y="0"/>
                    </a:lnTo>
                    <a:close/>
                  </a:path>
                  <a:path w="5786120" h="406400">
                    <a:moveTo>
                      <a:pt x="194564" y="0"/>
                    </a:moveTo>
                    <a:lnTo>
                      <a:pt x="184327" y="0"/>
                    </a:lnTo>
                    <a:lnTo>
                      <a:pt x="184327" y="10236"/>
                    </a:lnTo>
                    <a:lnTo>
                      <a:pt x="194564" y="10236"/>
                    </a:lnTo>
                    <a:lnTo>
                      <a:pt x="194564" y="0"/>
                    </a:lnTo>
                    <a:close/>
                  </a:path>
                  <a:path w="5786120" h="406400">
                    <a:moveTo>
                      <a:pt x="256006" y="0"/>
                    </a:moveTo>
                    <a:lnTo>
                      <a:pt x="245770" y="0"/>
                    </a:lnTo>
                    <a:lnTo>
                      <a:pt x="245770" y="10236"/>
                    </a:lnTo>
                    <a:lnTo>
                      <a:pt x="256006" y="10236"/>
                    </a:lnTo>
                    <a:lnTo>
                      <a:pt x="256006" y="0"/>
                    </a:lnTo>
                    <a:close/>
                  </a:path>
                  <a:path w="5786120" h="406400">
                    <a:moveTo>
                      <a:pt x="317449" y="0"/>
                    </a:moveTo>
                    <a:lnTo>
                      <a:pt x="307200" y="0"/>
                    </a:lnTo>
                    <a:lnTo>
                      <a:pt x="307200" y="10236"/>
                    </a:lnTo>
                    <a:lnTo>
                      <a:pt x="317449" y="10236"/>
                    </a:lnTo>
                    <a:lnTo>
                      <a:pt x="317449" y="0"/>
                    </a:lnTo>
                    <a:close/>
                  </a:path>
                  <a:path w="5786120" h="406400">
                    <a:moveTo>
                      <a:pt x="378891" y="0"/>
                    </a:moveTo>
                    <a:lnTo>
                      <a:pt x="368642" y="0"/>
                    </a:lnTo>
                    <a:lnTo>
                      <a:pt x="368642" y="10236"/>
                    </a:lnTo>
                    <a:lnTo>
                      <a:pt x="378891" y="10236"/>
                    </a:lnTo>
                    <a:lnTo>
                      <a:pt x="378891" y="0"/>
                    </a:lnTo>
                    <a:close/>
                  </a:path>
                  <a:path w="5786120" h="406400">
                    <a:moveTo>
                      <a:pt x="440321" y="0"/>
                    </a:moveTo>
                    <a:lnTo>
                      <a:pt x="430085" y="0"/>
                    </a:lnTo>
                    <a:lnTo>
                      <a:pt x="430085" y="10236"/>
                    </a:lnTo>
                    <a:lnTo>
                      <a:pt x="440321" y="10236"/>
                    </a:lnTo>
                    <a:lnTo>
                      <a:pt x="440321" y="0"/>
                    </a:lnTo>
                    <a:close/>
                  </a:path>
                  <a:path w="5786120" h="406400">
                    <a:moveTo>
                      <a:pt x="501764" y="0"/>
                    </a:moveTo>
                    <a:lnTo>
                      <a:pt x="491528" y="0"/>
                    </a:lnTo>
                    <a:lnTo>
                      <a:pt x="491528" y="10236"/>
                    </a:lnTo>
                    <a:lnTo>
                      <a:pt x="501764" y="10236"/>
                    </a:lnTo>
                    <a:lnTo>
                      <a:pt x="501764" y="0"/>
                    </a:lnTo>
                    <a:close/>
                  </a:path>
                  <a:path w="5786120" h="406400">
                    <a:moveTo>
                      <a:pt x="563206" y="0"/>
                    </a:moveTo>
                    <a:lnTo>
                      <a:pt x="552970" y="0"/>
                    </a:lnTo>
                    <a:lnTo>
                      <a:pt x="552970" y="10236"/>
                    </a:lnTo>
                    <a:lnTo>
                      <a:pt x="563206" y="10236"/>
                    </a:lnTo>
                    <a:lnTo>
                      <a:pt x="563206" y="0"/>
                    </a:lnTo>
                    <a:close/>
                  </a:path>
                  <a:path w="5786120" h="406400">
                    <a:moveTo>
                      <a:pt x="624649" y="0"/>
                    </a:moveTo>
                    <a:lnTo>
                      <a:pt x="614413" y="0"/>
                    </a:lnTo>
                    <a:lnTo>
                      <a:pt x="614413" y="10236"/>
                    </a:lnTo>
                    <a:lnTo>
                      <a:pt x="624649" y="10236"/>
                    </a:lnTo>
                    <a:lnTo>
                      <a:pt x="624649" y="0"/>
                    </a:lnTo>
                    <a:close/>
                  </a:path>
                  <a:path w="5786120" h="406400">
                    <a:moveTo>
                      <a:pt x="686092" y="0"/>
                    </a:moveTo>
                    <a:lnTo>
                      <a:pt x="675855" y="0"/>
                    </a:lnTo>
                    <a:lnTo>
                      <a:pt x="675855" y="10236"/>
                    </a:lnTo>
                    <a:lnTo>
                      <a:pt x="686092" y="10236"/>
                    </a:lnTo>
                    <a:lnTo>
                      <a:pt x="686092" y="0"/>
                    </a:lnTo>
                    <a:close/>
                  </a:path>
                  <a:path w="5786120" h="406400">
                    <a:moveTo>
                      <a:pt x="747534" y="0"/>
                    </a:moveTo>
                    <a:lnTo>
                      <a:pt x="737285" y="0"/>
                    </a:lnTo>
                    <a:lnTo>
                      <a:pt x="737285" y="10236"/>
                    </a:lnTo>
                    <a:lnTo>
                      <a:pt x="747534" y="10236"/>
                    </a:lnTo>
                    <a:lnTo>
                      <a:pt x="747534" y="0"/>
                    </a:lnTo>
                    <a:close/>
                  </a:path>
                  <a:path w="5786120" h="406400">
                    <a:moveTo>
                      <a:pt x="808977" y="0"/>
                    </a:moveTo>
                    <a:lnTo>
                      <a:pt x="798728" y="0"/>
                    </a:lnTo>
                    <a:lnTo>
                      <a:pt x="798728" y="10236"/>
                    </a:lnTo>
                    <a:lnTo>
                      <a:pt x="808977" y="10236"/>
                    </a:lnTo>
                    <a:lnTo>
                      <a:pt x="808977" y="0"/>
                    </a:lnTo>
                    <a:close/>
                  </a:path>
                  <a:path w="5786120" h="406400">
                    <a:moveTo>
                      <a:pt x="870407" y="0"/>
                    </a:moveTo>
                    <a:lnTo>
                      <a:pt x="860171" y="0"/>
                    </a:lnTo>
                    <a:lnTo>
                      <a:pt x="860171" y="10236"/>
                    </a:lnTo>
                    <a:lnTo>
                      <a:pt x="870407" y="10236"/>
                    </a:lnTo>
                    <a:lnTo>
                      <a:pt x="870407" y="0"/>
                    </a:lnTo>
                    <a:close/>
                  </a:path>
                  <a:path w="5786120" h="406400">
                    <a:moveTo>
                      <a:pt x="931849" y="0"/>
                    </a:moveTo>
                    <a:lnTo>
                      <a:pt x="921613" y="0"/>
                    </a:lnTo>
                    <a:lnTo>
                      <a:pt x="921613" y="10236"/>
                    </a:lnTo>
                    <a:lnTo>
                      <a:pt x="931849" y="10236"/>
                    </a:lnTo>
                    <a:lnTo>
                      <a:pt x="931849" y="0"/>
                    </a:lnTo>
                    <a:close/>
                  </a:path>
                  <a:path w="5786120" h="406400">
                    <a:moveTo>
                      <a:pt x="2467876" y="395579"/>
                    </a:moveTo>
                    <a:lnTo>
                      <a:pt x="2457640" y="395579"/>
                    </a:lnTo>
                    <a:lnTo>
                      <a:pt x="2457640" y="405815"/>
                    </a:lnTo>
                    <a:lnTo>
                      <a:pt x="2467876" y="405815"/>
                    </a:lnTo>
                    <a:lnTo>
                      <a:pt x="2467876" y="395579"/>
                    </a:lnTo>
                    <a:close/>
                  </a:path>
                  <a:path w="5786120" h="406400">
                    <a:moveTo>
                      <a:pt x="2529319" y="395579"/>
                    </a:moveTo>
                    <a:lnTo>
                      <a:pt x="2519070" y="395579"/>
                    </a:lnTo>
                    <a:lnTo>
                      <a:pt x="2519070" y="405815"/>
                    </a:lnTo>
                    <a:lnTo>
                      <a:pt x="2529319" y="405815"/>
                    </a:lnTo>
                    <a:lnTo>
                      <a:pt x="2529319" y="395579"/>
                    </a:lnTo>
                    <a:close/>
                  </a:path>
                  <a:path w="5786120" h="406400">
                    <a:moveTo>
                      <a:pt x="2590762" y="395579"/>
                    </a:moveTo>
                    <a:lnTo>
                      <a:pt x="2580513" y="395579"/>
                    </a:lnTo>
                    <a:lnTo>
                      <a:pt x="2580513" y="405815"/>
                    </a:lnTo>
                    <a:lnTo>
                      <a:pt x="2590762" y="405815"/>
                    </a:lnTo>
                    <a:lnTo>
                      <a:pt x="2590762" y="395579"/>
                    </a:lnTo>
                    <a:close/>
                  </a:path>
                  <a:path w="5786120" h="406400">
                    <a:moveTo>
                      <a:pt x="2652191" y="395579"/>
                    </a:moveTo>
                    <a:lnTo>
                      <a:pt x="2641955" y="395579"/>
                    </a:lnTo>
                    <a:lnTo>
                      <a:pt x="2641955" y="405815"/>
                    </a:lnTo>
                    <a:lnTo>
                      <a:pt x="2652191" y="405815"/>
                    </a:lnTo>
                    <a:lnTo>
                      <a:pt x="2652191" y="395579"/>
                    </a:lnTo>
                    <a:close/>
                  </a:path>
                  <a:path w="5786120" h="406400">
                    <a:moveTo>
                      <a:pt x="2713634" y="395579"/>
                    </a:moveTo>
                    <a:lnTo>
                      <a:pt x="2703398" y="395579"/>
                    </a:lnTo>
                    <a:lnTo>
                      <a:pt x="2703398" y="405815"/>
                    </a:lnTo>
                    <a:lnTo>
                      <a:pt x="2713634" y="405815"/>
                    </a:lnTo>
                    <a:lnTo>
                      <a:pt x="2713634" y="395579"/>
                    </a:lnTo>
                    <a:close/>
                  </a:path>
                  <a:path w="5786120" h="406400">
                    <a:moveTo>
                      <a:pt x="2775077" y="395579"/>
                    </a:moveTo>
                    <a:lnTo>
                      <a:pt x="2764840" y="395579"/>
                    </a:lnTo>
                    <a:lnTo>
                      <a:pt x="2764840" y="405815"/>
                    </a:lnTo>
                    <a:lnTo>
                      <a:pt x="2775077" y="405815"/>
                    </a:lnTo>
                    <a:lnTo>
                      <a:pt x="2775077" y="395579"/>
                    </a:lnTo>
                    <a:close/>
                  </a:path>
                  <a:path w="5786120" h="406400">
                    <a:moveTo>
                      <a:pt x="2836519" y="395579"/>
                    </a:moveTo>
                    <a:lnTo>
                      <a:pt x="2826283" y="395579"/>
                    </a:lnTo>
                    <a:lnTo>
                      <a:pt x="2826283" y="405815"/>
                    </a:lnTo>
                    <a:lnTo>
                      <a:pt x="2836519" y="405815"/>
                    </a:lnTo>
                    <a:lnTo>
                      <a:pt x="2836519" y="395579"/>
                    </a:lnTo>
                    <a:close/>
                  </a:path>
                  <a:path w="5786120" h="406400">
                    <a:moveTo>
                      <a:pt x="2897962" y="395579"/>
                    </a:moveTo>
                    <a:lnTo>
                      <a:pt x="2887726" y="395579"/>
                    </a:lnTo>
                    <a:lnTo>
                      <a:pt x="2887726" y="405815"/>
                    </a:lnTo>
                    <a:lnTo>
                      <a:pt x="2897962" y="405815"/>
                    </a:lnTo>
                    <a:lnTo>
                      <a:pt x="2897962" y="395579"/>
                    </a:lnTo>
                    <a:close/>
                  </a:path>
                  <a:path w="5786120" h="406400">
                    <a:moveTo>
                      <a:pt x="2959404" y="395579"/>
                    </a:moveTo>
                    <a:lnTo>
                      <a:pt x="2949156" y="395579"/>
                    </a:lnTo>
                    <a:lnTo>
                      <a:pt x="2949156" y="405815"/>
                    </a:lnTo>
                    <a:lnTo>
                      <a:pt x="2959404" y="405815"/>
                    </a:lnTo>
                    <a:lnTo>
                      <a:pt x="2959404" y="395579"/>
                    </a:lnTo>
                    <a:close/>
                  </a:path>
                  <a:path w="5786120" h="406400">
                    <a:moveTo>
                      <a:pt x="3020847" y="395579"/>
                    </a:moveTo>
                    <a:lnTo>
                      <a:pt x="3010598" y="395579"/>
                    </a:lnTo>
                    <a:lnTo>
                      <a:pt x="3010598" y="405815"/>
                    </a:lnTo>
                    <a:lnTo>
                      <a:pt x="3020847" y="405815"/>
                    </a:lnTo>
                    <a:lnTo>
                      <a:pt x="3020847" y="395579"/>
                    </a:lnTo>
                    <a:close/>
                  </a:path>
                  <a:path w="5786120" h="406400">
                    <a:moveTo>
                      <a:pt x="3082277" y="395579"/>
                    </a:moveTo>
                    <a:lnTo>
                      <a:pt x="3072041" y="395579"/>
                    </a:lnTo>
                    <a:lnTo>
                      <a:pt x="3072041" y="405815"/>
                    </a:lnTo>
                    <a:lnTo>
                      <a:pt x="3082277" y="405815"/>
                    </a:lnTo>
                    <a:lnTo>
                      <a:pt x="3082277" y="395579"/>
                    </a:lnTo>
                    <a:close/>
                  </a:path>
                  <a:path w="5786120" h="406400">
                    <a:moveTo>
                      <a:pt x="3143720" y="395579"/>
                    </a:moveTo>
                    <a:lnTo>
                      <a:pt x="3133483" y="395579"/>
                    </a:lnTo>
                    <a:lnTo>
                      <a:pt x="3133483" y="405815"/>
                    </a:lnTo>
                    <a:lnTo>
                      <a:pt x="3143720" y="405815"/>
                    </a:lnTo>
                    <a:lnTo>
                      <a:pt x="3143720" y="395579"/>
                    </a:lnTo>
                    <a:close/>
                  </a:path>
                  <a:path w="5786120" h="406400">
                    <a:moveTo>
                      <a:pt x="3205162" y="395579"/>
                    </a:moveTo>
                    <a:lnTo>
                      <a:pt x="3194926" y="395579"/>
                    </a:lnTo>
                    <a:lnTo>
                      <a:pt x="3194926" y="405815"/>
                    </a:lnTo>
                    <a:lnTo>
                      <a:pt x="3205162" y="405815"/>
                    </a:lnTo>
                    <a:lnTo>
                      <a:pt x="3205162" y="395579"/>
                    </a:lnTo>
                    <a:close/>
                  </a:path>
                  <a:path w="5786120" h="406400">
                    <a:moveTo>
                      <a:pt x="3266605" y="395579"/>
                    </a:moveTo>
                    <a:lnTo>
                      <a:pt x="3256369" y="395579"/>
                    </a:lnTo>
                    <a:lnTo>
                      <a:pt x="3256369" y="405815"/>
                    </a:lnTo>
                    <a:lnTo>
                      <a:pt x="3266605" y="405815"/>
                    </a:lnTo>
                    <a:lnTo>
                      <a:pt x="3266605" y="395579"/>
                    </a:lnTo>
                    <a:close/>
                  </a:path>
                  <a:path w="5786120" h="406400">
                    <a:moveTo>
                      <a:pt x="3328047" y="395579"/>
                    </a:moveTo>
                    <a:lnTo>
                      <a:pt x="3317811" y="395579"/>
                    </a:lnTo>
                    <a:lnTo>
                      <a:pt x="3317811" y="405815"/>
                    </a:lnTo>
                    <a:lnTo>
                      <a:pt x="3328047" y="405815"/>
                    </a:lnTo>
                    <a:lnTo>
                      <a:pt x="3328047" y="395579"/>
                    </a:lnTo>
                    <a:close/>
                  </a:path>
                  <a:path w="5786120" h="406400">
                    <a:moveTo>
                      <a:pt x="3389490" y="395579"/>
                    </a:moveTo>
                    <a:lnTo>
                      <a:pt x="3379241" y="395579"/>
                    </a:lnTo>
                    <a:lnTo>
                      <a:pt x="3379241" y="405815"/>
                    </a:lnTo>
                    <a:lnTo>
                      <a:pt x="3389490" y="405815"/>
                    </a:lnTo>
                    <a:lnTo>
                      <a:pt x="3389490" y="395579"/>
                    </a:lnTo>
                    <a:close/>
                  </a:path>
                  <a:path w="5786120" h="406400">
                    <a:moveTo>
                      <a:pt x="3450933" y="395579"/>
                    </a:moveTo>
                    <a:lnTo>
                      <a:pt x="3440684" y="395579"/>
                    </a:lnTo>
                    <a:lnTo>
                      <a:pt x="3440684" y="405815"/>
                    </a:lnTo>
                    <a:lnTo>
                      <a:pt x="3450933" y="405815"/>
                    </a:lnTo>
                    <a:lnTo>
                      <a:pt x="3450933" y="395579"/>
                    </a:lnTo>
                    <a:close/>
                  </a:path>
                  <a:path w="5786120" h="406400">
                    <a:moveTo>
                      <a:pt x="3512375" y="395579"/>
                    </a:moveTo>
                    <a:lnTo>
                      <a:pt x="3502126" y="395579"/>
                    </a:lnTo>
                    <a:lnTo>
                      <a:pt x="3502126" y="405815"/>
                    </a:lnTo>
                    <a:lnTo>
                      <a:pt x="3512375" y="405815"/>
                    </a:lnTo>
                    <a:lnTo>
                      <a:pt x="3512375" y="395579"/>
                    </a:lnTo>
                    <a:close/>
                  </a:path>
                  <a:path w="5786120" h="406400">
                    <a:moveTo>
                      <a:pt x="3573805" y="395579"/>
                    </a:moveTo>
                    <a:lnTo>
                      <a:pt x="3563569" y="395579"/>
                    </a:lnTo>
                    <a:lnTo>
                      <a:pt x="3563569" y="405815"/>
                    </a:lnTo>
                    <a:lnTo>
                      <a:pt x="3573805" y="405815"/>
                    </a:lnTo>
                    <a:lnTo>
                      <a:pt x="3573805" y="395579"/>
                    </a:lnTo>
                    <a:close/>
                  </a:path>
                  <a:path w="5786120" h="406400">
                    <a:moveTo>
                      <a:pt x="3635248" y="395579"/>
                    </a:moveTo>
                    <a:lnTo>
                      <a:pt x="3625011" y="395579"/>
                    </a:lnTo>
                    <a:lnTo>
                      <a:pt x="3625011" y="405815"/>
                    </a:lnTo>
                    <a:lnTo>
                      <a:pt x="3635248" y="405815"/>
                    </a:lnTo>
                    <a:lnTo>
                      <a:pt x="3635248" y="395579"/>
                    </a:lnTo>
                    <a:close/>
                  </a:path>
                  <a:path w="5786120" h="406400">
                    <a:moveTo>
                      <a:pt x="3696690" y="395579"/>
                    </a:moveTo>
                    <a:lnTo>
                      <a:pt x="3686454" y="395579"/>
                    </a:lnTo>
                    <a:lnTo>
                      <a:pt x="3686454" y="405815"/>
                    </a:lnTo>
                    <a:lnTo>
                      <a:pt x="3696690" y="405815"/>
                    </a:lnTo>
                    <a:lnTo>
                      <a:pt x="3696690" y="395579"/>
                    </a:lnTo>
                    <a:close/>
                  </a:path>
                  <a:path w="5786120" h="406400">
                    <a:moveTo>
                      <a:pt x="3758133" y="395579"/>
                    </a:moveTo>
                    <a:lnTo>
                      <a:pt x="3747897" y="395579"/>
                    </a:lnTo>
                    <a:lnTo>
                      <a:pt x="3747897" y="405815"/>
                    </a:lnTo>
                    <a:lnTo>
                      <a:pt x="3758133" y="405815"/>
                    </a:lnTo>
                    <a:lnTo>
                      <a:pt x="3758133" y="395579"/>
                    </a:lnTo>
                    <a:close/>
                  </a:path>
                  <a:path w="5786120" h="406400">
                    <a:moveTo>
                      <a:pt x="3819575" y="395579"/>
                    </a:moveTo>
                    <a:lnTo>
                      <a:pt x="3809339" y="395579"/>
                    </a:lnTo>
                    <a:lnTo>
                      <a:pt x="3809339" y="405815"/>
                    </a:lnTo>
                    <a:lnTo>
                      <a:pt x="3819575" y="405815"/>
                    </a:lnTo>
                    <a:lnTo>
                      <a:pt x="3819575" y="395579"/>
                    </a:lnTo>
                    <a:close/>
                  </a:path>
                  <a:path w="5786120" h="406400">
                    <a:moveTo>
                      <a:pt x="3881018" y="395579"/>
                    </a:moveTo>
                    <a:lnTo>
                      <a:pt x="3870769" y="395579"/>
                    </a:lnTo>
                    <a:lnTo>
                      <a:pt x="3870769" y="405815"/>
                    </a:lnTo>
                    <a:lnTo>
                      <a:pt x="3881018" y="405815"/>
                    </a:lnTo>
                    <a:lnTo>
                      <a:pt x="3881018" y="395579"/>
                    </a:lnTo>
                    <a:close/>
                  </a:path>
                  <a:path w="5786120" h="406400">
                    <a:moveTo>
                      <a:pt x="3942461" y="395579"/>
                    </a:moveTo>
                    <a:lnTo>
                      <a:pt x="3932212" y="395579"/>
                    </a:lnTo>
                    <a:lnTo>
                      <a:pt x="3932212" y="405815"/>
                    </a:lnTo>
                    <a:lnTo>
                      <a:pt x="3942461" y="405815"/>
                    </a:lnTo>
                    <a:lnTo>
                      <a:pt x="3942461" y="395579"/>
                    </a:lnTo>
                    <a:close/>
                  </a:path>
                  <a:path w="5786120" h="406400">
                    <a:moveTo>
                      <a:pt x="4003891" y="395579"/>
                    </a:moveTo>
                    <a:lnTo>
                      <a:pt x="3993654" y="395579"/>
                    </a:lnTo>
                    <a:lnTo>
                      <a:pt x="3993654" y="405815"/>
                    </a:lnTo>
                    <a:lnTo>
                      <a:pt x="4003891" y="405815"/>
                    </a:lnTo>
                    <a:lnTo>
                      <a:pt x="4003891" y="395579"/>
                    </a:lnTo>
                    <a:close/>
                  </a:path>
                  <a:path w="5786120" h="406400">
                    <a:moveTo>
                      <a:pt x="4065333" y="395579"/>
                    </a:moveTo>
                    <a:lnTo>
                      <a:pt x="4055097" y="395579"/>
                    </a:lnTo>
                    <a:lnTo>
                      <a:pt x="4055097" y="405815"/>
                    </a:lnTo>
                    <a:lnTo>
                      <a:pt x="4065333" y="405815"/>
                    </a:lnTo>
                    <a:lnTo>
                      <a:pt x="4065333" y="395579"/>
                    </a:lnTo>
                    <a:close/>
                  </a:path>
                  <a:path w="5786120" h="406400">
                    <a:moveTo>
                      <a:pt x="4126776" y="395579"/>
                    </a:moveTo>
                    <a:lnTo>
                      <a:pt x="4116540" y="395579"/>
                    </a:lnTo>
                    <a:lnTo>
                      <a:pt x="4116540" y="405815"/>
                    </a:lnTo>
                    <a:lnTo>
                      <a:pt x="4126776" y="405815"/>
                    </a:lnTo>
                    <a:lnTo>
                      <a:pt x="4126776" y="395579"/>
                    </a:lnTo>
                    <a:close/>
                  </a:path>
                  <a:path w="5786120" h="406400">
                    <a:moveTo>
                      <a:pt x="4188218" y="395579"/>
                    </a:moveTo>
                    <a:lnTo>
                      <a:pt x="4177982" y="395579"/>
                    </a:lnTo>
                    <a:lnTo>
                      <a:pt x="4177982" y="405815"/>
                    </a:lnTo>
                    <a:lnTo>
                      <a:pt x="4188218" y="405815"/>
                    </a:lnTo>
                    <a:lnTo>
                      <a:pt x="4188218" y="395579"/>
                    </a:lnTo>
                    <a:close/>
                  </a:path>
                  <a:path w="5786120" h="406400">
                    <a:moveTo>
                      <a:pt x="4249661" y="395579"/>
                    </a:moveTo>
                    <a:lnTo>
                      <a:pt x="4239425" y="395579"/>
                    </a:lnTo>
                    <a:lnTo>
                      <a:pt x="4239425" y="405815"/>
                    </a:lnTo>
                    <a:lnTo>
                      <a:pt x="4249661" y="405815"/>
                    </a:lnTo>
                    <a:lnTo>
                      <a:pt x="4249661" y="395579"/>
                    </a:lnTo>
                    <a:close/>
                  </a:path>
                  <a:path w="5786120" h="406400">
                    <a:moveTo>
                      <a:pt x="4311104" y="395579"/>
                    </a:moveTo>
                    <a:lnTo>
                      <a:pt x="4300855" y="395579"/>
                    </a:lnTo>
                    <a:lnTo>
                      <a:pt x="4300855" y="405815"/>
                    </a:lnTo>
                    <a:lnTo>
                      <a:pt x="4311104" y="405815"/>
                    </a:lnTo>
                    <a:lnTo>
                      <a:pt x="4311104" y="395579"/>
                    </a:lnTo>
                    <a:close/>
                  </a:path>
                  <a:path w="5786120" h="406400">
                    <a:moveTo>
                      <a:pt x="4372546" y="395579"/>
                    </a:moveTo>
                    <a:lnTo>
                      <a:pt x="4362297" y="395579"/>
                    </a:lnTo>
                    <a:lnTo>
                      <a:pt x="4362297" y="405815"/>
                    </a:lnTo>
                    <a:lnTo>
                      <a:pt x="4372546" y="405815"/>
                    </a:lnTo>
                    <a:lnTo>
                      <a:pt x="4372546" y="395579"/>
                    </a:lnTo>
                    <a:close/>
                  </a:path>
                  <a:path w="5786120" h="406400">
                    <a:moveTo>
                      <a:pt x="4433976" y="395579"/>
                    </a:moveTo>
                    <a:lnTo>
                      <a:pt x="4423740" y="395579"/>
                    </a:lnTo>
                    <a:lnTo>
                      <a:pt x="4423740" y="405815"/>
                    </a:lnTo>
                    <a:lnTo>
                      <a:pt x="4433976" y="405815"/>
                    </a:lnTo>
                    <a:lnTo>
                      <a:pt x="4433976" y="395579"/>
                    </a:lnTo>
                    <a:close/>
                  </a:path>
                  <a:path w="5786120" h="406400">
                    <a:moveTo>
                      <a:pt x="4495419" y="395579"/>
                    </a:moveTo>
                    <a:lnTo>
                      <a:pt x="4485183" y="395579"/>
                    </a:lnTo>
                    <a:lnTo>
                      <a:pt x="4485183" y="405815"/>
                    </a:lnTo>
                    <a:lnTo>
                      <a:pt x="4495419" y="405815"/>
                    </a:lnTo>
                    <a:lnTo>
                      <a:pt x="4495419" y="395579"/>
                    </a:lnTo>
                    <a:close/>
                  </a:path>
                  <a:path w="5786120" h="406400">
                    <a:moveTo>
                      <a:pt x="4556861" y="395579"/>
                    </a:moveTo>
                    <a:lnTo>
                      <a:pt x="4546625" y="395579"/>
                    </a:lnTo>
                    <a:lnTo>
                      <a:pt x="4546625" y="405815"/>
                    </a:lnTo>
                    <a:lnTo>
                      <a:pt x="4556861" y="405815"/>
                    </a:lnTo>
                    <a:lnTo>
                      <a:pt x="4556861" y="395579"/>
                    </a:lnTo>
                    <a:close/>
                  </a:path>
                  <a:path w="5786120" h="406400">
                    <a:moveTo>
                      <a:pt x="4618304" y="395579"/>
                    </a:moveTo>
                    <a:lnTo>
                      <a:pt x="4608068" y="395579"/>
                    </a:lnTo>
                    <a:lnTo>
                      <a:pt x="4608068" y="405815"/>
                    </a:lnTo>
                    <a:lnTo>
                      <a:pt x="4618304" y="405815"/>
                    </a:lnTo>
                    <a:lnTo>
                      <a:pt x="4618304" y="395579"/>
                    </a:lnTo>
                    <a:close/>
                  </a:path>
                  <a:path w="5786120" h="406400">
                    <a:moveTo>
                      <a:pt x="4679747" y="395579"/>
                    </a:moveTo>
                    <a:lnTo>
                      <a:pt x="4669510" y="395579"/>
                    </a:lnTo>
                    <a:lnTo>
                      <a:pt x="4669510" y="405815"/>
                    </a:lnTo>
                    <a:lnTo>
                      <a:pt x="4679747" y="405815"/>
                    </a:lnTo>
                    <a:lnTo>
                      <a:pt x="4679747" y="395579"/>
                    </a:lnTo>
                    <a:close/>
                  </a:path>
                  <a:path w="5786120" h="406400">
                    <a:moveTo>
                      <a:pt x="4741189" y="395579"/>
                    </a:moveTo>
                    <a:lnTo>
                      <a:pt x="4730940" y="395579"/>
                    </a:lnTo>
                    <a:lnTo>
                      <a:pt x="4730940" y="405815"/>
                    </a:lnTo>
                    <a:lnTo>
                      <a:pt x="4741189" y="405815"/>
                    </a:lnTo>
                    <a:lnTo>
                      <a:pt x="4741189" y="395579"/>
                    </a:lnTo>
                    <a:close/>
                  </a:path>
                  <a:path w="5786120" h="406400">
                    <a:moveTo>
                      <a:pt x="4802632" y="395579"/>
                    </a:moveTo>
                    <a:lnTo>
                      <a:pt x="4792383" y="395579"/>
                    </a:lnTo>
                    <a:lnTo>
                      <a:pt x="4792383" y="405815"/>
                    </a:lnTo>
                    <a:lnTo>
                      <a:pt x="4802632" y="405815"/>
                    </a:lnTo>
                    <a:lnTo>
                      <a:pt x="4802632" y="395579"/>
                    </a:lnTo>
                    <a:close/>
                  </a:path>
                  <a:path w="5786120" h="406400">
                    <a:moveTo>
                      <a:pt x="4864062" y="395579"/>
                    </a:moveTo>
                    <a:lnTo>
                      <a:pt x="4853825" y="395579"/>
                    </a:lnTo>
                    <a:lnTo>
                      <a:pt x="4853825" y="405815"/>
                    </a:lnTo>
                    <a:lnTo>
                      <a:pt x="4864062" y="405815"/>
                    </a:lnTo>
                    <a:lnTo>
                      <a:pt x="4864062" y="395579"/>
                    </a:lnTo>
                    <a:close/>
                  </a:path>
                  <a:path w="5786120" h="406400">
                    <a:moveTo>
                      <a:pt x="4925504" y="395579"/>
                    </a:moveTo>
                    <a:lnTo>
                      <a:pt x="4915268" y="395579"/>
                    </a:lnTo>
                    <a:lnTo>
                      <a:pt x="4915268" y="405815"/>
                    </a:lnTo>
                    <a:lnTo>
                      <a:pt x="4925504" y="405815"/>
                    </a:lnTo>
                    <a:lnTo>
                      <a:pt x="4925504" y="395579"/>
                    </a:lnTo>
                    <a:close/>
                  </a:path>
                  <a:path w="5786120" h="406400">
                    <a:moveTo>
                      <a:pt x="4986947" y="395579"/>
                    </a:moveTo>
                    <a:lnTo>
                      <a:pt x="4976711" y="395579"/>
                    </a:lnTo>
                    <a:lnTo>
                      <a:pt x="4976711" y="405815"/>
                    </a:lnTo>
                    <a:lnTo>
                      <a:pt x="4986947" y="405815"/>
                    </a:lnTo>
                    <a:lnTo>
                      <a:pt x="4986947" y="395579"/>
                    </a:lnTo>
                    <a:close/>
                  </a:path>
                  <a:path w="5786120" h="406400">
                    <a:moveTo>
                      <a:pt x="5048389" y="395579"/>
                    </a:moveTo>
                    <a:lnTo>
                      <a:pt x="5038153" y="395579"/>
                    </a:lnTo>
                    <a:lnTo>
                      <a:pt x="5038153" y="405815"/>
                    </a:lnTo>
                    <a:lnTo>
                      <a:pt x="5048389" y="405815"/>
                    </a:lnTo>
                    <a:lnTo>
                      <a:pt x="5048389" y="395579"/>
                    </a:lnTo>
                    <a:close/>
                  </a:path>
                  <a:path w="5786120" h="406400">
                    <a:moveTo>
                      <a:pt x="5109832" y="395579"/>
                    </a:moveTo>
                    <a:lnTo>
                      <a:pt x="5099596" y="395579"/>
                    </a:lnTo>
                    <a:lnTo>
                      <a:pt x="5099596" y="405815"/>
                    </a:lnTo>
                    <a:lnTo>
                      <a:pt x="5109832" y="405815"/>
                    </a:lnTo>
                    <a:lnTo>
                      <a:pt x="5109832" y="395579"/>
                    </a:lnTo>
                    <a:close/>
                  </a:path>
                  <a:path w="5786120" h="406400">
                    <a:moveTo>
                      <a:pt x="5171275" y="395579"/>
                    </a:moveTo>
                    <a:lnTo>
                      <a:pt x="5161026" y="395579"/>
                    </a:lnTo>
                    <a:lnTo>
                      <a:pt x="5161026" y="405815"/>
                    </a:lnTo>
                    <a:lnTo>
                      <a:pt x="5171275" y="405815"/>
                    </a:lnTo>
                    <a:lnTo>
                      <a:pt x="5171275" y="395579"/>
                    </a:lnTo>
                    <a:close/>
                  </a:path>
                  <a:path w="5786120" h="406400">
                    <a:moveTo>
                      <a:pt x="5232717" y="395579"/>
                    </a:moveTo>
                    <a:lnTo>
                      <a:pt x="5222468" y="395579"/>
                    </a:lnTo>
                    <a:lnTo>
                      <a:pt x="5222468" y="405815"/>
                    </a:lnTo>
                    <a:lnTo>
                      <a:pt x="5232717" y="405815"/>
                    </a:lnTo>
                    <a:lnTo>
                      <a:pt x="5232717" y="395579"/>
                    </a:lnTo>
                    <a:close/>
                  </a:path>
                  <a:path w="5786120" h="406400">
                    <a:moveTo>
                      <a:pt x="5294147" y="395579"/>
                    </a:moveTo>
                    <a:lnTo>
                      <a:pt x="5283911" y="395579"/>
                    </a:lnTo>
                    <a:lnTo>
                      <a:pt x="5283911" y="405815"/>
                    </a:lnTo>
                    <a:lnTo>
                      <a:pt x="5294147" y="405815"/>
                    </a:lnTo>
                    <a:lnTo>
                      <a:pt x="5294147" y="395579"/>
                    </a:lnTo>
                    <a:close/>
                  </a:path>
                  <a:path w="5786120" h="406400">
                    <a:moveTo>
                      <a:pt x="5355590" y="395579"/>
                    </a:moveTo>
                    <a:lnTo>
                      <a:pt x="5345354" y="395579"/>
                    </a:lnTo>
                    <a:lnTo>
                      <a:pt x="5345354" y="405815"/>
                    </a:lnTo>
                    <a:lnTo>
                      <a:pt x="5355590" y="405815"/>
                    </a:lnTo>
                    <a:lnTo>
                      <a:pt x="5355590" y="395579"/>
                    </a:lnTo>
                    <a:close/>
                  </a:path>
                  <a:path w="5786120" h="406400">
                    <a:moveTo>
                      <a:pt x="5417032" y="395579"/>
                    </a:moveTo>
                    <a:lnTo>
                      <a:pt x="5406796" y="395579"/>
                    </a:lnTo>
                    <a:lnTo>
                      <a:pt x="5406796" y="405815"/>
                    </a:lnTo>
                    <a:lnTo>
                      <a:pt x="5417032" y="405815"/>
                    </a:lnTo>
                    <a:lnTo>
                      <a:pt x="5417032" y="395579"/>
                    </a:lnTo>
                    <a:close/>
                  </a:path>
                  <a:path w="5786120" h="406400">
                    <a:moveTo>
                      <a:pt x="5478475" y="395579"/>
                    </a:moveTo>
                    <a:lnTo>
                      <a:pt x="5468239" y="395579"/>
                    </a:lnTo>
                    <a:lnTo>
                      <a:pt x="5468239" y="405815"/>
                    </a:lnTo>
                    <a:lnTo>
                      <a:pt x="5478475" y="405815"/>
                    </a:lnTo>
                    <a:lnTo>
                      <a:pt x="5478475" y="395579"/>
                    </a:lnTo>
                    <a:close/>
                  </a:path>
                  <a:path w="5786120" h="406400">
                    <a:moveTo>
                      <a:pt x="5539918" y="395579"/>
                    </a:moveTo>
                    <a:lnTo>
                      <a:pt x="5529681" y="395579"/>
                    </a:lnTo>
                    <a:lnTo>
                      <a:pt x="5529681" y="405815"/>
                    </a:lnTo>
                    <a:lnTo>
                      <a:pt x="5539918" y="405815"/>
                    </a:lnTo>
                    <a:lnTo>
                      <a:pt x="5539918" y="395579"/>
                    </a:lnTo>
                    <a:close/>
                  </a:path>
                  <a:path w="5786120" h="406400">
                    <a:moveTo>
                      <a:pt x="5601360" y="395579"/>
                    </a:moveTo>
                    <a:lnTo>
                      <a:pt x="5591111" y="395579"/>
                    </a:lnTo>
                    <a:lnTo>
                      <a:pt x="5591111" y="405815"/>
                    </a:lnTo>
                    <a:lnTo>
                      <a:pt x="5601360" y="405815"/>
                    </a:lnTo>
                    <a:lnTo>
                      <a:pt x="5601360" y="395579"/>
                    </a:lnTo>
                    <a:close/>
                  </a:path>
                  <a:path w="5786120" h="406400">
                    <a:moveTo>
                      <a:pt x="5662803" y="395579"/>
                    </a:moveTo>
                    <a:lnTo>
                      <a:pt x="5652554" y="395579"/>
                    </a:lnTo>
                    <a:lnTo>
                      <a:pt x="5652554" y="405815"/>
                    </a:lnTo>
                    <a:lnTo>
                      <a:pt x="5662803" y="405815"/>
                    </a:lnTo>
                    <a:lnTo>
                      <a:pt x="5662803" y="395579"/>
                    </a:lnTo>
                    <a:close/>
                  </a:path>
                  <a:path w="5786120" h="406400">
                    <a:moveTo>
                      <a:pt x="5724245" y="395579"/>
                    </a:moveTo>
                    <a:lnTo>
                      <a:pt x="5713996" y="395579"/>
                    </a:lnTo>
                    <a:lnTo>
                      <a:pt x="5713996" y="405815"/>
                    </a:lnTo>
                    <a:lnTo>
                      <a:pt x="5724245" y="405815"/>
                    </a:lnTo>
                    <a:lnTo>
                      <a:pt x="5724245" y="395579"/>
                    </a:lnTo>
                    <a:close/>
                  </a:path>
                  <a:path w="5786120" h="406400">
                    <a:moveTo>
                      <a:pt x="5785675" y="395579"/>
                    </a:moveTo>
                    <a:lnTo>
                      <a:pt x="5775439" y="395579"/>
                    </a:lnTo>
                    <a:lnTo>
                      <a:pt x="5775439" y="405815"/>
                    </a:lnTo>
                    <a:lnTo>
                      <a:pt x="5785675" y="405815"/>
                    </a:lnTo>
                    <a:lnTo>
                      <a:pt x="5785675" y="39557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8" name="object 138"/>
              <p:cNvSpPr/>
              <p:nvPr/>
            </p:nvSpPr>
            <p:spPr>
              <a:xfrm>
                <a:off x="1482890" y="1588388"/>
                <a:ext cx="431165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4311650" h="10794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36" y="10236"/>
                    </a:lnTo>
                    <a:lnTo>
                      <a:pt x="10236" y="0"/>
                    </a:lnTo>
                    <a:close/>
                  </a:path>
                  <a:path w="4311650" h="10794">
                    <a:moveTo>
                      <a:pt x="71678" y="0"/>
                    </a:moveTo>
                    <a:lnTo>
                      <a:pt x="61442" y="0"/>
                    </a:lnTo>
                    <a:lnTo>
                      <a:pt x="61442" y="10236"/>
                    </a:lnTo>
                    <a:lnTo>
                      <a:pt x="71678" y="10236"/>
                    </a:lnTo>
                    <a:lnTo>
                      <a:pt x="71678" y="0"/>
                    </a:lnTo>
                    <a:close/>
                  </a:path>
                  <a:path w="4311650" h="10794">
                    <a:moveTo>
                      <a:pt x="133121" y="0"/>
                    </a:moveTo>
                    <a:lnTo>
                      <a:pt x="122885" y="0"/>
                    </a:lnTo>
                    <a:lnTo>
                      <a:pt x="122885" y="10236"/>
                    </a:lnTo>
                    <a:lnTo>
                      <a:pt x="133121" y="10236"/>
                    </a:lnTo>
                    <a:lnTo>
                      <a:pt x="133121" y="0"/>
                    </a:lnTo>
                    <a:close/>
                  </a:path>
                  <a:path w="4311650" h="10794">
                    <a:moveTo>
                      <a:pt x="194564" y="0"/>
                    </a:moveTo>
                    <a:lnTo>
                      <a:pt x="184327" y="0"/>
                    </a:lnTo>
                    <a:lnTo>
                      <a:pt x="184327" y="10236"/>
                    </a:lnTo>
                    <a:lnTo>
                      <a:pt x="194564" y="10236"/>
                    </a:lnTo>
                    <a:lnTo>
                      <a:pt x="194564" y="0"/>
                    </a:lnTo>
                    <a:close/>
                  </a:path>
                  <a:path w="4311650" h="10794">
                    <a:moveTo>
                      <a:pt x="256006" y="0"/>
                    </a:moveTo>
                    <a:lnTo>
                      <a:pt x="245757" y="0"/>
                    </a:lnTo>
                    <a:lnTo>
                      <a:pt x="245757" y="10236"/>
                    </a:lnTo>
                    <a:lnTo>
                      <a:pt x="256006" y="10236"/>
                    </a:lnTo>
                    <a:lnTo>
                      <a:pt x="256006" y="0"/>
                    </a:lnTo>
                    <a:close/>
                  </a:path>
                  <a:path w="4311650" h="10794">
                    <a:moveTo>
                      <a:pt x="317449" y="0"/>
                    </a:moveTo>
                    <a:lnTo>
                      <a:pt x="307200" y="0"/>
                    </a:lnTo>
                    <a:lnTo>
                      <a:pt x="307200" y="10236"/>
                    </a:lnTo>
                    <a:lnTo>
                      <a:pt x="317449" y="10236"/>
                    </a:lnTo>
                    <a:lnTo>
                      <a:pt x="317449" y="0"/>
                    </a:lnTo>
                    <a:close/>
                  </a:path>
                  <a:path w="4311650" h="10794">
                    <a:moveTo>
                      <a:pt x="378879" y="0"/>
                    </a:moveTo>
                    <a:lnTo>
                      <a:pt x="368642" y="0"/>
                    </a:lnTo>
                    <a:lnTo>
                      <a:pt x="368642" y="10236"/>
                    </a:lnTo>
                    <a:lnTo>
                      <a:pt x="378879" y="10236"/>
                    </a:lnTo>
                    <a:lnTo>
                      <a:pt x="378879" y="0"/>
                    </a:lnTo>
                    <a:close/>
                  </a:path>
                  <a:path w="4311650" h="10794">
                    <a:moveTo>
                      <a:pt x="440321" y="0"/>
                    </a:moveTo>
                    <a:lnTo>
                      <a:pt x="430085" y="0"/>
                    </a:lnTo>
                    <a:lnTo>
                      <a:pt x="430085" y="10236"/>
                    </a:lnTo>
                    <a:lnTo>
                      <a:pt x="440321" y="10236"/>
                    </a:lnTo>
                    <a:lnTo>
                      <a:pt x="440321" y="0"/>
                    </a:lnTo>
                    <a:close/>
                  </a:path>
                  <a:path w="4311650" h="10794">
                    <a:moveTo>
                      <a:pt x="501764" y="0"/>
                    </a:moveTo>
                    <a:lnTo>
                      <a:pt x="491528" y="0"/>
                    </a:lnTo>
                    <a:lnTo>
                      <a:pt x="491528" y="10236"/>
                    </a:lnTo>
                    <a:lnTo>
                      <a:pt x="501764" y="10236"/>
                    </a:lnTo>
                    <a:lnTo>
                      <a:pt x="501764" y="0"/>
                    </a:lnTo>
                    <a:close/>
                  </a:path>
                  <a:path w="4311650" h="10794">
                    <a:moveTo>
                      <a:pt x="563206" y="0"/>
                    </a:moveTo>
                    <a:lnTo>
                      <a:pt x="552970" y="0"/>
                    </a:lnTo>
                    <a:lnTo>
                      <a:pt x="552970" y="10236"/>
                    </a:lnTo>
                    <a:lnTo>
                      <a:pt x="563206" y="10236"/>
                    </a:lnTo>
                    <a:lnTo>
                      <a:pt x="563206" y="0"/>
                    </a:lnTo>
                    <a:close/>
                  </a:path>
                  <a:path w="4311650" h="10794">
                    <a:moveTo>
                      <a:pt x="624649" y="0"/>
                    </a:moveTo>
                    <a:lnTo>
                      <a:pt x="614413" y="0"/>
                    </a:lnTo>
                    <a:lnTo>
                      <a:pt x="614413" y="10236"/>
                    </a:lnTo>
                    <a:lnTo>
                      <a:pt x="624649" y="10236"/>
                    </a:lnTo>
                    <a:lnTo>
                      <a:pt x="624649" y="0"/>
                    </a:lnTo>
                    <a:close/>
                  </a:path>
                  <a:path w="4311650" h="10794">
                    <a:moveTo>
                      <a:pt x="686092" y="0"/>
                    </a:moveTo>
                    <a:lnTo>
                      <a:pt x="675843" y="0"/>
                    </a:lnTo>
                    <a:lnTo>
                      <a:pt x="675843" y="10236"/>
                    </a:lnTo>
                    <a:lnTo>
                      <a:pt x="686092" y="10236"/>
                    </a:lnTo>
                    <a:lnTo>
                      <a:pt x="686092" y="0"/>
                    </a:lnTo>
                    <a:close/>
                  </a:path>
                  <a:path w="4311650" h="10794">
                    <a:moveTo>
                      <a:pt x="747534" y="0"/>
                    </a:moveTo>
                    <a:lnTo>
                      <a:pt x="737285" y="0"/>
                    </a:lnTo>
                    <a:lnTo>
                      <a:pt x="737285" y="10236"/>
                    </a:lnTo>
                    <a:lnTo>
                      <a:pt x="747534" y="10236"/>
                    </a:lnTo>
                    <a:lnTo>
                      <a:pt x="747534" y="0"/>
                    </a:lnTo>
                    <a:close/>
                  </a:path>
                  <a:path w="4311650" h="10794">
                    <a:moveTo>
                      <a:pt x="808977" y="0"/>
                    </a:moveTo>
                    <a:lnTo>
                      <a:pt x="798728" y="0"/>
                    </a:lnTo>
                    <a:lnTo>
                      <a:pt x="798728" y="10236"/>
                    </a:lnTo>
                    <a:lnTo>
                      <a:pt x="808977" y="10236"/>
                    </a:lnTo>
                    <a:lnTo>
                      <a:pt x="808977" y="0"/>
                    </a:lnTo>
                    <a:close/>
                  </a:path>
                  <a:path w="4311650" h="10794">
                    <a:moveTo>
                      <a:pt x="870407" y="0"/>
                    </a:moveTo>
                    <a:lnTo>
                      <a:pt x="860171" y="0"/>
                    </a:lnTo>
                    <a:lnTo>
                      <a:pt x="860171" y="10236"/>
                    </a:lnTo>
                    <a:lnTo>
                      <a:pt x="870407" y="10236"/>
                    </a:lnTo>
                    <a:lnTo>
                      <a:pt x="870407" y="0"/>
                    </a:lnTo>
                    <a:close/>
                  </a:path>
                  <a:path w="4311650" h="10794">
                    <a:moveTo>
                      <a:pt x="931849" y="0"/>
                    </a:moveTo>
                    <a:lnTo>
                      <a:pt x="921613" y="0"/>
                    </a:lnTo>
                    <a:lnTo>
                      <a:pt x="921613" y="10236"/>
                    </a:lnTo>
                    <a:lnTo>
                      <a:pt x="931849" y="10236"/>
                    </a:lnTo>
                    <a:lnTo>
                      <a:pt x="931849" y="0"/>
                    </a:lnTo>
                    <a:close/>
                  </a:path>
                  <a:path w="4311650" h="10794">
                    <a:moveTo>
                      <a:pt x="993292" y="0"/>
                    </a:moveTo>
                    <a:lnTo>
                      <a:pt x="983056" y="0"/>
                    </a:lnTo>
                    <a:lnTo>
                      <a:pt x="983056" y="10236"/>
                    </a:lnTo>
                    <a:lnTo>
                      <a:pt x="993292" y="10236"/>
                    </a:lnTo>
                    <a:lnTo>
                      <a:pt x="993292" y="0"/>
                    </a:lnTo>
                    <a:close/>
                  </a:path>
                  <a:path w="4311650" h="10794">
                    <a:moveTo>
                      <a:pt x="1054735" y="0"/>
                    </a:moveTo>
                    <a:lnTo>
                      <a:pt x="1044498" y="0"/>
                    </a:lnTo>
                    <a:lnTo>
                      <a:pt x="1044498" y="10236"/>
                    </a:lnTo>
                    <a:lnTo>
                      <a:pt x="1054735" y="10236"/>
                    </a:lnTo>
                    <a:lnTo>
                      <a:pt x="1054735" y="0"/>
                    </a:lnTo>
                    <a:close/>
                  </a:path>
                  <a:path w="4311650" h="10794">
                    <a:moveTo>
                      <a:pt x="1116177" y="0"/>
                    </a:moveTo>
                    <a:lnTo>
                      <a:pt x="1105941" y="0"/>
                    </a:lnTo>
                    <a:lnTo>
                      <a:pt x="1105941" y="10236"/>
                    </a:lnTo>
                    <a:lnTo>
                      <a:pt x="1116177" y="10236"/>
                    </a:lnTo>
                    <a:lnTo>
                      <a:pt x="1116177" y="0"/>
                    </a:lnTo>
                    <a:close/>
                  </a:path>
                  <a:path w="4311650" h="10794">
                    <a:moveTo>
                      <a:pt x="1177620" y="0"/>
                    </a:moveTo>
                    <a:lnTo>
                      <a:pt x="1167371" y="0"/>
                    </a:lnTo>
                    <a:lnTo>
                      <a:pt x="1167371" y="10236"/>
                    </a:lnTo>
                    <a:lnTo>
                      <a:pt x="1177620" y="10236"/>
                    </a:lnTo>
                    <a:lnTo>
                      <a:pt x="1177620" y="0"/>
                    </a:lnTo>
                    <a:close/>
                  </a:path>
                  <a:path w="4311650" h="10794">
                    <a:moveTo>
                      <a:pt x="1239062" y="0"/>
                    </a:moveTo>
                    <a:lnTo>
                      <a:pt x="1228813" y="0"/>
                    </a:lnTo>
                    <a:lnTo>
                      <a:pt x="1228813" y="10236"/>
                    </a:lnTo>
                    <a:lnTo>
                      <a:pt x="1239062" y="10236"/>
                    </a:lnTo>
                    <a:lnTo>
                      <a:pt x="1239062" y="0"/>
                    </a:lnTo>
                    <a:close/>
                  </a:path>
                  <a:path w="4311650" h="10794">
                    <a:moveTo>
                      <a:pt x="1300492" y="0"/>
                    </a:moveTo>
                    <a:lnTo>
                      <a:pt x="1290256" y="0"/>
                    </a:lnTo>
                    <a:lnTo>
                      <a:pt x="1290256" y="10236"/>
                    </a:lnTo>
                    <a:lnTo>
                      <a:pt x="1300492" y="10236"/>
                    </a:lnTo>
                    <a:lnTo>
                      <a:pt x="1300492" y="0"/>
                    </a:lnTo>
                    <a:close/>
                  </a:path>
                  <a:path w="4311650" h="10794">
                    <a:moveTo>
                      <a:pt x="1361935" y="0"/>
                    </a:moveTo>
                    <a:lnTo>
                      <a:pt x="1351699" y="0"/>
                    </a:lnTo>
                    <a:lnTo>
                      <a:pt x="1351699" y="10236"/>
                    </a:lnTo>
                    <a:lnTo>
                      <a:pt x="1361935" y="10236"/>
                    </a:lnTo>
                    <a:lnTo>
                      <a:pt x="1361935" y="0"/>
                    </a:lnTo>
                    <a:close/>
                  </a:path>
                  <a:path w="4311650" h="10794">
                    <a:moveTo>
                      <a:pt x="1423377" y="0"/>
                    </a:moveTo>
                    <a:lnTo>
                      <a:pt x="1413141" y="0"/>
                    </a:lnTo>
                    <a:lnTo>
                      <a:pt x="1413141" y="10236"/>
                    </a:lnTo>
                    <a:lnTo>
                      <a:pt x="1423377" y="10236"/>
                    </a:lnTo>
                    <a:lnTo>
                      <a:pt x="1423377" y="0"/>
                    </a:lnTo>
                    <a:close/>
                  </a:path>
                  <a:path w="4311650" h="10794">
                    <a:moveTo>
                      <a:pt x="1484820" y="0"/>
                    </a:moveTo>
                    <a:lnTo>
                      <a:pt x="1474584" y="0"/>
                    </a:lnTo>
                    <a:lnTo>
                      <a:pt x="1474584" y="10236"/>
                    </a:lnTo>
                    <a:lnTo>
                      <a:pt x="1484820" y="10236"/>
                    </a:lnTo>
                    <a:lnTo>
                      <a:pt x="1484820" y="0"/>
                    </a:lnTo>
                    <a:close/>
                  </a:path>
                  <a:path w="4311650" h="10794">
                    <a:moveTo>
                      <a:pt x="1546263" y="0"/>
                    </a:moveTo>
                    <a:lnTo>
                      <a:pt x="1536026" y="0"/>
                    </a:lnTo>
                    <a:lnTo>
                      <a:pt x="1536026" y="10236"/>
                    </a:lnTo>
                    <a:lnTo>
                      <a:pt x="1546263" y="10236"/>
                    </a:lnTo>
                    <a:lnTo>
                      <a:pt x="1546263" y="0"/>
                    </a:lnTo>
                    <a:close/>
                  </a:path>
                  <a:path w="4311650" h="10794">
                    <a:moveTo>
                      <a:pt x="1607705" y="0"/>
                    </a:moveTo>
                    <a:lnTo>
                      <a:pt x="1597456" y="0"/>
                    </a:lnTo>
                    <a:lnTo>
                      <a:pt x="1597456" y="10236"/>
                    </a:lnTo>
                    <a:lnTo>
                      <a:pt x="1607705" y="10236"/>
                    </a:lnTo>
                    <a:lnTo>
                      <a:pt x="1607705" y="0"/>
                    </a:lnTo>
                    <a:close/>
                  </a:path>
                  <a:path w="4311650" h="10794">
                    <a:moveTo>
                      <a:pt x="1669148" y="0"/>
                    </a:moveTo>
                    <a:lnTo>
                      <a:pt x="1658899" y="0"/>
                    </a:lnTo>
                    <a:lnTo>
                      <a:pt x="1658899" y="10236"/>
                    </a:lnTo>
                    <a:lnTo>
                      <a:pt x="1669148" y="10236"/>
                    </a:lnTo>
                    <a:lnTo>
                      <a:pt x="1669148" y="0"/>
                    </a:lnTo>
                    <a:close/>
                  </a:path>
                  <a:path w="4311650" h="10794">
                    <a:moveTo>
                      <a:pt x="1730578" y="0"/>
                    </a:moveTo>
                    <a:lnTo>
                      <a:pt x="1720342" y="0"/>
                    </a:lnTo>
                    <a:lnTo>
                      <a:pt x="1720342" y="10236"/>
                    </a:lnTo>
                    <a:lnTo>
                      <a:pt x="1730578" y="10236"/>
                    </a:lnTo>
                    <a:lnTo>
                      <a:pt x="1730578" y="0"/>
                    </a:lnTo>
                    <a:close/>
                  </a:path>
                  <a:path w="4311650" h="10794">
                    <a:moveTo>
                      <a:pt x="1792020" y="0"/>
                    </a:moveTo>
                    <a:lnTo>
                      <a:pt x="1781784" y="0"/>
                    </a:lnTo>
                    <a:lnTo>
                      <a:pt x="1781784" y="10236"/>
                    </a:lnTo>
                    <a:lnTo>
                      <a:pt x="1792020" y="10236"/>
                    </a:lnTo>
                    <a:lnTo>
                      <a:pt x="1792020" y="0"/>
                    </a:lnTo>
                    <a:close/>
                  </a:path>
                  <a:path w="4311650" h="10794">
                    <a:moveTo>
                      <a:pt x="1853463" y="0"/>
                    </a:moveTo>
                    <a:lnTo>
                      <a:pt x="1843227" y="0"/>
                    </a:lnTo>
                    <a:lnTo>
                      <a:pt x="1843227" y="10236"/>
                    </a:lnTo>
                    <a:lnTo>
                      <a:pt x="1853463" y="10236"/>
                    </a:lnTo>
                    <a:lnTo>
                      <a:pt x="1853463" y="0"/>
                    </a:lnTo>
                    <a:close/>
                  </a:path>
                  <a:path w="4311650" h="10794">
                    <a:moveTo>
                      <a:pt x="1914906" y="0"/>
                    </a:moveTo>
                    <a:lnTo>
                      <a:pt x="1904669" y="0"/>
                    </a:lnTo>
                    <a:lnTo>
                      <a:pt x="1904669" y="10236"/>
                    </a:lnTo>
                    <a:lnTo>
                      <a:pt x="1914906" y="10236"/>
                    </a:lnTo>
                    <a:lnTo>
                      <a:pt x="1914906" y="0"/>
                    </a:lnTo>
                    <a:close/>
                  </a:path>
                  <a:path w="4311650" h="10794">
                    <a:moveTo>
                      <a:pt x="1976348" y="0"/>
                    </a:moveTo>
                    <a:lnTo>
                      <a:pt x="1966112" y="0"/>
                    </a:lnTo>
                    <a:lnTo>
                      <a:pt x="1966112" y="10236"/>
                    </a:lnTo>
                    <a:lnTo>
                      <a:pt x="1976348" y="10236"/>
                    </a:lnTo>
                    <a:lnTo>
                      <a:pt x="1976348" y="0"/>
                    </a:lnTo>
                    <a:close/>
                  </a:path>
                  <a:path w="4311650" h="10794">
                    <a:moveTo>
                      <a:pt x="2037791" y="0"/>
                    </a:moveTo>
                    <a:lnTo>
                      <a:pt x="2027542" y="0"/>
                    </a:lnTo>
                    <a:lnTo>
                      <a:pt x="2027542" y="10236"/>
                    </a:lnTo>
                    <a:lnTo>
                      <a:pt x="2037791" y="10236"/>
                    </a:lnTo>
                    <a:lnTo>
                      <a:pt x="2037791" y="0"/>
                    </a:lnTo>
                    <a:close/>
                  </a:path>
                  <a:path w="4311650" h="10794">
                    <a:moveTo>
                      <a:pt x="2099233" y="0"/>
                    </a:moveTo>
                    <a:lnTo>
                      <a:pt x="2088984" y="0"/>
                    </a:lnTo>
                    <a:lnTo>
                      <a:pt x="2088984" y="10236"/>
                    </a:lnTo>
                    <a:lnTo>
                      <a:pt x="2099233" y="10236"/>
                    </a:lnTo>
                    <a:lnTo>
                      <a:pt x="2099233" y="0"/>
                    </a:lnTo>
                    <a:close/>
                  </a:path>
                  <a:path w="4311650" h="10794">
                    <a:moveTo>
                      <a:pt x="2160663" y="0"/>
                    </a:moveTo>
                    <a:lnTo>
                      <a:pt x="2150427" y="0"/>
                    </a:lnTo>
                    <a:lnTo>
                      <a:pt x="2150427" y="10236"/>
                    </a:lnTo>
                    <a:lnTo>
                      <a:pt x="2160663" y="10236"/>
                    </a:lnTo>
                    <a:lnTo>
                      <a:pt x="2160663" y="0"/>
                    </a:lnTo>
                    <a:close/>
                  </a:path>
                  <a:path w="4311650" h="10794">
                    <a:moveTo>
                      <a:pt x="2222106" y="0"/>
                    </a:moveTo>
                    <a:lnTo>
                      <a:pt x="2211870" y="0"/>
                    </a:lnTo>
                    <a:lnTo>
                      <a:pt x="2211870" y="10236"/>
                    </a:lnTo>
                    <a:lnTo>
                      <a:pt x="2222106" y="10236"/>
                    </a:lnTo>
                    <a:lnTo>
                      <a:pt x="2222106" y="0"/>
                    </a:lnTo>
                    <a:close/>
                  </a:path>
                  <a:path w="4311650" h="10794">
                    <a:moveTo>
                      <a:pt x="2283549" y="0"/>
                    </a:moveTo>
                    <a:lnTo>
                      <a:pt x="2273312" y="0"/>
                    </a:lnTo>
                    <a:lnTo>
                      <a:pt x="2273312" y="10236"/>
                    </a:lnTo>
                    <a:lnTo>
                      <a:pt x="2283549" y="10236"/>
                    </a:lnTo>
                    <a:lnTo>
                      <a:pt x="2283549" y="0"/>
                    </a:lnTo>
                    <a:close/>
                  </a:path>
                  <a:path w="4311650" h="10794">
                    <a:moveTo>
                      <a:pt x="2344991" y="0"/>
                    </a:moveTo>
                    <a:lnTo>
                      <a:pt x="2334755" y="0"/>
                    </a:lnTo>
                    <a:lnTo>
                      <a:pt x="2334755" y="10236"/>
                    </a:lnTo>
                    <a:lnTo>
                      <a:pt x="2344991" y="10236"/>
                    </a:lnTo>
                    <a:lnTo>
                      <a:pt x="2344991" y="0"/>
                    </a:lnTo>
                    <a:close/>
                  </a:path>
                  <a:path w="4311650" h="10794">
                    <a:moveTo>
                      <a:pt x="2406434" y="0"/>
                    </a:moveTo>
                    <a:lnTo>
                      <a:pt x="2396198" y="0"/>
                    </a:lnTo>
                    <a:lnTo>
                      <a:pt x="2396198" y="10236"/>
                    </a:lnTo>
                    <a:lnTo>
                      <a:pt x="2406434" y="10236"/>
                    </a:lnTo>
                    <a:lnTo>
                      <a:pt x="2406434" y="0"/>
                    </a:lnTo>
                    <a:close/>
                  </a:path>
                  <a:path w="4311650" h="10794">
                    <a:moveTo>
                      <a:pt x="2467876" y="0"/>
                    </a:moveTo>
                    <a:lnTo>
                      <a:pt x="2457627" y="0"/>
                    </a:lnTo>
                    <a:lnTo>
                      <a:pt x="2457627" y="10236"/>
                    </a:lnTo>
                    <a:lnTo>
                      <a:pt x="2467876" y="10236"/>
                    </a:lnTo>
                    <a:lnTo>
                      <a:pt x="2467876" y="0"/>
                    </a:lnTo>
                    <a:close/>
                  </a:path>
                  <a:path w="4311650" h="10794">
                    <a:moveTo>
                      <a:pt x="2529319" y="0"/>
                    </a:moveTo>
                    <a:lnTo>
                      <a:pt x="2519070" y="0"/>
                    </a:lnTo>
                    <a:lnTo>
                      <a:pt x="2519070" y="10236"/>
                    </a:lnTo>
                    <a:lnTo>
                      <a:pt x="2529319" y="10236"/>
                    </a:lnTo>
                    <a:lnTo>
                      <a:pt x="2529319" y="0"/>
                    </a:lnTo>
                    <a:close/>
                  </a:path>
                  <a:path w="4311650" h="10794">
                    <a:moveTo>
                      <a:pt x="2590762" y="0"/>
                    </a:moveTo>
                    <a:lnTo>
                      <a:pt x="2580513" y="0"/>
                    </a:lnTo>
                    <a:lnTo>
                      <a:pt x="2580513" y="10236"/>
                    </a:lnTo>
                    <a:lnTo>
                      <a:pt x="2590762" y="10236"/>
                    </a:lnTo>
                    <a:lnTo>
                      <a:pt x="2590762" y="0"/>
                    </a:lnTo>
                    <a:close/>
                  </a:path>
                  <a:path w="4311650" h="10794">
                    <a:moveTo>
                      <a:pt x="2652191" y="0"/>
                    </a:moveTo>
                    <a:lnTo>
                      <a:pt x="2641955" y="0"/>
                    </a:lnTo>
                    <a:lnTo>
                      <a:pt x="2641955" y="10236"/>
                    </a:lnTo>
                    <a:lnTo>
                      <a:pt x="2652191" y="10236"/>
                    </a:lnTo>
                    <a:lnTo>
                      <a:pt x="2652191" y="0"/>
                    </a:lnTo>
                    <a:close/>
                  </a:path>
                  <a:path w="4311650" h="10794">
                    <a:moveTo>
                      <a:pt x="2713634" y="0"/>
                    </a:moveTo>
                    <a:lnTo>
                      <a:pt x="2703398" y="0"/>
                    </a:lnTo>
                    <a:lnTo>
                      <a:pt x="2703398" y="10236"/>
                    </a:lnTo>
                    <a:lnTo>
                      <a:pt x="2713634" y="10236"/>
                    </a:lnTo>
                    <a:lnTo>
                      <a:pt x="2713634" y="0"/>
                    </a:lnTo>
                    <a:close/>
                  </a:path>
                  <a:path w="4311650" h="10794">
                    <a:moveTo>
                      <a:pt x="2775077" y="0"/>
                    </a:moveTo>
                    <a:lnTo>
                      <a:pt x="2764840" y="0"/>
                    </a:lnTo>
                    <a:lnTo>
                      <a:pt x="2764840" y="10236"/>
                    </a:lnTo>
                    <a:lnTo>
                      <a:pt x="2775077" y="10236"/>
                    </a:lnTo>
                    <a:lnTo>
                      <a:pt x="2775077" y="0"/>
                    </a:lnTo>
                    <a:close/>
                  </a:path>
                  <a:path w="4311650" h="10794">
                    <a:moveTo>
                      <a:pt x="2836519" y="0"/>
                    </a:moveTo>
                    <a:lnTo>
                      <a:pt x="2826283" y="0"/>
                    </a:lnTo>
                    <a:lnTo>
                      <a:pt x="2826283" y="10236"/>
                    </a:lnTo>
                    <a:lnTo>
                      <a:pt x="2836519" y="10236"/>
                    </a:lnTo>
                    <a:lnTo>
                      <a:pt x="2836519" y="0"/>
                    </a:lnTo>
                    <a:close/>
                  </a:path>
                  <a:path w="4311650" h="10794">
                    <a:moveTo>
                      <a:pt x="2897962" y="0"/>
                    </a:moveTo>
                    <a:lnTo>
                      <a:pt x="2887726" y="0"/>
                    </a:lnTo>
                    <a:lnTo>
                      <a:pt x="2887726" y="10236"/>
                    </a:lnTo>
                    <a:lnTo>
                      <a:pt x="2897962" y="10236"/>
                    </a:lnTo>
                    <a:lnTo>
                      <a:pt x="2897962" y="0"/>
                    </a:lnTo>
                    <a:close/>
                  </a:path>
                  <a:path w="4311650" h="10794">
                    <a:moveTo>
                      <a:pt x="2959404" y="0"/>
                    </a:moveTo>
                    <a:lnTo>
                      <a:pt x="2949156" y="0"/>
                    </a:lnTo>
                    <a:lnTo>
                      <a:pt x="2949156" y="10236"/>
                    </a:lnTo>
                    <a:lnTo>
                      <a:pt x="2959404" y="10236"/>
                    </a:lnTo>
                    <a:lnTo>
                      <a:pt x="2959404" y="0"/>
                    </a:lnTo>
                    <a:close/>
                  </a:path>
                  <a:path w="4311650" h="10794">
                    <a:moveTo>
                      <a:pt x="3020847" y="0"/>
                    </a:moveTo>
                    <a:lnTo>
                      <a:pt x="3010598" y="0"/>
                    </a:lnTo>
                    <a:lnTo>
                      <a:pt x="3010598" y="10236"/>
                    </a:lnTo>
                    <a:lnTo>
                      <a:pt x="3020847" y="10236"/>
                    </a:lnTo>
                    <a:lnTo>
                      <a:pt x="3020847" y="0"/>
                    </a:lnTo>
                    <a:close/>
                  </a:path>
                  <a:path w="4311650" h="10794">
                    <a:moveTo>
                      <a:pt x="3082277" y="0"/>
                    </a:moveTo>
                    <a:lnTo>
                      <a:pt x="3072041" y="0"/>
                    </a:lnTo>
                    <a:lnTo>
                      <a:pt x="3072041" y="10236"/>
                    </a:lnTo>
                    <a:lnTo>
                      <a:pt x="3082277" y="10236"/>
                    </a:lnTo>
                    <a:lnTo>
                      <a:pt x="3082277" y="0"/>
                    </a:lnTo>
                    <a:close/>
                  </a:path>
                  <a:path w="4311650" h="10794">
                    <a:moveTo>
                      <a:pt x="3143720" y="0"/>
                    </a:moveTo>
                    <a:lnTo>
                      <a:pt x="3133483" y="0"/>
                    </a:lnTo>
                    <a:lnTo>
                      <a:pt x="3133483" y="10236"/>
                    </a:lnTo>
                    <a:lnTo>
                      <a:pt x="3143720" y="10236"/>
                    </a:lnTo>
                    <a:lnTo>
                      <a:pt x="3143720" y="0"/>
                    </a:lnTo>
                    <a:close/>
                  </a:path>
                  <a:path w="4311650" h="10794">
                    <a:moveTo>
                      <a:pt x="3205162" y="0"/>
                    </a:moveTo>
                    <a:lnTo>
                      <a:pt x="3194926" y="0"/>
                    </a:lnTo>
                    <a:lnTo>
                      <a:pt x="3194926" y="10236"/>
                    </a:lnTo>
                    <a:lnTo>
                      <a:pt x="3205162" y="10236"/>
                    </a:lnTo>
                    <a:lnTo>
                      <a:pt x="3205162" y="0"/>
                    </a:lnTo>
                    <a:close/>
                  </a:path>
                  <a:path w="4311650" h="10794">
                    <a:moveTo>
                      <a:pt x="3266605" y="0"/>
                    </a:moveTo>
                    <a:lnTo>
                      <a:pt x="3256369" y="0"/>
                    </a:lnTo>
                    <a:lnTo>
                      <a:pt x="3256369" y="10236"/>
                    </a:lnTo>
                    <a:lnTo>
                      <a:pt x="3266605" y="10236"/>
                    </a:lnTo>
                    <a:lnTo>
                      <a:pt x="3266605" y="0"/>
                    </a:lnTo>
                    <a:close/>
                  </a:path>
                  <a:path w="4311650" h="10794">
                    <a:moveTo>
                      <a:pt x="3328047" y="0"/>
                    </a:moveTo>
                    <a:lnTo>
                      <a:pt x="3317811" y="0"/>
                    </a:lnTo>
                    <a:lnTo>
                      <a:pt x="3317811" y="10236"/>
                    </a:lnTo>
                    <a:lnTo>
                      <a:pt x="3328047" y="10236"/>
                    </a:lnTo>
                    <a:lnTo>
                      <a:pt x="3328047" y="0"/>
                    </a:lnTo>
                    <a:close/>
                  </a:path>
                  <a:path w="4311650" h="10794">
                    <a:moveTo>
                      <a:pt x="3389490" y="0"/>
                    </a:moveTo>
                    <a:lnTo>
                      <a:pt x="3379241" y="0"/>
                    </a:lnTo>
                    <a:lnTo>
                      <a:pt x="3379241" y="10236"/>
                    </a:lnTo>
                    <a:lnTo>
                      <a:pt x="3389490" y="10236"/>
                    </a:lnTo>
                    <a:lnTo>
                      <a:pt x="3389490" y="0"/>
                    </a:lnTo>
                    <a:close/>
                  </a:path>
                  <a:path w="4311650" h="10794">
                    <a:moveTo>
                      <a:pt x="3450933" y="0"/>
                    </a:moveTo>
                    <a:lnTo>
                      <a:pt x="3440684" y="0"/>
                    </a:lnTo>
                    <a:lnTo>
                      <a:pt x="3440684" y="10236"/>
                    </a:lnTo>
                    <a:lnTo>
                      <a:pt x="3450933" y="10236"/>
                    </a:lnTo>
                    <a:lnTo>
                      <a:pt x="3450933" y="0"/>
                    </a:lnTo>
                    <a:close/>
                  </a:path>
                  <a:path w="4311650" h="10794">
                    <a:moveTo>
                      <a:pt x="3512362" y="0"/>
                    </a:moveTo>
                    <a:lnTo>
                      <a:pt x="3502126" y="0"/>
                    </a:lnTo>
                    <a:lnTo>
                      <a:pt x="3502126" y="10236"/>
                    </a:lnTo>
                    <a:lnTo>
                      <a:pt x="3512362" y="10236"/>
                    </a:lnTo>
                    <a:lnTo>
                      <a:pt x="3512362" y="0"/>
                    </a:lnTo>
                    <a:close/>
                  </a:path>
                  <a:path w="4311650" h="10794">
                    <a:moveTo>
                      <a:pt x="3573805" y="0"/>
                    </a:moveTo>
                    <a:lnTo>
                      <a:pt x="3563569" y="0"/>
                    </a:lnTo>
                    <a:lnTo>
                      <a:pt x="3563569" y="10236"/>
                    </a:lnTo>
                    <a:lnTo>
                      <a:pt x="3573805" y="10236"/>
                    </a:lnTo>
                    <a:lnTo>
                      <a:pt x="3573805" y="0"/>
                    </a:lnTo>
                    <a:close/>
                  </a:path>
                  <a:path w="4311650" h="10794">
                    <a:moveTo>
                      <a:pt x="3635248" y="0"/>
                    </a:moveTo>
                    <a:lnTo>
                      <a:pt x="3625011" y="0"/>
                    </a:lnTo>
                    <a:lnTo>
                      <a:pt x="3625011" y="10236"/>
                    </a:lnTo>
                    <a:lnTo>
                      <a:pt x="3635248" y="10236"/>
                    </a:lnTo>
                    <a:lnTo>
                      <a:pt x="3635248" y="0"/>
                    </a:lnTo>
                    <a:close/>
                  </a:path>
                  <a:path w="4311650" h="10794">
                    <a:moveTo>
                      <a:pt x="3696690" y="0"/>
                    </a:moveTo>
                    <a:lnTo>
                      <a:pt x="3686454" y="0"/>
                    </a:lnTo>
                    <a:lnTo>
                      <a:pt x="3686454" y="10236"/>
                    </a:lnTo>
                    <a:lnTo>
                      <a:pt x="3696690" y="10236"/>
                    </a:lnTo>
                    <a:lnTo>
                      <a:pt x="3696690" y="0"/>
                    </a:lnTo>
                    <a:close/>
                  </a:path>
                  <a:path w="4311650" h="10794">
                    <a:moveTo>
                      <a:pt x="3758133" y="0"/>
                    </a:moveTo>
                    <a:lnTo>
                      <a:pt x="3747897" y="0"/>
                    </a:lnTo>
                    <a:lnTo>
                      <a:pt x="3747897" y="10236"/>
                    </a:lnTo>
                    <a:lnTo>
                      <a:pt x="3758133" y="10236"/>
                    </a:lnTo>
                    <a:lnTo>
                      <a:pt x="3758133" y="0"/>
                    </a:lnTo>
                    <a:close/>
                  </a:path>
                  <a:path w="4311650" h="10794">
                    <a:moveTo>
                      <a:pt x="3819575" y="0"/>
                    </a:moveTo>
                    <a:lnTo>
                      <a:pt x="3809327" y="0"/>
                    </a:lnTo>
                    <a:lnTo>
                      <a:pt x="3809327" y="10236"/>
                    </a:lnTo>
                    <a:lnTo>
                      <a:pt x="3819575" y="10236"/>
                    </a:lnTo>
                    <a:lnTo>
                      <a:pt x="3819575" y="0"/>
                    </a:lnTo>
                    <a:close/>
                  </a:path>
                  <a:path w="4311650" h="10794">
                    <a:moveTo>
                      <a:pt x="3881018" y="0"/>
                    </a:moveTo>
                    <a:lnTo>
                      <a:pt x="3870769" y="0"/>
                    </a:lnTo>
                    <a:lnTo>
                      <a:pt x="3870769" y="10236"/>
                    </a:lnTo>
                    <a:lnTo>
                      <a:pt x="3881018" y="10236"/>
                    </a:lnTo>
                    <a:lnTo>
                      <a:pt x="3881018" y="0"/>
                    </a:lnTo>
                    <a:close/>
                  </a:path>
                  <a:path w="4311650" h="10794">
                    <a:moveTo>
                      <a:pt x="3942448" y="0"/>
                    </a:moveTo>
                    <a:lnTo>
                      <a:pt x="3932212" y="0"/>
                    </a:lnTo>
                    <a:lnTo>
                      <a:pt x="3932212" y="10236"/>
                    </a:lnTo>
                    <a:lnTo>
                      <a:pt x="3942448" y="10236"/>
                    </a:lnTo>
                    <a:lnTo>
                      <a:pt x="3942448" y="0"/>
                    </a:lnTo>
                    <a:close/>
                  </a:path>
                  <a:path w="4311650" h="10794">
                    <a:moveTo>
                      <a:pt x="4003891" y="0"/>
                    </a:moveTo>
                    <a:lnTo>
                      <a:pt x="3993654" y="0"/>
                    </a:lnTo>
                    <a:lnTo>
                      <a:pt x="3993654" y="10236"/>
                    </a:lnTo>
                    <a:lnTo>
                      <a:pt x="4003891" y="10236"/>
                    </a:lnTo>
                    <a:lnTo>
                      <a:pt x="4003891" y="0"/>
                    </a:lnTo>
                    <a:close/>
                  </a:path>
                  <a:path w="4311650" h="10794">
                    <a:moveTo>
                      <a:pt x="4065333" y="0"/>
                    </a:moveTo>
                    <a:lnTo>
                      <a:pt x="4055097" y="0"/>
                    </a:lnTo>
                    <a:lnTo>
                      <a:pt x="4055097" y="10236"/>
                    </a:lnTo>
                    <a:lnTo>
                      <a:pt x="4065333" y="10236"/>
                    </a:lnTo>
                    <a:lnTo>
                      <a:pt x="4065333" y="0"/>
                    </a:lnTo>
                    <a:close/>
                  </a:path>
                  <a:path w="4311650" h="10794">
                    <a:moveTo>
                      <a:pt x="4126776" y="0"/>
                    </a:moveTo>
                    <a:lnTo>
                      <a:pt x="4116540" y="0"/>
                    </a:lnTo>
                    <a:lnTo>
                      <a:pt x="4116540" y="10236"/>
                    </a:lnTo>
                    <a:lnTo>
                      <a:pt x="4126776" y="10236"/>
                    </a:lnTo>
                    <a:lnTo>
                      <a:pt x="4126776" y="0"/>
                    </a:lnTo>
                    <a:close/>
                  </a:path>
                  <a:path w="4311650" h="10794">
                    <a:moveTo>
                      <a:pt x="4188218" y="0"/>
                    </a:moveTo>
                    <a:lnTo>
                      <a:pt x="4177982" y="0"/>
                    </a:lnTo>
                    <a:lnTo>
                      <a:pt x="4177982" y="10236"/>
                    </a:lnTo>
                    <a:lnTo>
                      <a:pt x="4188218" y="10236"/>
                    </a:lnTo>
                    <a:lnTo>
                      <a:pt x="4188218" y="0"/>
                    </a:lnTo>
                    <a:close/>
                  </a:path>
                  <a:path w="4311650" h="10794">
                    <a:moveTo>
                      <a:pt x="4249661" y="0"/>
                    </a:moveTo>
                    <a:lnTo>
                      <a:pt x="4239412" y="0"/>
                    </a:lnTo>
                    <a:lnTo>
                      <a:pt x="4239412" y="10236"/>
                    </a:lnTo>
                    <a:lnTo>
                      <a:pt x="4249661" y="10236"/>
                    </a:lnTo>
                    <a:lnTo>
                      <a:pt x="4249661" y="0"/>
                    </a:lnTo>
                    <a:close/>
                  </a:path>
                  <a:path w="4311650" h="10794">
                    <a:moveTo>
                      <a:pt x="4311104" y="0"/>
                    </a:moveTo>
                    <a:lnTo>
                      <a:pt x="4300855" y="0"/>
                    </a:lnTo>
                    <a:lnTo>
                      <a:pt x="4300855" y="10236"/>
                    </a:lnTo>
                    <a:lnTo>
                      <a:pt x="4311104" y="10236"/>
                    </a:lnTo>
                    <a:lnTo>
                      <a:pt x="431110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9" name="object 139"/>
              <p:cNvSpPr/>
              <p:nvPr/>
            </p:nvSpPr>
            <p:spPr>
              <a:xfrm>
                <a:off x="5783745" y="1588388"/>
                <a:ext cx="563245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563245" h="1079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563245" h="10794">
                    <a:moveTo>
                      <a:pt x="71678" y="0"/>
                    </a:moveTo>
                    <a:lnTo>
                      <a:pt x="61442" y="0"/>
                    </a:lnTo>
                    <a:lnTo>
                      <a:pt x="61442" y="10236"/>
                    </a:lnTo>
                    <a:lnTo>
                      <a:pt x="71678" y="10236"/>
                    </a:lnTo>
                    <a:lnTo>
                      <a:pt x="71678" y="0"/>
                    </a:lnTo>
                    <a:close/>
                  </a:path>
                  <a:path w="563245" h="10794">
                    <a:moveTo>
                      <a:pt x="133121" y="0"/>
                    </a:moveTo>
                    <a:lnTo>
                      <a:pt x="122885" y="0"/>
                    </a:lnTo>
                    <a:lnTo>
                      <a:pt x="122885" y="10236"/>
                    </a:lnTo>
                    <a:lnTo>
                      <a:pt x="133121" y="10236"/>
                    </a:lnTo>
                    <a:lnTo>
                      <a:pt x="133121" y="0"/>
                    </a:lnTo>
                    <a:close/>
                  </a:path>
                  <a:path w="563245" h="10794">
                    <a:moveTo>
                      <a:pt x="194564" y="0"/>
                    </a:moveTo>
                    <a:lnTo>
                      <a:pt x="184327" y="0"/>
                    </a:lnTo>
                    <a:lnTo>
                      <a:pt x="184327" y="10236"/>
                    </a:lnTo>
                    <a:lnTo>
                      <a:pt x="194564" y="10236"/>
                    </a:lnTo>
                    <a:lnTo>
                      <a:pt x="194564" y="0"/>
                    </a:lnTo>
                    <a:close/>
                  </a:path>
                  <a:path w="563245" h="10794">
                    <a:moveTo>
                      <a:pt x="256006" y="0"/>
                    </a:moveTo>
                    <a:lnTo>
                      <a:pt x="245770" y="0"/>
                    </a:lnTo>
                    <a:lnTo>
                      <a:pt x="245770" y="10236"/>
                    </a:lnTo>
                    <a:lnTo>
                      <a:pt x="256006" y="10236"/>
                    </a:lnTo>
                    <a:lnTo>
                      <a:pt x="256006" y="0"/>
                    </a:lnTo>
                    <a:close/>
                  </a:path>
                  <a:path w="563245" h="10794">
                    <a:moveTo>
                      <a:pt x="317449" y="0"/>
                    </a:moveTo>
                    <a:lnTo>
                      <a:pt x="307213" y="0"/>
                    </a:lnTo>
                    <a:lnTo>
                      <a:pt x="307213" y="10236"/>
                    </a:lnTo>
                    <a:lnTo>
                      <a:pt x="317449" y="10236"/>
                    </a:lnTo>
                    <a:lnTo>
                      <a:pt x="317449" y="0"/>
                    </a:lnTo>
                    <a:close/>
                  </a:path>
                  <a:path w="563245" h="10794">
                    <a:moveTo>
                      <a:pt x="378891" y="0"/>
                    </a:moveTo>
                    <a:lnTo>
                      <a:pt x="368642" y="0"/>
                    </a:lnTo>
                    <a:lnTo>
                      <a:pt x="368642" y="10236"/>
                    </a:lnTo>
                    <a:lnTo>
                      <a:pt x="378891" y="10236"/>
                    </a:lnTo>
                    <a:lnTo>
                      <a:pt x="378891" y="0"/>
                    </a:lnTo>
                    <a:close/>
                  </a:path>
                  <a:path w="563245" h="10794">
                    <a:moveTo>
                      <a:pt x="440334" y="0"/>
                    </a:moveTo>
                    <a:lnTo>
                      <a:pt x="430085" y="0"/>
                    </a:lnTo>
                    <a:lnTo>
                      <a:pt x="430085" y="10236"/>
                    </a:lnTo>
                    <a:lnTo>
                      <a:pt x="440334" y="10236"/>
                    </a:lnTo>
                    <a:lnTo>
                      <a:pt x="440334" y="0"/>
                    </a:lnTo>
                    <a:close/>
                  </a:path>
                  <a:path w="563245" h="10794">
                    <a:moveTo>
                      <a:pt x="501777" y="0"/>
                    </a:moveTo>
                    <a:lnTo>
                      <a:pt x="491528" y="0"/>
                    </a:lnTo>
                    <a:lnTo>
                      <a:pt x="491528" y="10236"/>
                    </a:lnTo>
                    <a:lnTo>
                      <a:pt x="501777" y="10236"/>
                    </a:lnTo>
                    <a:lnTo>
                      <a:pt x="501777" y="0"/>
                    </a:lnTo>
                    <a:close/>
                  </a:path>
                  <a:path w="563245" h="10794">
                    <a:moveTo>
                      <a:pt x="563206" y="0"/>
                    </a:moveTo>
                    <a:lnTo>
                      <a:pt x="552970" y="0"/>
                    </a:lnTo>
                    <a:lnTo>
                      <a:pt x="552970" y="10236"/>
                    </a:lnTo>
                    <a:lnTo>
                      <a:pt x="563206" y="10236"/>
                    </a:lnTo>
                    <a:lnTo>
                      <a:pt x="563206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40" name="object 140"/>
              <p:cNvSpPr/>
              <p:nvPr/>
            </p:nvSpPr>
            <p:spPr>
              <a:xfrm>
                <a:off x="602244" y="1593499"/>
                <a:ext cx="5726430" cy="1913889"/>
              </a:xfrm>
              <a:custGeom>
                <a:avLst/>
                <a:gdLst/>
                <a:ahLst/>
                <a:cxnLst/>
                <a:rect l="l" t="t" r="r" b="b"/>
                <a:pathLst>
                  <a:path w="5726430" h="1913889">
                    <a:moveTo>
                      <a:pt x="0" y="0"/>
                    </a:moveTo>
                    <a:lnTo>
                      <a:pt x="260265" y="1158281"/>
                    </a:lnTo>
                    <a:lnTo>
                      <a:pt x="520530" y="1152059"/>
                    </a:lnTo>
                    <a:lnTo>
                      <a:pt x="780795" y="712317"/>
                    </a:lnTo>
                    <a:lnTo>
                      <a:pt x="1041061" y="565218"/>
                    </a:lnTo>
                    <a:lnTo>
                      <a:pt x="1301326" y="713086"/>
                    </a:lnTo>
                    <a:lnTo>
                      <a:pt x="1561591" y="770235"/>
                    </a:lnTo>
                    <a:lnTo>
                      <a:pt x="1821857" y="706124"/>
                    </a:lnTo>
                    <a:lnTo>
                      <a:pt x="2082122" y="560605"/>
                    </a:lnTo>
                    <a:lnTo>
                      <a:pt x="2342387" y="487101"/>
                    </a:lnTo>
                    <a:lnTo>
                      <a:pt x="2602653" y="499684"/>
                    </a:lnTo>
                    <a:lnTo>
                      <a:pt x="2862918" y="737491"/>
                    </a:lnTo>
                    <a:lnTo>
                      <a:pt x="3123183" y="914148"/>
                    </a:lnTo>
                    <a:lnTo>
                      <a:pt x="3383448" y="1013609"/>
                    </a:lnTo>
                    <a:lnTo>
                      <a:pt x="3643714" y="1072831"/>
                    </a:lnTo>
                    <a:lnTo>
                      <a:pt x="3903979" y="1181875"/>
                    </a:lnTo>
                    <a:lnTo>
                      <a:pt x="4164244" y="1432432"/>
                    </a:lnTo>
                    <a:lnTo>
                      <a:pt x="4424510" y="1673234"/>
                    </a:lnTo>
                    <a:lnTo>
                      <a:pt x="4684775" y="1787700"/>
                    </a:lnTo>
                    <a:lnTo>
                      <a:pt x="4945040" y="1827307"/>
                    </a:lnTo>
                    <a:lnTo>
                      <a:pt x="5205306" y="1799895"/>
                    </a:lnTo>
                    <a:lnTo>
                      <a:pt x="5465571" y="1812334"/>
                    </a:lnTo>
                    <a:lnTo>
                      <a:pt x="5725836" y="1913308"/>
                    </a:lnTo>
                  </a:path>
                </a:pathLst>
              </a:custGeom>
              <a:ln w="30731">
                <a:solidFill>
                  <a:srgbClr val="E66B37"/>
                </a:solidFill>
              </a:ln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141" name="object 141"/>
            <p:cNvSpPr/>
            <p:nvPr/>
          </p:nvSpPr>
          <p:spPr>
            <a:xfrm>
              <a:off x="5959204" y="314672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0" y="10244"/>
                  </a:moveTo>
                  <a:lnTo>
                    <a:pt x="0" y="10244"/>
                  </a:lnTo>
                  <a:lnTo>
                    <a:pt x="0" y="0"/>
                  </a:lnTo>
                  <a:lnTo>
                    <a:pt x="10240" y="0"/>
                  </a:lnTo>
                  <a:lnTo>
                    <a:pt x="10240" y="10244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42" name="object 142"/>
            <p:cNvSpPr txBox="1"/>
            <p:nvPr/>
          </p:nvSpPr>
          <p:spPr>
            <a:xfrm>
              <a:off x="512841" y="3066283"/>
              <a:ext cx="16304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43" name="object 143"/>
            <p:cNvSpPr/>
            <p:nvPr/>
          </p:nvSpPr>
          <p:spPr>
            <a:xfrm>
              <a:off x="754803" y="279768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0" y="10244"/>
                  </a:moveTo>
                  <a:lnTo>
                    <a:pt x="0" y="10244"/>
                  </a:lnTo>
                  <a:lnTo>
                    <a:pt x="0" y="0"/>
                  </a:lnTo>
                  <a:lnTo>
                    <a:pt x="10240" y="0"/>
                  </a:lnTo>
                  <a:lnTo>
                    <a:pt x="10240" y="10244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44" name="object 144"/>
            <p:cNvSpPr/>
            <p:nvPr/>
          </p:nvSpPr>
          <p:spPr>
            <a:xfrm>
              <a:off x="5959204" y="279768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0" y="10244"/>
                  </a:moveTo>
                  <a:lnTo>
                    <a:pt x="0" y="10244"/>
                  </a:lnTo>
                  <a:lnTo>
                    <a:pt x="0" y="0"/>
                  </a:lnTo>
                  <a:lnTo>
                    <a:pt x="10240" y="0"/>
                  </a:lnTo>
                  <a:lnTo>
                    <a:pt x="10240" y="10244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45" name="object 145"/>
            <p:cNvSpPr txBox="1"/>
            <p:nvPr/>
          </p:nvSpPr>
          <p:spPr>
            <a:xfrm>
              <a:off x="512841" y="2717239"/>
              <a:ext cx="16304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2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46" name="object 146"/>
            <p:cNvSpPr/>
            <p:nvPr/>
          </p:nvSpPr>
          <p:spPr>
            <a:xfrm>
              <a:off x="754803" y="244863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0" y="10244"/>
                  </a:moveTo>
                  <a:lnTo>
                    <a:pt x="0" y="10244"/>
                  </a:lnTo>
                  <a:lnTo>
                    <a:pt x="0" y="0"/>
                  </a:lnTo>
                  <a:lnTo>
                    <a:pt x="10240" y="0"/>
                  </a:lnTo>
                  <a:lnTo>
                    <a:pt x="10240" y="10244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47" name="object 147"/>
            <p:cNvSpPr/>
            <p:nvPr/>
          </p:nvSpPr>
          <p:spPr>
            <a:xfrm>
              <a:off x="5959204" y="244863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0" y="10244"/>
                  </a:moveTo>
                  <a:lnTo>
                    <a:pt x="0" y="10244"/>
                  </a:lnTo>
                  <a:lnTo>
                    <a:pt x="0" y="0"/>
                  </a:lnTo>
                  <a:lnTo>
                    <a:pt x="10240" y="0"/>
                  </a:lnTo>
                  <a:lnTo>
                    <a:pt x="10240" y="10244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48" name="object 148"/>
            <p:cNvSpPr txBox="1"/>
            <p:nvPr/>
          </p:nvSpPr>
          <p:spPr>
            <a:xfrm>
              <a:off x="512841" y="2368196"/>
              <a:ext cx="16304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4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49" name="object 149"/>
            <p:cNvSpPr/>
            <p:nvPr/>
          </p:nvSpPr>
          <p:spPr>
            <a:xfrm>
              <a:off x="754803" y="209959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0" y="10244"/>
                  </a:moveTo>
                  <a:lnTo>
                    <a:pt x="0" y="10244"/>
                  </a:lnTo>
                  <a:lnTo>
                    <a:pt x="0" y="0"/>
                  </a:lnTo>
                  <a:lnTo>
                    <a:pt x="10240" y="0"/>
                  </a:lnTo>
                  <a:lnTo>
                    <a:pt x="10240" y="10244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50" name="object 150"/>
            <p:cNvSpPr/>
            <p:nvPr/>
          </p:nvSpPr>
          <p:spPr>
            <a:xfrm>
              <a:off x="5959204" y="209959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0" y="10244"/>
                  </a:moveTo>
                  <a:lnTo>
                    <a:pt x="0" y="10244"/>
                  </a:lnTo>
                  <a:lnTo>
                    <a:pt x="0" y="0"/>
                  </a:lnTo>
                  <a:lnTo>
                    <a:pt x="10240" y="0"/>
                  </a:lnTo>
                  <a:lnTo>
                    <a:pt x="10240" y="10244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51" name="object 151"/>
            <p:cNvSpPr txBox="1"/>
            <p:nvPr/>
          </p:nvSpPr>
          <p:spPr>
            <a:xfrm>
              <a:off x="512841" y="2019152"/>
              <a:ext cx="16304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6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52" name="object 152"/>
            <p:cNvSpPr/>
            <p:nvPr/>
          </p:nvSpPr>
          <p:spPr>
            <a:xfrm>
              <a:off x="754803" y="175055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0" y="10244"/>
                  </a:moveTo>
                  <a:lnTo>
                    <a:pt x="0" y="10244"/>
                  </a:lnTo>
                  <a:lnTo>
                    <a:pt x="0" y="0"/>
                  </a:lnTo>
                  <a:lnTo>
                    <a:pt x="10240" y="0"/>
                  </a:lnTo>
                  <a:lnTo>
                    <a:pt x="10240" y="10244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53" name="object 153"/>
            <p:cNvSpPr/>
            <p:nvPr/>
          </p:nvSpPr>
          <p:spPr>
            <a:xfrm>
              <a:off x="5959204" y="175055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0" y="10244"/>
                  </a:moveTo>
                  <a:lnTo>
                    <a:pt x="0" y="10244"/>
                  </a:lnTo>
                  <a:lnTo>
                    <a:pt x="0" y="0"/>
                  </a:lnTo>
                  <a:lnTo>
                    <a:pt x="10240" y="0"/>
                  </a:lnTo>
                  <a:lnTo>
                    <a:pt x="10240" y="10244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54" name="object 154"/>
            <p:cNvSpPr txBox="1"/>
            <p:nvPr/>
          </p:nvSpPr>
          <p:spPr>
            <a:xfrm>
              <a:off x="512841" y="1670109"/>
              <a:ext cx="16304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8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55" name="object 155"/>
            <p:cNvSpPr/>
            <p:nvPr/>
          </p:nvSpPr>
          <p:spPr>
            <a:xfrm>
              <a:off x="754803" y="140151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0" y="10244"/>
                  </a:moveTo>
                  <a:lnTo>
                    <a:pt x="0" y="10244"/>
                  </a:lnTo>
                  <a:lnTo>
                    <a:pt x="0" y="0"/>
                  </a:lnTo>
                  <a:lnTo>
                    <a:pt x="10240" y="0"/>
                  </a:lnTo>
                  <a:lnTo>
                    <a:pt x="10240" y="10244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56" name="object 156"/>
            <p:cNvSpPr/>
            <p:nvPr/>
          </p:nvSpPr>
          <p:spPr>
            <a:xfrm>
              <a:off x="5959204" y="140151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40" y="10244"/>
                  </a:moveTo>
                  <a:lnTo>
                    <a:pt x="0" y="10244"/>
                  </a:lnTo>
                  <a:lnTo>
                    <a:pt x="0" y="0"/>
                  </a:lnTo>
                  <a:lnTo>
                    <a:pt x="10240" y="0"/>
                  </a:lnTo>
                  <a:lnTo>
                    <a:pt x="10240" y="10244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57" name="object 157"/>
            <p:cNvSpPr txBox="1"/>
            <p:nvPr/>
          </p:nvSpPr>
          <p:spPr>
            <a:xfrm>
              <a:off x="512841" y="1321066"/>
              <a:ext cx="16304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1.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58" name="object 158"/>
            <p:cNvSpPr txBox="1"/>
            <p:nvPr/>
          </p:nvSpPr>
          <p:spPr>
            <a:xfrm>
              <a:off x="3264017" y="3333528"/>
              <a:ext cx="384231" cy="166900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1000" spc="-84" dirty="0">
                  <a:solidFill>
                    <a:srgbClr val="252423"/>
                  </a:solidFill>
                  <a:latin typeface="Arial Narrow"/>
                  <a:cs typeface="Arial Narrow"/>
                </a:rPr>
                <a:t>Y</a:t>
              </a:r>
              <a:r>
                <a:rPr sz="1000" spc="44" dirty="0">
                  <a:solidFill>
                    <a:srgbClr val="252423"/>
                  </a:solidFill>
                  <a:latin typeface="Arial Narrow"/>
                  <a:cs typeface="Arial Narrow"/>
                </a:rPr>
                <a:t>ear</a:t>
              </a:r>
              <a:endParaRPr sz="1000" dirty="0">
                <a:latin typeface="Arial Narrow"/>
                <a:cs typeface="Arial Narrow"/>
              </a:endParaRPr>
            </a:p>
          </p:txBody>
        </p:sp>
        <p:sp>
          <p:nvSpPr>
            <p:cNvPr id="159" name="object 159"/>
            <p:cNvSpPr txBox="1"/>
            <p:nvPr/>
          </p:nvSpPr>
          <p:spPr>
            <a:xfrm>
              <a:off x="344563" y="1812068"/>
              <a:ext cx="115416" cy="721094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922"/>
                </a:lnSpc>
              </a:pPr>
              <a:r>
                <a:rPr sz="1000" spc="40" dirty="0">
                  <a:solidFill>
                    <a:srgbClr val="252423"/>
                  </a:solidFill>
                  <a:latin typeface="Arial Narrow"/>
                  <a:cs typeface="Arial Narrow"/>
                </a:rPr>
                <a:t>Usefulness</a:t>
              </a:r>
              <a:endParaRPr sz="1000" dirty="0">
                <a:latin typeface="Arial Narrow"/>
                <a:cs typeface="Arial Narrow"/>
              </a:endParaRPr>
            </a:p>
          </p:txBody>
        </p:sp>
        <p:sp>
          <p:nvSpPr>
            <p:cNvPr id="160" name="object 160"/>
            <p:cNvSpPr txBox="1"/>
            <p:nvPr/>
          </p:nvSpPr>
          <p:spPr>
            <a:xfrm>
              <a:off x="1635638" y="3176196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61" name="object 161"/>
            <p:cNvSpPr txBox="1"/>
            <p:nvPr/>
          </p:nvSpPr>
          <p:spPr>
            <a:xfrm>
              <a:off x="2783868" y="3176196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62" name="object 162"/>
            <p:cNvSpPr txBox="1"/>
            <p:nvPr/>
          </p:nvSpPr>
          <p:spPr>
            <a:xfrm>
              <a:off x="3932096" y="3176196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63" name="object 163"/>
            <p:cNvSpPr txBox="1"/>
            <p:nvPr/>
          </p:nvSpPr>
          <p:spPr>
            <a:xfrm>
              <a:off x="5080326" y="3176196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64" name="object 164"/>
            <p:cNvSpPr txBox="1"/>
            <p:nvPr/>
          </p:nvSpPr>
          <p:spPr>
            <a:xfrm>
              <a:off x="770703" y="1378652"/>
              <a:ext cx="22131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1.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65" name="object 165"/>
            <p:cNvSpPr txBox="1"/>
            <p:nvPr/>
          </p:nvSpPr>
          <p:spPr>
            <a:xfrm>
              <a:off x="5750558" y="2902259"/>
              <a:ext cx="22131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03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66" name="object 166"/>
            <p:cNvSpPr txBox="1"/>
            <p:nvPr/>
          </p:nvSpPr>
          <p:spPr>
            <a:xfrm>
              <a:off x="2801339" y="1643841"/>
              <a:ext cx="22131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7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67" name="object 167"/>
            <p:cNvSpPr txBox="1"/>
            <p:nvPr/>
          </p:nvSpPr>
          <p:spPr>
            <a:xfrm>
              <a:off x="5097797" y="2826376"/>
              <a:ext cx="22131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08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68" name="object 168"/>
            <p:cNvSpPr txBox="1"/>
            <p:nvPr/>
          </p:nvSpPr>
          <p:spPr>
            <a:xfrm>
              <a:off x="964172" y="2236058"/>
              <a:ext cx="22131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41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69" name="object 169"/>
            <p:cNvSpPr txBox="1"/>
            <p:nvPr/>
          </p:nvSpPr>
          <p:spPr>
            <a:xfrm>
              <a:off x="1653110" y="1712767"/>
              <a:ext cx="22131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71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70" name="object 170"/>
            <p:cNvSpPr txBox="1"/>
            <p:nvPr/>
          </p:nvSpPr>
          <p:spPr>
            <a:xfrm>
              <a:off x="2112401" y="1893666"/>
              <a:ext cx="22131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61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71" name="object 171"/>
            <p:cNvSpPr txBox="1"/>
            <p:nvPr/>
          </p:nvSpPr>
          <p:spPr>
            <a:xfrm>
              <a:off x="3949568" y="2160662"/>
              <a:ext cx="22131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46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72" name="object 172"/>
            <p:cNvSpPr txBox="1"/>
            <p:nvPr/>
          </p:nvSpPr>
          <p:spPr>
            <a:xfrm>
              <a:off x="3490276" y="2020647"/>
              <a:ext cx="22131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54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73" name="object 173"/>
            <p:cNvSpPr txBox="1"/>
            <p:nvPr/>
          </p:nvSpPr>
          <p:spPr>
            <a:xfrm>
              <a:off x="4638505" y="2690430"/>
              <a:ext cx="22131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15</a:t>
              </a:r>
              <a:endParaRPr sz="838" dirty="0">
                <a:latin typeface="Segoe UI"/>
                <a:cs typeface="Segoe UI"/>
              </a:endParaRPr>
            </a:p>
          </p:txBody>
        </p:sp>
      </p:grpSp>
      <p:sp>
        <p:nvSpPr>
          <p:cNvPr id="317" name="object 317"/>
          <p:cNvSpPr txBox="1"/>
          <p:nvPr/>
        </p:nvSpPr>
        <p:spPr>
          <a:xfrm>
            <a:off x="347732" y="3701936"/>
            <a:ext cx="2395114" cy="482458"/>
          </a:xfrm>
          <a:prstGeom prst="rect">
            <a:avLst/>
          </a:prstGeom>
        </p:spPr>
        <p:txBody>
          <a:bodyPr vert="horz" wrap="square" lIns="0" tIns="97490" rIns="0" bIns="0" rtlCol="0">
            <a:spAutoFit/>
          </a:bodyPr>
          <a:lstStyle/>
          <a:p>
            <a:pPr marL="11206">
              <a:spcBef>
                <a:spcPts val="767"/>
              </a:spcBef>
            </a:pPr>
            <a:r>
              <a:rPr sz="1324" b="1" spc="40" dirty="0">
                <a:solidFill>
                  <a:srgbClr val="252423"/>
                </a:solidFill>
                <a:latin typeface="Arial Narrow"/>
                <a:cs typeface="Arial Narrow"/>
              </a:rPr>
              <a:t>Average </a:t>
            </a:r>
            <a:r>
              <a:rPr sz="1324" b="1" spc="44" dirty="0">
                <a:solidFill>
                  <a:srgbClr val="252423"/>
                </a:solidFill>
                <a:latin typeface="Arial Narrow"/>
                <a:cs typeface="Arial Narrow"/>
              </a:rPr>
              <a:t>Word </a:t>
            </a:r>
            <a:r>
              <a:rPr sz="1324" b="1" spc="40" dirty="0">
                <a:solidFill>
                  <a:srgbClr val="252423"/>
                </a:solidFill>
                <a:latin typeface="Arial Narrow"/>
                <a:cs typeface="Arial Narrow"/>
              </a:rPr>
              <a:t>Count </a:t>
            </a:r>
            <a:r>
              <a:rPr sz="1324" b="1" spc="71" dirty="0">
                <a:solidFill>
                  <a:srgbClr val="252423"/>
                </a:solidFill>
                <a:latin typeface="Arial Narrow"/>
                <a:cs typeface="Arial Narrow"/>
              </a:rPr>
              <a:t>per</a:t>
            </a:r>
            <a:r>
              <a:rPr sz="1324" b="1" spc="-137" dirty="0">
                <a:solidFill>
                  <a:srgbClr val="252423"/>
                </a:solidFill>
                <a:latin typeface="Arial Narrow"/>
                <a:cs typeface="Arial Narrow"/>
              </a:rPr>
              <a:t> </a:t>
            </a:r>
            <a:r>
              <a:rPr sz="1324" b="1" spc="13" dirty="0">
                <a:solidFill>
                  <a:srgbClr val="252423"/>
                </a:solidFill>
                <a:latin typeface="Arial Narrow"/>
                <a:cs typeface="Arial Narrow"/>
              </a:rPr>
              <a:t>Year</a:t>
            </a:r>
            <a:endParaRPr sz="1324" b="1" dirty="0">
              <a:latin typeface="Arial Narrow"/>
              <a:cs typeface="Arial Narrow"/>
            </a:endParaRPr>
          </a:p>
          <a:p>
            <a:pPr marL="213483">
              <a:spcBef>
                <a:spcPts val="449"/>
              </a:spcBef>
            </a:pPr>
            <a:r>
              <a:rPr sz="838" spc="4" dirty="0">
                <a:solidFill>
                  <a:srgbClr val="605D5C"/>
                </a:solidFill>
                <a:latin typeface="Segoe UI"/>
                <a:cs typeface="Segoe UI"/>
              </a:rPr>
              <a:t>250</a:t>
            </a:r>
            <a:endParaRPr sz="838" dirty="0">
              <a:latin typeface="Segoe UI"/>
              <a:cs typeface="Segoe UI"/>
            </a:endParaRPr>
          </a:p>
        </p:txBody>
      </p:sp>
      <p:grpSp>
        <p:nvGrpSpPr>
          <p:cNvPr id="664" name="Group 663">
            <a:extLst>
              <a:ext uri="{FF2B5EF4-FFF2-40B4-BE49-F238E27FC236}">
                <a16:creationId xmlns:a16="http://schemas.microsoft.com/office/drawing/2014/main" id="{C5FD52FC-645B-4EAE-AB49-A7C6C3A1A0B5}"/>
              </a:ext>
            </a:extLst>
          </p:cNvPr>
          <p:cNvGrpSpPr/>
          <p:nvPr/>
        </p:nvGrpSpPr>
        <p:grpSpPr>
          <a:xfrm>
            <a:off x="352545" y="4125660"/>
            <a:ext cx="5475124" cy="2518105"/>
            <a:chOff x="352545" y="4125660"/>
            <a:chExt cx="5475124" cy="2518105"/>
          </a:xfrm>
        </p:grpSpPr>
        <p:sp>
          <p:nvSpPr>
            <p:cNvPr id="174" name="object 174"/>
            <p:cNvSpPr/>
            <p:nvPr/>
          </p:nvSpPr>
          <p:spPr>
            <a:xfrm>
              <a:off x="827387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5" name="object 175"/>
            <p:cNvSpPr/>
            <p:nvPr/>
          </p:nvSpPr>
          <p:spPr>
            <a:xfrm>
              <a:off x="88163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6" name="object 176"/>
            <p:cNvSpPr/>
            <p:nvPr/>
          </p:nvSpPr>
          <p:spPr>
            <a:xfrm>
              <a:off x="935881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7" name="object 177"/>
            <p:cNvSpPr/>
            <p:nvPr/>
          </p:nvSpPr>
          <p:spPr>
            <a:xfrm>
              <a:off x="99012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8" name="object 178"/>
            <p:cNvSpPr/>
            <p:nvPr/>
          </p:nvSpPr>
          <p:spPr>
            <a:xfrm>
              <a:off x="1044376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9" name="object 179"/>
            <p:cNvSpPr/>
            <p:nvPr/>
          </p:nvSpPr>
          <p:spPr>
            <a:xfrm>
              <a:off x="109862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0" name="object 180"/>
            <p:cNvSpPr/>
            <p:nvPr/>
          </p:nvSpPr>
          <p:spPr>
            <a:xfrm>
              <a:off x="1152871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1" name="object 181"/>
            <p:cNvSpPr/>
            <p:nvPr/>
          </p:nvSpPr>
          <p:spPr>
            <a:xfrm>
              <a:off x="120711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2" name="object 182"/>
            <p:cNvSpPr/>
            <p:nvPr/>
          </p:nvSpPr>
          <p:spPr>
            <a:xfrm>
              <a:off x="1261366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3" name="object 183"/>
            <p:cNvSpPr/>
            <p:nvPr/>
          </p:nvSpPr>
          <p:spPr>
            <a:xfrm>
              <a:off x="131561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4" name="object 184"/>
            <p:cNvSpPr/>
            <p:nvPr/>
          </p:nvSpPr>
          <p:spPr>
            <a:xfrm>
              <a:off x="136986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5" name="object 185"/>
            <p:cNvSpPr/>
            <p:nvPr/>
          </p:nvSpPr>
          <p:spPr>
            <a:xfrm>
              <a:off x="142410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6" name="object 186"/>
            <p:cNvSpPr/>
            <p:nvPr/>
          </p:nvSpPr>
          <p:spPr>
            <a:xfrm>
              <a:off x="147835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7" name="object 187"/>
            <p:cNvSpPr/>
            <p:nvPr/>
          </p:nvSpPr>
          <p:spPr>
            <a:xfrm>
              <a:off x="153260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8" name="object 188"/>
            <p:cNvSpPr/>
            <p:nvPr/>
          </p:nvSpPr>
          <p:spPr>
            <a:xfrm>
              <a:off x="158685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9" name="object 189"/>
            <p:cNvSpPr/>
            <p:nvPr/>
          </p:nvSpPr>
          <p:spPr>
            <a:xfrm>
              <a:off x="164109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0" name="object 190"/>
            <p:cNvSpPr/>
            <p:nvPr/>
          </p:nvSpPr>
          <p:spPr>
            <a:xfrm>
              <a:off x="169534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1" name="object 191"/>
            <p:cNvSpPr/>
            <p:nvPr/>
          </p:nvSpPr>
          <p:spPr>
            <a:xfrm>
              <a:off x="174959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2" name="object 192"/>
            <p:cNvSpPr/>
            <p:nvPr/>
          </p:nvSpPr>
          <p:spPr>
            <a:xfrm>
              <a:off x="180384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3" name="object 193"/>
            <p:cNvSpPr/>
            <p:nvPr/>
          </p:nvSpPr>
          <p:spPr>
            <a:xfrm>
              <a:off x="1858087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4" name="object 194"/>
            <p:cNvSpPr/>
            <p:nvPr/>
          </p:nvSpPr>
          <p:spPr>
            <a:xfrm>
              <a:off x="191233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5" name="object 195"/>
            <p:cNvSpPr/>
            <p:nvPr/>
          </p:nvSpPr>
          <p:spPr>
            <a:xfrm>
              <a:off x="1966582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6" name="object 196"/>
            <p:cNvSpPr/>
            <p:nvPr/>
          </p:nvSpPr>
          <p:spPr>
            <a:xfrm>
              <a:off x="202082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7" name="object 197"/>
            <p:cNvSpPr/>
            <p:nvPr/>
          </p:nvSpPr>
          <p:spPr>
            <a:xfrm>
              <a:off x="2075076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8" name="object 198"/>
            <p:cNvSpPr/>
            <p:nvPr/>
          </p:nvSpPr>
          <p:spPr>
            <a:xfrm>
              <a:off x="212932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9" name="object 199"/>
            <p:cNvSpPr/>
            <p:nvPr/>
          </p:nvSpPr>
          <p:spPr>
            <a:xfrm>
              <a:off x="2183571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0" name="object 200"/>
            <p:cNvSpPr/>
            <p:nvPr/>
          </p:nvSpPr>
          <p:spPr>
            <a:xfrm>
              <a:off x="223781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1" name="object 201"/>
            <p:cNvSpPr/>
            <p:nvPr/>
          </p:nvSpPr>
          <p:spPr>
            <a:xfrm>
              <a:off x="2292066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2" name="object 202"/>
            <p:cNvSpPr/>
            <p:nvPr/>
          </p:nvSpPr>
          <p:spPr>
            <a:xfrm>
              <a:off x="234631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3" name="object 203"/>
            <p:cNvSpPr/>
            <p:nvPr/>
          </p:nvSpPr>
          <p:spPr>
            <a:xfrm>
              <a:off x="2400561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4" name="object 204"/>
            <p:cNvSpPr/>
            <p:nvPr/>
          </p:nvSpPr>
          <p:spPr>
            <a:xfrm>
              <a:off x="245480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5" name="object 205"/>
            <p:cNvSpPr/>
            <p:nvPr/>
          </p:nvSpPr>
          <p:spPr>
            <a:xfrm>
              <a:off x="250905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6" name="object 206"/>
            <p:cNvSpPr/>
            <p:nvPr/>
          </p:nvSpPr>
          <p:spPr>
            <a:xfrm>
              <a:off x="256330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7" name="object 207"/>
            <p:cNvSpPr/>
            <p:nvPr/>
          </p:nvSpPr>
          <p:spPr>
            <a:xfrm>
              <a:off x="261755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8" name="object 208"/>
            <p:cNvSpPr/>
            <p:nvPr/>
          </p:nvSpPr>
          <p:spPr>
            <a:xfrm>
              <a:off x="2671797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9" name="object 209"/>
            <p:cNvSpPr/>
            <p:nvPr/>
          </p:nvSpPr>
          <p:spPr>
            <a:xfrm>
              <a:off x="272604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0" name="object 210"/>
            <p:cNvSpPr/>
            <p:nvPr/>
          </p:nvSpPr>
          <p:spPr>
            <a:xfrm>
              <a:off x="2780292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1" name="object 211"/>
            <p:cNvSpPr/>
            <p:nvPr/>
          </p:nvSpPr>
          <p:spPr>
            <a:xfrm>
              <a:off x="283453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2" name="object 212"/>
            <p:cNvSpPr/>
            <p:nvPr/>
          </p:nvSpPr>
          <p:spPr>
            <a:xfrm>
              <a:off x="2888787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3" name="object 213"/>
            <p:cNvSpPr/>
            <p:nvPr/>
          </p:nvSpPr>
          <p:spPr>
            <a:xfrm>
              <a:off x="294303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4" name="object 214"/>
            <p:cNvSpPr/>
            <p:nvPr/>
          </p:nvSpPr>
          <p:spPr>
            <a:xfrm>
              <a:off x="2997281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5" name="object 215"/>
            <p:cNvSpPr/>
            <p:nvPr/>
          </p:nvSpPr>
          <p:spPr>
            <a:xfrm>
              <a:off x="305152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6" name="object 216"/>
            <p:cNvSpPr/>
            <p:nvPr/>
          </p:nvSpPr>
          <p:spPr>
            <a:xfrm>
              <a:off x="3105776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7" name="object 217"/>
            <p:cNvSpPr/>
            <p:nvPr/>
          </p:nvSpPr>
          <p:spPr>
            <a:xfrm>
              <a:off x="316002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8" name="object 218"/>
            <p:cNvSpPr/>
            <p:nvPr/>
          </p:nvSpPr>
          <p:spPr>
            <a:xfrm>
              <a:off x="3214271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9" name="object 219"/>
            <p:cNvSpPr/>
            <p:nvPr/>
          </p:nvSpPr>
          <p:spPr>
            <a:xfrm>
              <a:off x="326851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0" name="object 220"/>
            <p:cNvSpPr/>
            <p:nvPr/>
          </p:nvSpPr>
          <p:spPr>
            <a:xfrm>
              <a:off x="332276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1" name="object 221"/>
            <p:cNvSpPr/>
            <p:nvPr/>
          </p:nvSpPr>
          <p:spPr>
            <a:xfrm>
              <a:off x="337701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2" name="object 222"/>
            <p:cNvSpPr/>
            <p:nvPr/>
          </p:nvSpPr>
          <p:spPr>
            <a:xfrm>
              <a:off x="343126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3" name="object 223"/>
            <p:cNvSpPr/>
            <p:nvPr/>
          </p:nvSpPr>
          <p:spPr>
            <a:xfrm>
              <a:off x="3485507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4" name="object 224"/>
            <p:cNvSpPr/>
            <p:nvPr/>
          </p:nvSpPr>
          <p:spPr>
            <a:xfrm>
              <a:off x="353975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5" name="object 225"/>
            <p:cNvSpPr/>
            <p:nvPr/>
          </p:nvSpPr>
          <p:spPr>
            <a:xfrm>
              <a:off x="3594002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6" name="object 226"/>
            <p:cNvSpPr/>
            <p:nvPr/>
          </p:nvSpPr>
          <p:spPr>
            <a:xfrm>
              <a:off x="364824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7" name="object 227"/>
            <p:cNvSpPr/>
            <p:nvPr/>
          </p:nvSpPr>
          <p:spPr>
            <a:xfrm>
              <a:off x="3702497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8" name="object 228"/>
            <p:cNvSpPr/>
            <p:nvPr/>
          </p:nvSpPr>
          <p:spPr>
            <a:xfrm>
              <a:off x="375674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9" name="object 229"/>
            <p:cNvSpPr/>
            <p:nvPr/>
          </p:nvSpPr>
          <p:spPr>
            <a:xfrm>
              <a:off x="3810991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0" name="object 230"/>
            <p:cNvSpPr/>
            <p:nvPr/>
          </p:nvSpPr>
          <p:spPr>
            <a:xfrm>
              <a:off x="386523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1" name="object 231"/>
            <p:cNvSpPr/>
            <p:nvPr/>
          </p:nvSpPr>
          <p:spPr>
            <a:xfrm>
              <a:off x="3919486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2" name="object 232"/>
            <p:cNvSpPr/>
            <p:nvPr/>
          </p:nvSpPr>
          <p:spPr>
            <a:xfrm>
              <a:off x="397373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3" name="object 233"/>
            <p:cNvSpPr/>
            <p:nvPr/>
          </p:nvSpPr>
          <p:spPr>
            <a:xfrm>
              <a:off x="4027981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4" name="object 234"/>
            <p:cNvSpPr/>
            <p:nvPr/>
          </p:nvSpPr>
          <p:spPr>
            <a:xfrm>
              <a:off x="408222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5" name="object 235"/>
            <p:cNvSpPr/>
            <p:nvPr/>
          </p:nvSpPr>
          <p:spPr>
            <a:xfrm>
              <a:off x="413647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6" name="object 236"/>
            <p:cNvSpPr/>
            <p:nvPr/>
          </p:nvSpPr>
          <p:spPr>
            <a:xfrm>
              <a:off x="419072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7" name="object 237"/>
            <p:cNvSpPr/>
            <p:nvPr/>
          </p:nvSpPr>
          <p:spPr>
            <a:xfrm>
              <a:off x="424497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8" name="object 238"/>
            <p:cNvSpPr/>
            <p:nvPr/>
          </p:nvSpPr>
          <p:spPr>
            <a:xfrm>
              <a:off x="429921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9" name="object 239"/>
            <p:cNvSpPr/>
            <p:nvPr/>
          </p:nvSpPr>
          <p:spPr>
            <a:xfrm>
              <a:off x="435346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0" name="object 240"/>
            <p:cNvSpPr/>
            <p:nvPr/>
          </p:nvSpPr>
          <p:spPr>
            <a:xfrm>
              <a:off x="440771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1" name="object 241"/>
            <p:cNvSpPr/>
            <p:nvPr/>
          </p:nvSpPr>
          <p:spPr>
            <a:xfrm>
              <a:off x="446196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2" name="object 242"/>
            <p:cNvSpPr/>
            <p:nvPr/>
          </p:nvSpPr>
          <p:spPr>
            <a:xfrm>
              <a:off x="451620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3" name="object 243"/>
            <p:cNvSpPr/>
            <p:nvPr/>
          </p:nvSpPr>
          <p:spPr>
            <a:xfrm>
              <a:off x="457045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4" name="object 244"/>
            <p:cNvSpPr/>
            <p:nvPr/>
          </p:nvSpPr>
          <p:spPr>
            <a:xfrm>
              <a:off x="4624702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5" name="object 245"/>
            <p:cNvSpPr/>
            <p:nvPr/>
          </p:nvSpPr>
          <p:spPr>
            <a:xfrm>
              <a:off x="467895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6" name="object 246"/>
            <p:cNvSpPr/>
            <p:nvPr/>
          </p:nvSpPr>
          <p:spPr>
            <a:xfrm>
              <a:off x="4733197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7" name="object 247"/>
            <p:cNvSpPr/>
            <p:nvPr/>
          </p:nvSpPr>
          <p:spPr>
            <a:xfrm>
              <a:off x="478744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8" name="object 248"/>
            <p:cNvSpPr/>
            <p:nvPr/>
          </p:nvSpPr>
          <p:spPr>
            <a:xfrm>
              <a:off x="4841692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9" name="object 249"/>
            <p:cNvSpPr/>
            <p:nvPr/>
          </p:nvSpPr>
          <p:spPr>
            <a:xfrm>
              <a:off x="489593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0" name="object 250"/>
            <p:cNvSpPr/>
            <p:nvPr/>
          </p:nvSpPr>
          <p:spPr>
            <a:xfrm>
              <a:off x="4950187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1" name="object 251"/>
            <p:cNvSpPr/>
            <p:nvPr/>
          </p:nvSpPr>
          <p:spPr>
            <a:xfrm>
              <a:off x="500443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2" name="object 252"/>
            <p:cNvSpPr/>
            <p:nvPr/>
          </p:nvSpPr>
          <p:spPr>
            <a:xfrm>
              <a:off x="5058681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3" name="object 253"/>
            <p:cNvSpPr/>
            <p:nvPr/>
          </p:nvSpPr>
          <p:spPr>
            <a:xfrm>
              <a:off x="511292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4" name="object 254"/>
            <p:cNvSpPr/>
            <p:nvPr/>
          </p:nvSpPr>
          <p:spPr>
            <a:xfrm>
              <a:off x="5167176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5" name="object 255"/>
            <p:cNvSpPr/>
            <p:nvPr/>
          </p:nvSpPr>
          <p:spPr>
            <a:xfrm>
              <a:off x="522142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6" name="object 256"/>
            <p:cNvSpPr/>
            <p:nvPr/>
          </p:nvSpPr>
          <p:spPr>
            <a:xfrm>
              <a:off x="5275671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7" name="object 257"/>
            <p:cNvSpPr/>
            <p:nvPr/>
          </p:nvSpPr>
          <p:spPr>
            <a:xfrm>
              <a:off x="532991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8" name="object 258"/>
            <p:cNvSpPr/>
            <p:nvPr/>
          </p:nvSpPr>
          <p:spPr>
            <a:xfrm>
              <a:off x="538416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9" name="object 259"/>
            <p:cNvSpPr/>
            <p:nvPr/>
          </p:nvSpPr>
          <p:spPr>
            <a:xfrm>
              <a:off x="5438412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0" name="object 260"/>
            <p:cNvSpPr/>
            <p:nvPr/>
          </p:nvSpPr>
          <p:spPr>
            <a:xfrm>
              <a:off x="549266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1" name="object 261"/>
            <p:cNvSpPr/>
            <p:nvPr/>
          </p:nvSpPr>
          <p:spPr>
            <a:xfrm>
              <a:off x="5546907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2" name="object 262"/>
            <p:cNvSpPr/>
            <p:nvPr/>
          </p:nvSpPr>
          <p:spPr>
            <a:xfrm>
              <a:off x="560115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3" name="object 263"/>
            <p:cNvSpPr/>
            <p:nvPr/>
          </p:nvSpPr>
          <p:spPr>
            <a:xfrm>
              <a:off x="5655402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4" name="object 264"/>
            <p:cNvSpPr/>
            <p:nvPr/>
          </p:nvSpPr>
          <p:spPr>
            <a:xfrm>
              <a:off x="570964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5" name="object 265"/>
            <p:cNvSpPr/>
            <p:nvPr/>
          </p:nvSpPr>
          <p:spPr>
            <a:xfrm>
              <a:off x="5763896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6" name="object 266"/>
            <p:cNvSpPr/>
            <p:nvPr/>
          </p:nvSpPr>
          <p:spPr>
            <a:xfrm>
              <a:off x="581814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7" name="object 267"/>
            <p:cNvSpPr txBox="1"/>
            <p:nvPr/>
          </p:nvSpPr>
          <p:spPr>
            <a:xfrm>
              <a:off x="667283" y="6197021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68" name="object 268"/>
            <p:cNvSpPr/>
            <p:nvPr/>
          </p:nvSpPr>
          <p:spPr>
            <a:xfrm>
              <a:off x="827387" y="584710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269" name="object 269"/>
            <p:cNvGrpSpPr/>
            <p:nvPr/>
          </p:nvGrpSpPr>
          <p:grpSpPr>
            <a:xfrm>
              <a:off x="881634" y="4245519"/>
              <a:ext cx="4891368" cy="1730188"/>
              <a:chOff x="643585" y="4811588"/>
              <a:chExt cx="5543550" cy="1960880"/>
            </a:xfrm>
          </p:grpSpPr>
          <p:sp>
            <p:nvSpPr>
              <p:cNvPr id="270" name="object 270"/>
              <p:cNvSpPr/>
              <p:nvPr/>
            </p:nvSpPr>
            <p:spPr>
              <a:xfrm>
                <a:off x="643585" y="6626720"/>
                <a:ext cx="431419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4314190" h="10795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48"/>
                    </a:lnTo>
                    <a:lnTo>
                      <a:pt x="10236" y="10248"/>
                    </a:lnTo>
                    <a:lnTo>
                      <a:pt x="10236" y="0"/>
                    </a:lnTo>
                    <a:close/>
                  </a:path>
                  <a:path w="4314190" h="10795">
                    <a:moveTo>
                      <a:pt x="71716" y="0"/>
                    </a:moveTo>
                    <a:lnTo>
                      <a:pt x="61480" y="0"/>
                    </a:lnTo>
                    <a:lnTo>
                      <a:pt x="61480" y="10248"/>
                    </a:lnTo>
                    <a:lnTo>
                      <a:pt x="71716" y="10248"/>
                    </a:lnTo>
                    <a:lnTo>
                      <a:pt x="71716" y="0"/>
                    </a:lnTo>
                    <a:close/>
                  </a:path>
                  <a:path w="4314190" h="10795">
                    <a:moveTo>
                      <a:pt x="133197" y="0"/>
                    </a:moveTo>
                    <a:lnTo>
                      <a:pt x="122948" y="0"/>
                    </a:lnTo>
                    <a:lnTo>
                      <a:pt x="122948" y="10248"/>
                    </a:lnTo>
                    <a:lnTo>
                      <a:pt x="133197" y="10248"/>
                    </a:lnTo>
                    <a:lnTo>
                      <a:pt x="133197" y="0"/>
                    </a:lnTo>
                    <a:close/>
                  </a:path>
                  <a:path w="4314190" h="10795">
                    <a:moveTo>
                      <a:pt x="194678" y="0"/>
                    </a:moveTo>
                    <a:lnTo>
                      <a:pt x="184429" y="0"/>
                    </a:lnTo>
                    <a:lnTo>
                      <a:pt x="184429" y="10248"/>
                    </a:lnTo>
                    <a:lnTo>
                      <a:pt x="194678" y="10248"/>
                    </a:lnTo>
                    <a:lnTo>
                      <a:pt x="194678" y="0"/>
                    </a:lnTo>
                    <a:close/>
                  </a:path>
                  <a:path w="4314190" h="10795">
                    <a:moveTo>
                      <a:pt x="256159" y="0"/>
                    </a:moveTo>
                    <a:lnTo>
                      <a:pt x="245910" y="0"/>
                    </a:lnTo>
                    <a:lnTo>
                      <a:pt x="245910" y="10248"/>
                    </a:lnTo>
                    <a:lnTo>
                      <a:pt x="256159" y="10248"/>
                    </a:lnTo>
                    <a:lnTo>
                      <a:pt x="256159" y="0"/>
                    </a:lnTo>
                    <a:close/>
                  </a:path>
                  <a:path w="4314190" h="10795">
                    <a:moveTo>
                      <a:pt x="317639" y="0"/>
                    </a:moveTo>
                    <a:lnTo>
                      <a:pt x="307390" y="0"/>
                    </a:lnTo>
                    <a:lnTo>
                      <a:pt x="307390" y="10248"/>
                    </a:lnTo>
                    <a:lnTo>
                      <a:pt x="317639" y="10248"/>
                    </a:lnTo>
                    <a:lnTo>
                      <a:pt x="317639" y="0"/>
                    </a:lnTo>
                    <a:close/>
                  </a:path>
                  <a:path w="4314190" h="10795">
                    <a:moveTo>
                      <a:pt x="379120" y="0"/>
                    </a:moveTo>
                    <a:lnTo>
                      <a:pt x="368871" y="0"/>
                    </a:lnTo>
                    <a:lnTo>
                      <a:pt x="368871" y="10248"/>
                    </a:lnTo>
                    <a:lnTo>
                      <a:pt x="379120" y="10248"/>
                    </a:lnTo>
                    <a:lnTo>
                      <a:pt x="379120" y="0"/>
                    </a:lnTo>
                    <a:close/>
                  </a:path>
                  <a:path w="4314190" h="10795">
                    <a:moveTo>
                      <a:pt x="440601" y="0"/>
                    </a:moveTo>
                    <a:lnTo>
                      <a:pt x="430352" y="0"/>
                    </a:lnTo>
                    <a:lnTo>
                      <a:pt x="430352" y="10248"/>
                    </a:lnTo>
                    <a:lnTo>
                      <a:pt x="440601" y="10248"/>
                    </a:lnTo>
                    <a:lnTo>
                      <a:pt x="440601" y="0"/>
                    </a:lnTo>
                    <a:close/>
                  </a:path>
                  <a:path w="4314190" h="10795">
                    <a:moveTo>
                      <a:pt x="502081" y="0"/>
                    </a:moveTo>
                    <a:lnTo>
                      <a:pt x="491832" y="0"/>
                    </a:lnTo>
                    <a:lnTo>
                      <a:pt x="491832" y="10248"/>
                    </a:lnTo>
                    <a:lnTo>
                      <a:pt x="502081" y="10248"/>
                    </a:lnTo>
                    <a:lnTo>
                      <a:pt x="502081" y="0"/>
                    </a:lnTo>
                    <a:close/>
                  </a:path>
                  <a:path w="4314190" h="10795">
                    <a:moveTo>
                      <a:pt x="563562" y="0"/>
                    </a:moveTo>
                    <a:lnTo>
                      <a:pt x="553313" y="0"/>
                    </a:lnTo>
                    <a:lnTo>
                      <a:pt x="553313" y="10248"/>
                    </a:lnTo>
                    <a:lnTo>
                      <a:pt x="563562" y="10248"/>
                    </a:lnTo>
                    <a:lnTo>
                      <a:pt x="563562" y="0"/>
                    </a:lnTo>
                    <a:close/>
                  </a:path>
                  <a:path w="4314190" h="10795">
                    <a:moveTo>
                      <a:pt x="625043" y="0"/>
                    </a:moveTo>
                    <a:lnTo>
                      <a:pt x="614794" y="0"/>
                    </a:lnTo>
                    <a:lnTo>
                      <a:pt x="614794" y="10248"/>
                    </a:lnTo>
                    <a:lnTo>
                      <a:pt x="625043" y="10248"/>
                    </a:lnTo>
                    <a:lnTo>
                      <a:pt x="625043" y="0"/>
                    </a:lnTo>
                    <a:close/>
                  </a:path>
                  <a:path w="4314190" h="10795">
                    <a:moveTo>
                      <a:pt x="686523" y="0"/>
                    </a:moveTo>
                    <a:lnTo>
                      <a:pt x="676275" y="0"/>
                    </a:lnTo>
                    <a:lnTo>
                      <a:pt x="676275" y="10248"/>
                    </a:lnTo>
                    <a:lnTo>
                      <a:pt x="686523" y="10248"/>
                    </a:lnTo>
                    <a:lnTo>
                      <a:pt x="686523" y="0"/>
                    </a:lnTo>
                    <a:close/>
                  </a:path>
                  <a:path w="4314190" h="10795">
                    <a:moveTo>
                      <a:pt x="748004" y="0"/>
                    </a:moveTo>
                    <a:lnTo>
                      <a:pt x="737755" y="0"/>
                    </a:lnTo>
                    <a:lnTo>
                      <a:pt x="737755" y="10248"/>
                    </a:lnTo>
                    <a:lnTo>
                      <a:pt x="748004" y="10248"/>
                    </a:lnTo>
                    <a:lnTo>
                      <a:pt x="748004" y="0"/>
                    </a:lnTo>
                    <a:close/>
                  </a:path>
                  <a:path w="4314190" h="10795">
                    <a:moveTo>
                      <a:pt x="809485" y="0"/>
                    </a:moveTo>
                    <a:lnTo>
                      <a:pt x="799236" y="0"/>
                    </a:lnTo>
                    <a:lnTo>
                      <a:pt x="799236" y="10248"/>
                    </a:lnTo>
                    <a:lnTo>
                      <a:pt x="809485" y="10248"/>
                    </a:lnTo>
                    <a:lnTo>
                      <a:pt x="809485" y="0"/>
                    </a:lnTo>
                    <a:close/>
                  </a:path>
                  <a:path w="4314190" h="10795">
                    <a:moveTo>
                      <a:pt x="870966" y="0"/>
                    </a:moveTo>
                    <a:lnTo>
                      <a:pt x="860717" y="0"/>
                    </a:lnTo>
                    <a:lnTo>
                      <a:pt x="860717" y="10248"/>
                    </a:lnTo>
                    <a:lnTo>
                      <a:pt x="870966" y="10248"/>
                    </a:lnTo>
                    <a:lnTo>
                      <a:pt x="870966" y="0"/>
                    </a:lnTo>
                    <a:close/>
                  </a:path>
                  <a:path w="4314190" h="10795">
                    <a:moveTo>
                      <a:pt x="932446" y="0"/>
                    </a:moveTo>
                    <a:lnTo>
                      <a:pt x="922197" y="0"/>
                    </a:lnTo>
                    <a:lnTo>
                      <a:pt x="922197" y="10248"/>
                    </a:lnTo>
                    <a:lnTo>
                      <a:pt x="932446" y="10248"/>
                    </a:lnTo>
                    <a:lnTo>
                      <a:pt x="932446" y="0"/>
                    </a:lnTo>
                    <a:close/>
                  </a:path>
                  <a:path w="4314190" h="10795">
                    <a:moveTo>
                      <a:pt x="993927" y="0"/>
                    </a:moveTo>
                    <a:lnTo>
                      <a:pt x="983678" y="0"/>
                    </a:lnTo>
                    <a:lnTo>
                      <a:pt x="983678" y="10248"/>
                    </a:lnTo>
                    <a:lnTo>
                      <a:pt x="993927" y="10248"/>
                    </a:lnTo>
                    <a:lnTo>
                      <a:pt x="993927" y="0"/>
                    </a:lnTo>
                    <a:close/>
                  </a:path>
                  <a:path w="4314190" h="10795">
                    <a:moveTo>
                      <a:pt x="1055408" y="0"/>
                    </a:moveTo>
                    <a:lnTo>
                      <a:pt x="1045159" y="0"/>
                    </a:lnTo>
                    <a:lnTo>
                      <a:pt x="1045159" y="10248"/>
                    </a:lnTo>
                    <a:lnTo>
                      <a:pt x="1055408" y="10248"/>
                    </a:lnTo>
                    <a:lnTo>
                      <a:pt x="1055408" y="0"/>
                    </a:lnTo>
                    <a:close/>
                  </a:path>
                  <a:path w="4314190" h="10795">
                    <a:moveTo>
                      <a:pt x="1116888" y="0"/>
                    </a:moveTo>
                    <a:lnTo>
                      <a:pt x="1106639" y="0"/>
                    </a:lnTo>
                    <a:lnTo>
                      <a:pt x="1106639" y="10248"/>
                    </a:lnTo>
                    <a:lnTo>
                      <a:pt x="1116888" y="10248"/>
                    </a:lnTo>
                    <a:lnTo>
                      <a:pt x="1116888" y="0"/>
                    </a:lnTo>
                    <a:close/>
                  </a:path>
                  <a:path w="4314190" h="10795">
                    <a:moveTo>
                      <a:pt x="1178369" y="0"/>
                    </a:moveTo>
                    <a:lnTo>
                      <a:pt x="1168120" y="0"/>
                    </a:lnTo>
                    <a:lnTo>
                      <a:pt x="1168120" y="10248"/>
                    </a:lnTo>
                    <a:lnTo>
                      <a:pt x="1178369" y="10248"/>
                    </a:lnTo>
                    <a:lnTo>
                      <a:pt x="1178369" y="0"/>
                    </a:lnTo>
                    <a:close/>
                  </a:path>
                  <a:path w="4314190" h="10795">
                    <a:moveTo>
                      <a:pt x="1239850" y="0"/>
                    </a:moveTo>
                    <a:lnTo>
                      <a:pt x="1229601" y="0"/>
                    </a:lnTo>
                    <a:lnTo>
                      <a:pt x="1229601" y="10248"/>
                    </a:lnTo>
                    <a:lnTo>
                      <a:pt x="1239850" y="10248"/>
                    </a:lnTo>
                    <a:lnTo>
                      <a:pt x="1239850" y="0"/>
                    </a:lnTo>
                    <a:close/>
                  </a:path>
                  <a:path w="4314190" h="10795">
                    <a:moveTo>
                      <a:pt x="1301330" y="0"/>
                    </a:moveTo>
                    <a:lnTo>
                      <a:pt x="1291082" y="0"/>
                    </a:lnTo>
                    <a:lnTo>
                      <a:pt x="1291082" y="10248"/>
                    </a:lnTo>
                    <a:lnTo>
                      <a:pt x="1301330" y="10248"/>
                    </a:lnTo>
                    <a:lnTo>
                      <a:pt x="1301330" y="0"/>
                    </a:lnTo>
                    <a:close/>
                  </a:path>
                  <a:path w="4314190" h="10795">
                    <a:moveTo>
                      <a:pt x="1362811" y="0"/>
                    </a:moveTo>
                    <a:lnTo>
                      <a:pt x="1352562" y="0"/>
                    </a:lnTo>
                    <a:lnTo>
                      <a:pt x="1352562" y="10248"/>
                    </a:lnTo>
                    <a:lnTo>
                      <a:pt x="1362811" y="10248"/>
                    </a:lnTo>
                    <a:lnTo>
                      <a:pt x="1362811" y="0"/>
                    </a:lnTo>
                    <a:close/>
                  </a:path>
                  <a:path w="4314190" h="10795">
                    <a:moveTo>
                      <a:pt x="1424292" y="0"/>
                    </a:moveTo>
                    <a:lnTo>
                      <a:pt x="1414043" y="0"/>
                    </a:lnTo>
                    <a:lnTo>
                      <a:pt x="1414043" y="10248"/>
                    </a:lnTo>
                    <a:lnTo>
                      <a:pt x="1424292" y="10248"/>
                    </a:lnTo>
                    <a:lnTo>
                      <a:pt x="1424292" y="0"/>
                    </a:lnTo>
                    <a:close/>
                  </a:path>
                  <a:path w="4314190" h="10795">
                    <a:moveTo>
                      <a:pt x="1485773" y="0"/>
                    </a:moveTo>
                    <a:lnTo>
                      <a:pt x="1475524" y="0"/>
                    </a:lnTo>
                    <a:lnTo>
                      <a:pt x="1475524" y="10248"/>
                    </a:lnTo>
                    <a:lnTo>
                      <a:pt x="1485773" y="10248"/>
                    </a:lnTo>
                    <a:lnTo>
                      <a:pt x="1485773" y="0"/>
                    </a:lnTo>
                    <a:close/>
                  </a:path>
                  <a:path w="4314190" h="10795">
                    <a:moveTo>
                      <a:pt x="1547253" y="0"/>
                    </a:moveTo>
                    <a:lnTo>
                      <a:pt x="1537004" y="0"/>
                    </a:lnTo>
                    <a:lnTo>
                      <a:pt x="1537004" y="10248"/>
                    </a:lnTo>
                    <a:lnTo>
                      <a:pt x="1547253" y="10248"/>
                    </a:lnTo>
                    <a:lnTo>
                      <a:pt x="1547253" y="0"/>
                    </a:lnTo>
                    <a:close/>
                  </a:path>
                  <a:path w="4314190" h="10795">
                    <a:moveTo>
                      <a:pt x="1608734" y="0"/>
                    </a:moveTo>
                    <a:lnTo>
                      <a:pt x="1598485" y="0"/>
                    </a:lnTo>
                    <a:lnTo>
                      <a:pt x="1598485" y="10248"/>
                    </a:lnTo>
                    <a:lnTo>
                      <a:pt x="1608734" y="10248"/>
                    </a:lnTo>
                    <a:lnTo>
                      <a:pt x="1608734" y="0"/>
                    </a:lnTo>
                    <a:close/>
                  </a:path>
                  <a:path w="4314190" h="10795">
                    <a:moveTo>
                      <a:pt x="1670215" y="0"/>
                    </a:moveTo>
                    <a:lnTo>
                      <a:pt x="1659966" y="0"/>
                    </a:lnTo>
                    <a:lnTo>
                      <a:pt x="1659966" y="10248"/>
                    </a:lnTo>
                    <a:lnTo>
                      <a:pt x="1670215" y="10248"/>
                    </a:lnTo>
                    <a:lnTo>
                      <a:pt x="1670215" y="0"/>
                    </a:lnTo>
                    <a:close/>
                  </a:path>
                  <a:path w="4314190" h="10795">
                    <a:moveTo>
                      <a:pt x="1731695" y="0"/>
                    </a:moveTo>
                    <a:lnTo>
                      <a:pt x="1721446" y="0"/>
                    </a:lnTo>
                    <a:lnTo>
                      <a:pt x="1721446" y="10248"/>
                    </a:lnTo>
                    <a:lnTo>
                      <a:pt x="1731695" y="10248"/>
                    </a:lnTo>
                    <a:lnTo>
                      <a:pt x="1731695" y="0"/>
                    </a:lnTo>
                    <a:close/>
                  </a:path>
                  <a:path w="4314190" h="10795">
                    <a:moveTo>
                      <a:pt x="1793176" y="0"/>
                    </a:moveTo>
                    <a:lnTo>
                      <a:pt x="1782927" y="0"/>
                    </a:lnTo>
                    <a:lnTo>
                      <a:pt x="1782927" y="10248"/>
                    </a:lnTo>
                    <a:lnTo>
                      <a:pt x="1793176" y="10248"/>
                    </a:lnTo>
                    <a:lnTo>
                      <a:pt x="1793176" y="0"/>
                    </a:lnTo>
                    <a:close/>
                  </a:path>
                  <a:path w="4314190" h="10795">
                    <a:moveTo>
                      <a:pt x="1854657" y="0"/>
                    </a:moveTo>
                    <a:lnTo>
                      <a:pt x="1844408" y="0"/>
                    </a:lnTo>
                    <a:lnTo>
                      <a:pt x="1844408" y="10248"/>
                    </a:lnTo>
                    <a:lnTo>
                      <a:pt x="1854657" y="10248"/>
                    </a:lnTo>
                    <a:lnTo>
                      <a:pt x="1854657" y="0"/>
                    </a:lnTo>
                    <a:close/>
                  </a:path>
                  <a:path w="4314190" h="10795">
                    <a:moveTo>
                      <a:pt x="1916125" y="0"/>
                    </a:moveTo>
                    <a:lnTo>
                      <a:pt x="1905889" y="0"/>
                    </a:lnTo>
                    <a:lnTo>
                      <a:pt x="1905889" y="10248"/>
                    </a:lnTo>
                    <a:lnTo>
                      <a:pt x="1916125" y="10248"/>
                    </a:lnTo>
                    <a:lnTo>
                      <a:pt x="1916125" y="0"/>
                    </a:lnTo>
                    <a:close/>
                  </a:path>
                  <a:path w="4314190" h="10795">
                    <a:moveTo>
                      <a:pt x="1977605" y="0"/>
                    </a:moveTo>
                    <a:lnTo>
                      <a:pt x="1967369" y="0"/>
                    </a:lnTo>
                    <a:lnTo>
                      <a:pt x="1967369" y="10248"/>
                    </a:lnTo>
                    <a:lnTo>
                      <a:pt x="1977605" y="10248"/>
                    </a:lnTo>
                    <a:lnTo>
                      <a:pt x="1977605" y="0"/>
                    </a:lnTo>
                    <a:close/>
                  </a:path>
                  <a:path w="4314190" h="10795">
                    <a:moveTo>
                      <a:pt x="2039086" y="0"/>
                    </a:moveTo>
                    <a:lnTo>
                      <a:pt x="2028850" y="0"/>
                    </a:lnTo>
                    <a:lnTo>
                      <a:pt x="2028850" y="10248"/>
                    </a:lnTo>
                    <a:lnTo>
                      <a:pt x="2039086" y="10248"/>
                    </a:lnTo>
                    <a:lnTo>
                      <a:pt x="2039086" y="0"/>
                    </a:lnTo>
                    <a:close/>
                  </a:path>
                  <a:path w="4314190" h="10795">
                    <a:moveTo>
                      <a:pt x="2100567" y="0"/>
                    </a:moveTo>
                    <a:lnTo>
                      <a:pt x="2090331" y="0"/>
                    </a:lnTo>
                    <a:lnTo>
                      <a:pt x="2090331" y="10248"/>
                    </a:lnTo>
                    <a:lnTo>
                      <a:pt x="2100567" y="10248"/>
                    </a:lnTo>
                    <a:lnTo>
                      <a:pt x="2100567" y="0"/>
                    </a:lnTo>
                    <a:close/>
                  </a:path>
                  <a:path w="4314190" h="10795">
                    <a:moveTo>
                      <a:pt x="2162048" y="0"/>
                    </a:moveTo>
                    <a:lnTo>
                      <a:pt x="2151811" y="0"/>
                    </a:lnTo>
                    <a:lnTo>
                      <a:pt x="2151811" y="10248"/>
                    </a:lnTo>
                    <a:lnTo>
                      <a:pt x="2162048" y="10248"/>
                    </a:lnTo>
                    <a:lnTo>
                      <a:pt x="2162048" y="0"/>
                    </a:lnTo>
                    <a:close/>
                  </a:path>
                  <a:path w="4314190" h="10795">
                    <a:moveTo>
                      <a:pt x="2223528" y="0"/>
                    </a:moveTo>
                    <a:lnTo>
                      <a:pt x="2213292" y="0"/>
                    </a:lnTo>
                    <a:lnTo>
                      <a:pt x="2213292" y="10248"/>
                    </a:lnTo>
                    <a:lnTo>
                      <a:pt x="2223528" y="10248"/>
                    </a:lnTo>
                    <a:lnTo>
                      <a:pt x="2223528" y="0"/>
                    </a:lnTo>
                    <a:close/>
                  </a:path>
                  <a:path w="4314190" h="10795">
                    <a:moveTo>
                      <a:pt x="2285009" y="0"/>
                    </a:moveTo>
                    <a:lnTo>
                      <a:pt x="2274760" y="0"/>
                    </a:lnTo>
                    <a:lnTo>
                      <a:pt x="2274760" y="10248"/>
                    </a:lnTo>
                    <a:lnTo>
                      <a:pt x="2285009" y="10248"/>
                    </a:lnTo>
                    <a:lnTo>
                      <a:pt x="2285009" y="0"/>
                    </a:lnTo>
                    <a:close/>
                  </a:path>
                  <a:path w="4314190" h="10795">
                    <a:moveTo>
                      <a:pt x="2346490" y="0"/>
                    </a:moveTo>
                    <a:lnTo>
                      <a:pt x="2336241" y="0"/>
                    </a:lnTo>
                    <a:lnTo>
                      <a:pt x="2336241" y="10248"/>
                    </a:lnTo>
                    <a:lnTo>
                      <a:pt x="2346490" y="10248"/>
                    </a:lnTo>
                    <a:lnTo>
                      <a:pt x="2346490" y="0"/>
                    </a:lnTo>
                    <a:close/>
                  </a:path>
                  <a:path w="4314190" h="10795">
                    <a:moveTo>
                      <a:pt x="2407970" y="0"/>
                    </a:moveTo>
                    <a:lnTo>
                      <a:pt x="2397722" y="0"/>
                    </a:lnTo>
                    <a:lnTo>
                      <a:pt x="2397722" y="10248"/>
                    </a:lnTo>
                    <a:lnTo>
                      <a:pt x="2407970" y="10248"/>
                    </a:lnTo>
                    <a:lnTo>
                      <a:pt x="2407970" y="0"/>
                    </a:lnTo>
                    <a:close/>
                  </a:path>
                  <a:path w="4314190" h="10795">
                    <a:moveTo>
                      <a:pt x="2469451" y="0"/>
                    </a:moveTo>
                    <a:lnTo>
                      <a:pt x="2459202" y="0"/>
                    </a:lnTo>
                    <a:lnTo>
                      <a:pt x="2459202" y="10248"/>
                    </a:lnTo>
                    <a:lnTo>
                      <a:pt x="2469451" y="10248"/>
                    </a:lnTo>
                    <a:lnTo>
                      <a:pt x="2469451" y="0"/>
                    </a:lnTo>
                    <a:close/>
                  </a:path>
                  <a:path w="4314190" h="10795">
                    <a:moveTo>
                      <a:pt x="2530932" y="0"/>
                    </a:moveTo>
                    <a:lnTo>
                      <a:pt x="2520683" y="0"/>
                    </a:lnTo>
                    <a:lnTo>
                      <a:pt x="2520683" y="10248"/>
                    </a:lnTo>
                    <a:lnTo>
                      <a:pt x="2530932" y="10248"/>
                    </a:lnTo>
                    <a:lnTo>
                      <a:pt x="2530932" y="0"/>
                    </a:lnTo>
                    <a:close/>
                  </a:path>
                  <a:path w="4314190" h="10795">
                    <a:moveTo>
                      <a:pt x="2592413" y="0"/>
                    </a:moveTo>
                    <a:lnTo>
                      <a:pt x="2582164" y="0"/>
                    </a:lnTo>
                    <a:lnTo>
                      <a:pt x="2582164" y="10248"/>
                    </a:lnTo>
                    <a:lnTo>
                      <a:pt x="2592413" y="10248"/>
                    </a:lnTo>
                    <a:lnTo>
                      <a:pt x="2592413" y="0"/>
                    </a:lnTo>
                    <a:close/>
                  </a:path>
                  <a:path w="4314190" h="10795">
                    <a:moveTo>
                      <a:pt x="2653893" y="0"/>
                    </a:moveTo>
                    <a:lnTo>
                      <a:pt x="2643644" y="0"/>
                    </a:lnTo>
                    <a:lnTo>
                      <a:pt x="2643644" y="10248"/>
                    </a:lnTo>
                    <a:lnTo>
                      <a:pt x="2653893" y="10248"/>
                    </a:lnTo>
                    <a:lnTo>
                      <a:pt x="2653893" y="0"/>
                    </a:lnTo>
                    <a:close/>
                  </a:path>
                  <a:path w="4314190" h="10795">
                    <a:moveTo>
                      <a:pt x="2715374" y="0"/>
                    </a:moveTo>
                    <a:lnTo>
                      <a:pt x="2705125" y="0"/>
                    </a:lnTo>
                    <a:lnTo>
                      <a:pt x="2705125" y="10248"/>
                    </a:lnTo>
                    <a:lnTo>
                      <a:pt x="2715374" y="10248"/>
                    </a:lnTo>
                    <a:lnTo>
                      <a:pt x="2715374" y="0"/>
                    </a:lnTo>
                    <a:close/>
                  </a:path>
                  <a:path w="4314190" h="10795">
                    <a:moveTo>
                      <a:pt x="2776855" y="0"/>
                    </a:moveTo>
                    <a:lnTo>
                      <a:pt x="2766606" y="0"/>
                    </a:lnTo>
                    <a:lnTo>
                      <a:pt x="2766606" y="10248"/>
                    </a:lnTo>
                    <a:lnTo>
                      <a:pt x="2776855" y="10248"/>
                    </a:lnTo>
                    <a:lnTo>
                      <a:pt x="2776855" y="0"/>
                    </a:lnTo>
                    <a:close/>
                  </a:path>
                  <a:path w="4314190" h="10795">
                    <a:moveTo>
                      <a:pt x="2838335" y="0"/>
                    </a:moveTo>
                    <a:lnTo>
                      <a:pt x="2828086" y="0"/>
                    </a:lnTo>
                    <a:lnTo>
                      <a:pt x="2828086" y="10248"/>
                    </a:lnTo>
                    <a:lnTo>
                      <a:pt x="2838335" y="10248"/>
                    </a:lnTo>
                    <a:lnTo>
                      <a:pt x="2838335" y="0"/>
                    </a:lnTo>
                    <a:close/>
                  </a:path>
                  <a:path w="4314190" h="10795">
                    <a:moveTo>
                      <a:pt x="2899816" y="0"/>
                    </a:moveTo>
                    <a:lnTo>
                      <a:pt x="2889567" y="0"/>
                    </a:lnTo>
                    <a:lnTo>
                      <a:pt x="2889567" y="10248"/>
                    </a:lnTo>
                    <a:lnTo>
                      <a:pt x="2899816" y="10248"/>
                    </a:lnTo>
                    <a:lnTo>
                      <a:pt x="2899816" y="0"/>
                    </a:lnTo>
                    <a:close/>
                  </a:path>
                  <a:path w="4314190" h="10795">
                    <a:moveTo>
                      <a:pt x="2961297" y="0"/>
                    </a:moveTo>
                    <a:lnTo>
                      <a:pt x="2951048" y="0"/>
                    </a:lnTo>
                    <a:lnTo>
                      <a:pt x="2951048" y="10248"/>
                    </a:lnTo>
                    <a:lnTo>
                      <a:pt x="2961297" y="10248"/>
                    </a:lnTo>
                    <a:lnTo>
                      <a:pt x="2961297" y="0"/>
                    </a:lnTo>
                    <a:close/>
                  </a:path>
                  <a:path w="4314190" h="10795">
                    <a:moveTo>
                      <a:pt x="3022777" y="0"/>
                    </a:moveTo>
                    <a:lnTo>
                      <a:pt x="3012529" y="0"/>
                    </a:lnTo>
                    <a:lnTo>
                      <a:pt x="3012529" y="10248"/>
                    </a:lnTo>
                    <a:lnTo>
                      <a:pt x="3022777" y="10248"/>
                    </a:lnTo>
                    <a:lnTo>
                      <a:pt x="3022777" y="0"/>
                    </a:lnTo>
                    <a:close/>
                  </a:path>
                  <a:path w="4314190" h="10795">
                    <a:moveTo>
                      <a:pt x="3084258" y="0"/>
                    </a:moveTo>
                    <a:lnTo>
                      <a:pt x="3074009" y="0"/>
                    </a:lnTo>
                    <a:lnTo>
                      <a:pt x="3074009" y="10248"/>
                    </a:lnTo>
                    <a:lnTo>
                      <a:pt x="3084258" y="10248"/>
                    </a:lnTo>
                    <a:lnTo>
                      <a:pt x="3084258" y="0"/>
                    </a:lnTo>
                    <a:close/>
                  </a:path>
                  <a:path w="4314190" h="10795">
                    <a:moveTo>
                      <a:pt x="3145739" y="0"/>
                    </a:moveTo>
                    <a:lnTo>
                      <a:pt x="3135490" y="0"/>
                    </a:lnTo>
                    <a:lnTo>
                      <a:pt x="3135490" y="10248"/>
                    </a:lnTo>
                    <a:lnTo>
                      <a:pt x="3145739" y="10248"/>
                    </a:lnTo>
                    <a:lnTo>
                      <a:pt x="3145739" y="0"/>
                    </a:lnTo>
                    <a:close/>
                  </a:path>
                  <a:path w="4314190" h="10795">
                    <a:moveTo>
                      <a:pt x="3207220" y="0"/>
                    </a:moveTo>
                    <a:lnTo>
                      <a:pt x="3196971" y="0"/>
                    </a:lnTo>
                    <a:lnTo>
                      <a:pt x="3196971" y="10248"/>
                    </a:lnTo>
                    <a:lnTo>
                      <a:pt x="3207220" y="10248"/>
                    </a:lnTo>
                    <a:lnTo>
                      <a:pt x="3207220" y="0"/>
                    </a:lnTo>
                    <a:close/>
                  </a:path>
                  <a:path w="4314190" h="10795">
                    <a:moveTo>
                      <a:pt x="3268700" y="0"/>
                    </a:moveTo>
                    <a:lnTo>
                      <a:pt x="3258451" y="0"/>
                    </a:lnTo>
                    <a:lnTo>
                      <a:pt x="3258451" y="10248"/>
                    </a:lnTo>
                    <a:lnTo>
                      <a:pt x="3268700" y="10248"/>
                    </a:lnTo>
                    <a:lnTo>
                      <a:pt x="3268700" y="0"/>
                    </a:lnTo>
                    <a:close/>
                  </a:path>
                  <a:path w="4314190" h="10795">
                    <a:moveTo>
                      <a:pt x="3330181" y="0"/>
                    </a:moveTo>
                    <a:lnTo>
                      <a:pt x="3319932" y="0"/>
                    </a:lnTo>
                    <a:lnTo>
                      <a:pt x="3319932" y="10248"/>
                    </a:lnTo>
                    <a:lnTo>
                      <a:pt x="3330181" y="10248"/>
                    </a:lnTo>
                    <a:lnTo>
                      <a:pt x="3330181" y="0"/>
                    </a:lnTo>
                    <a:close/>
                  </a:path>
                  <a:path w="4314190" h="10795">
                    <a:moveTo>
                      <a:pt x="3391662" y="0"/>
                    </a:moveTo>
                    <a:lnTo>
                      <a:pt x="3381413" y="0"/>
                    </a:lnTo>
                    <a:lnTo>
                      <a:pt x="3381413" y="10248"/>
                    </a:lnTo>
                    <a:lnTo>
                      <a:pt x="3391662" y="10248"/>
                    </a:lnTo>
                    <a:lnTo>
                      <a:pt x="3391662" y="0"/>
                    </a:lnTo>
                    <a:close/>
                  </a:path>
                  <a:path w="4314190" h="10795">
                    <a:moveTo>
                      <a:pt x="3453142" y="0"/>
                    </a:moveTo>
                    <a:lnTo>
                      <a:pt x="3442893" y="0"/>
                    </a:lnTo>
                    <a:lnTo>
                      <a:pt x="3442893" y="10248"/>
                    </a:lnTo>
                    <a:lnTo>
                      <a:pt x="3453142" y="10248"/>
                    </a:lnTo>
                    <a:lnTo>
                      <a:pt x="3453142" y="0"/>
                    </a:lnTo>
                    <a:close/>
                  </a:path>
                  <a:path w="4314190" h="10795">
                    <a:moveTo>
                      <a:pt x="3514623" y="0"/>
                    </a:moveTo>
                    <a:lnTo>
                      <a:pt x="3504374" y="0"/>
                    </a:lnTo>
                    <a:lnTo>
                      <a:pt x="3504374" y="10248"/>
                    </a:lnTo>
                    <a:lnTo>
                      <a:pt x="3514623" y="10248"/>
                    </a:lnTo>
                    <a:lnTo>
                      <a:pt x="3514623" y="0"/>
                    </a:lnTo>
                    <a:close/>
                  </a:path>
                  <a:path w="4314190" h="10795">
                    <a:moveTo>
                      <a:pt x="3576104" y="0"/>
                    </a:moveTo>
                    <a:lnTo>
                      <a:pt x="3565855" y="0"/>
                    </a:lnTo>
                    <a:lnTo>
                      <a:pt x="3565855" y="10248"/>
                    </a:lnTo>
                    <a:lnTo>
                      <a:pt x="3576104" y="10248"/>
                    </a:lnTo>
                    <a:lnTo>
                      <a:pt x="3576104" y="0"/>
                    </a:lnTo>
                    <a:close/>
                  </a:path>
                  <a:path w="4314190" h="10795">
                    <a:moveTo>
                      <a:pt x="3637584" y="0"/>
                    </a:moveTo>
                    <a:lnTo>
                      <a:pt x="3627336" y="0"/>
                    </a:lnTo>
                    <a:lnTo>
                      <a:pt x="3627336" y="10248"/>
                    </a:lnTo>
                    <a:lnTo>
                      <a:pt x="3637584" y="10248"/>
                    </a:lnTo>
                    <a:lnTo>
                      <a:pt x="3637584" y="0"/>
                    </a:lnTo>
                    <a:close/>
                  </a:path>
                  <a:path w="4314190" h="10795">
                    <a:moveTo>
                      <a:pt x="3699065" y="0"/>
                    </a:moveTo>
                    <a:lnTo>
                      <a:pt x="3688816" y="0"/>
                    </a:lnTo>
                    <a:lnTo>
                      <a:pt x="3688816" y="10248"/>
                    </a:lnTo>
                    <a:lnTo>
                      <a:pt x="3699065" y="10248"/>
                    </a:lnTo>
                    <a:lnTo>
                      <a:pt x="3699065" y="0"/>
                    </a:lnTo>
                    <a:close/>
                  </a:path>
                  <a:path w="4314190" h="10795">
                    <a:moveTo>
                      <a:pt x="3760546" y="0"/>
                    </a:moveTo>
                    <a:lnTo>
                      <a:pt x="3750297" y="0"/>
                    </a:lnTo>
                    <a:lnTo>
                      <a:pt x="3750297" y="10248"/>
                    </a:lnTo>
                    <a:lnTo>
                      <a:pt x="3760546" y="10248"/>
                    </a:lnTo>
                    <a:lnTo>
                      <a:pt x="3760546" y="0"/>
                    </a:lnTo>
                    <a:close/>
                  </a:path>
                  <a:path w="4314190" h="10795">
                    <a:moveTo>
                      <a:pt x="3822027" y="0"/>
                    </a:moveTo>
                    <a:lnTo>
                      <a:pt x="3811778" y="0"/>
                    </a:lnTo>
                    <a:lnTo>
                      <a:pt x="3811778" y="10248"/>
                    </a:lnTo>
                    <a:lnTo>
                      <a:pt x="3822027" y="10248"/>
                    </a:lnTo>
                    <a:lnTo>
                      <a:pt x="3822027" y="0"/>
                    </a:lnTo>
                    <a:close/>
                  </a:path>
                  <a:path w="4314190" h="10795">
                    <a:moveTo>
                      <a:pt x="3883507" y="0"/>
                    </a:moveTo>
                    <a:lnTo>
                      <a:pt x="3873258" y="0"/>
                    </a:lnTo>
                    <a:lnTo>
                      <a:pt x="3873258" y="10248"/>
                    </a:lnTo>
                    <a:lnTo>
                      <a:pt x="3883507" y="10248"/>
                    </a:lnTo>
                    <a:lnTo>
                      <a:pt x="3883507" y="0"/>
                    </a:lnTo>
                    <a:close/>
                  </a:path>
                  <a:path w="4314190" h="10795">
                    <a:moveTo>
                      <a:pt x="3944988" y="0"/>
                    </a:moveTo>
                    <a:lnTo>
                      <a:pt x="3934739" y="0"/>
                    </a:lnTo>
                    <a:lnTo>
                      <a:pt x="3934739" y="10248"/>
                    </a:lnTo>
                    <a:lnTo>
                      <a:pt x="3944988" y="10248"/>
                    </a:lnTo>
                    <a:lnTo>
                      <a:pt x="3944988" y="0"/>
                    </a:lnTo>
                    <a:close/>
                  </a:path>
                  <a:path w="4314190" h="10795">
                    <a:moveTo>
                      <a:pt x="4006469" y="0"/>
                    </a:moveTo>
                    <a:lnTo>
                      <a:pt x="3996220" y="0"/>
                    </a:lnTo>
                    <a:lnTo>
                      <a:pt x="3996220" y="10248"/>
                    </a:lnTo>
                    <a:lnTo>
                      <a:pt x="4006469" y="10248"/>
                    </a:lnTo>
                    <a:lnTo>
                      <a:pt x="4006469" y="0"/>
                    </a:lnTo>
                    <a:close/>
                  </a:path>
                  <a:path w="4314190" h="10795">
                    <a:moveTo>
                      <a:pt x="4067937" y="0"/>
                    </a:moveTo>
                    <a:lnTo>
                      <a:pt x="4057700" y="0"/>
                    </a:lnTo>
                    <a:lnTo>
                      <a:pt x="4057700" y="10248"/>
                    </a:lnTo>
                    <a:lnTo>
                      <a:pt x="4067937" y="10248"/>
                    </a:lnTo>
                    <a:lnTo>
                      <a:pt x="4067937" y="0"/>
                    </a:lnTo>
                    <a:close/>
                  </a:path>
                  <a:path w="4314190" h="10795">
                    <a:moveTo>
                      <a:pt x="4129417" y="0"/>
                    </a:moveTo>
                    <a:lnTo>
                      <a:pt x="4119181" y="0"/>
                    </a:lnTo>
                    <a:lnTo>
                      <a:pt x="4119181" y="10248"/>
                    </a:lnTo>
                    <a:lnTo>
                      <a:pt x="4129417" y="10248"/>
                    </a:lnTo>
                    <a:lnTo>
                      <a:pt x="4129417" y="0"/>
                    </a:lnTo>
                    <a:close/>
                  </a:path>
                  <a:path w="4314190" h="10795">
                    <a:moveTo>
                      <a:pt x="4190898" y="0"/>
                    </a:moveTo>
                    <a:lnTo>
                      <a:pt x="4180662" y="0"/>
                    </a:lnTo>
                    <a:lnTo>
                      <a:pt x="4180662" y="10248"/>
                    </a:lnTo>
                    <a:lnTo>
                      <a:pt x="4190898" y="10248"/>
                    </a:lnTo>
                    <a:lnTo>
                      <a:pt x="4190898" y="0"/>
                    </a:lnTo>
                    <a:close/>
                  </a:path>
                  <a:path w="4314190" h="10795">
                    <a:moveTo>
                      <a:pt x="4252379" y="0"/>
                    </a:moveTo>
                    <a:lnTo>
                      <a:pt x="4242143" y="0"/>
                    </a:lnTo>
                    <a:lnTo>
                      <a:pt x="4242143" y="10248"/>
                    </a:lnTo>
                    <a:lnTo>
                      <a:pt x="4252379" y="10248"/>
                    </a:lnTo>
                    <a:lnTo>
                      <a:pt x="4252379" y="0"/>
                    </a:lnTo>
                    <a:close/>
                  </a:path>
                  <a:path w="4314190" h="10795">
                    <a:moveTo>
                      <a:pt x="4313860" y="0"/>
                    </a:moveTo>
                    <a:lnTo>
                      <a:pt x="4303623" y="0"/>
                    </a:lnTo>
                    <a:lnTo>
                      <a:pt x="4303623" y="10248"/>
                    </a:lnTo>
                    <a:lnTo>
                      <a:pt x="4313860" y="10248"/>
                    </a:lnTo>
                    <a:lnTo>
                      <a:pt x="4313860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1" name="object 271"/>
              <p:cNvSpPr/>
              <p:nvPr/>
            </p:nvSpPr>
            <p:spPr>
              <a:xfrm>
                <a:off x="643585" y="6138976"/>
                <a:ext cx="5543550" cy="498475"/>
              </a:xfrm>
              <a:custGeom>
                <a:avLst/>
                <a:gdLst/>
                <a:ahLst/>
                <a:cxnLst/>
                <a:rect l="l" t="t" r="r" b="b"/>
                <a:pathLst>
                  <a:path w="5543550" h="498475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48"/>
                    </a:lnTo>
                    <a:lnTo>
                      <a:pt x="10236" y="10248"/>
                    </a:lnTo>
                    <a:lnTo>
                      <a:pt x="10236" y="0"/>
                    </a:lnTo>
                    <a:close/>
                  </a:path>
                  <a:path w="5543550" h="498475">
                    <a:moveTo>
                      <a:pt x="71716" y="0"/>
                    </a:moveTo>
                    <a:lnTo>
                      <a:pt x="61480" y="0"/>
                    </a:lnTo>
                    <a:lnTo>
                      <a:pt x="61480" y="10248"/>
                    </a:lnTo>
                    <a:lnTo>
                      <a:pt x="71716" y="10248"/>
                    </a:lnTo>
                    <a:lnTo>
                      <a:pt x="71716" y="0"/>
                    </a:lnTo>
                    <a:close/>
                  </a:path>
                  <a:path w="5543550" h="498475">
                    <a:moveTo>
                      <a:pt x="133197" y="0"/>
                    </a:moveTo>
                    <a:lnTo>
                      <a:pt x="122948" y="0"/>
                    </a:lnTo>
                    <a:lnTo>
                      <a:pt x="122948" y="10248"/>
                    </a:lnTo>
                    <a:lnTo>
                      <a:pt x="133197" y="10248"/>
                    </a:lnTo>
                    <a:lnTo>
                      <a:pt x="133197" y="0"/>
                    </a:lnTo>
                    <a:close/>
                  </a:path>
                  <a:path w="5543550" h="498475">
                    <a:moveTo>
                      <a:pt x="194678" y="0"/>
                    </a:moveTo>
                    <a:lnTo>
                      <a:pt x="184429" y="0"/>
                    </a:lnTo>
                    <a:lnTo>
                      <a:pt x="184429" y="10248"/>
                    </a:lnTo>
                    <a:lnTo>
                      <a:pt x="194678" y="10248"/>
                    </a:lnTo>
                    <a:lnTo>
                      <a:pt x="194678" y="0"/>
                    </a:lnTo>
                    <a:close/>
                  </a:path>
                  <a:path w="5543550" h="498475">
                    <a:moveTo>
                      <a:pt x="256159" y="0"/>
                    </a:moveTo>
                    <a:lnTo>
                      <a:pt x="245910" y="0"/>
                    </a:lnTo>
                    <a:lnTo>
                      <a:pt x="245910" y="10248"/>
                    </a:lnTo>
                    <a:lnTo>
                      <a:pt x="256159" y="10248"/>
                    </a:lnTo>
                    <a:lnTo>
                      <a:pt x="256159" y="0"/>
                    </a:lnTo>
                    <a:close/>
                  </a:path>
                  <a:path w="5543550" h="498475">
                    <a:moveTo>
                      <a:pt x="317639" y="0"/>
                    </a:moveTo>
                    <a:lnTo>
                      <a:pt x="307390" y="0"/>
                    </a:lnTo>
                    <a:lnTo>
                      <a:pt x="307390" y="10248"/>
                    </a:lnTo>
                    <a:lnTo>
                      <a:pt x="317639" y="10248"/>
                    </a:lnTo>
                    <a:lnTo>
                      <a:pt x="317639" y="0"/>
                    </a:lnTo>
                    <a:close/>
                  </a:path>
                  <a:path w="5543550" h="498475">
                    <a:moveTo>
                      <a:pt x="379120" y="0"/>
                    </a:moveTo>
                    <a:lnTo>
                      <a:pt x="368871" y="0"/>
                    </a:lnTo>
                    <a:lnTo>
                      <a:pt x="368871" y="10248"/>
                    </a:lnTo>
                    <a:lnTo>
                      <a:pt x="379120" y="10248"/>
                    </a:lnTo>
                    <a:lnTo>
                      <a:pt x="379120" y="0"/>
                    </a:lnTo>
                    <a:close/>
                  </a:path>
                  <a:path w="5543550" h="498475">
                    <a:moveTo>
                      <a:pt x="440601" y="0"/>
                    </a:moveTo>
                    <a:lnTo>
                      <a:pt x="430352" y="0"/>
                    </a:lnTo>
                    <a:lnTo>
                      <a:pt x="430352" y="10248"/>
                    </a:lnTo>
                    <a:lnTo>
                      <a:pt x="440601" y="10248"/>
                    </a:lnTo>
                    <a:lnTo>
                      <a:pt x="440601" y="0"/>
                    </a:lnTo>
                    <a:close/>
                  </a:path>
                  <a:path w="5543550" h="498475">
                    <a:moveTo>
                      <a:pt x="502081" y="0"/>
                    </a:moveTo>
                    <a:lnTo>
                      <a:pt x="491832" y="0"/>
                    </a:lnTo>
                    <a:lnTo>
                      <a:pt x="491832" y="10248"/>
                    </a:lnTo>
                    <a:lnTo>
                      <a:pt x="502081" y="10248"/>
                    </a:lnTo>
                    <a:lnTo>
                      <a:pt x="502081" y="0"/>
                    </a:lnTo>
                    <a:close/>
                  </a:path>
                  <a:path w="5543550" h="498475">
                    <a:moveTo>
                      <a:pt x="563562" y="0"/>
                    </a:moveTo>
                    <a:lnTo>
                      <a:pt x="553313" y="0"/>
                    </a:lnTo>
                    <a:lnTo>
                      <a:pt x="553313" y="10248"/>
                    </a:lnTo>
                    <a:lnTo>
                      <a:pt x="563562" y="10248"/>
                    </a:lnTo>
                    <a:lnTo>
                      <a:pt x="563562" y="0"/>
                    </a:lnTo>
                    <a:close/>
                  </a:path>
                  <a:path w="5543550" h="498475">
                    <a:moveTo>
                      <a:pt x="625043" y="0"/>
                    </a:moveTo>
                    <a:lnTo>
                      <a:pt x="614794" y="0"/>
                    </a:lnTo>
                    <a:lnTo>
                      <a:pt x="614794" y="10248"/>
                    </a:lnTo>
                    <a:lnTo>
                      <a:pt x="625043" y="10248"/>
                    </a:lnTo>
                    <a:lnTo>
                      <a:pt x="625043" y="0"/>
                    </a:lnTo>
                    <a:close/>
                  </a:path>
                  <a:path w="5543550" h="498475">
                    <a:moveTo>
                      <a:pt x="686523" y="0"/>
                    </a:moveTo>
                    <a:lnTo>
                      <a:pt x="676275" y="0"/>
                    </a:lnTo>
                    <a:lnTo>
                      <a:pt x="676275" y="10248"/>
                    </a:lnTo>
                    <a:lnTo>
                      <a:pt x="686523" y="10248"/>
                    </a:lnTo>
                    <a:lnTo>
                      <a:pt x="686523" y="0"/>
                    </a:lnTo>
                    <a:close/>
                  </a:path>
                  <a:path w="5543550" h="498475">
                    <a:moveTo>
                      <a:pt x="748004" y="0"/>
                    </a:moveTo>
                    <a:lnTo>
                      <a:pt x="737755" y="0"/>
                    </a:lnTo>
                    <a:lnTo>
                      <a:pt x="737755" y="10248"/>
                    </a:lnTo>
                    <a:lnTo>
                      <a:pt x="748004" y="10248"/>
                    </a:lnTo>
                    <a:lnTo>
                      <a:pt x="748004" y="0"/>
                    </a:lnTo>
                    <a:close/>
                  </a:path>
                  <a:path w="5543550" h="498475">
                    <a:moveTo>
                      <a:pt x="809485" y="0"/>
                    </a:moveTo>
                    <a:lnTo>
                      <a:pt x="799236" y="0"/>
                    </a:lnTo>
                    <a:lnTo>
                      <a:pt x="799236" y="10248"/>
                    </a:lnTo>
                    <a:lnTo>
                      <a:pt x="809485" y="10248"/>
                    </a:lnTo>
                    <a:lnTo>
                      <a:pt x="809485" y="0"/>
                    </a:lnTo>
                    <a:close/>
                  </a:path>
                  <a:path w="5543550" h="498475">
                    <a:moveTo>
                      <a:pt x="870966" y="0"/>
                    </a:moveTo>
                    <a:lnTo>
                      <a:pt x="860717" y="0"/>
                    </a:lnTo>
                    <a:lnTo>
                      <a:pt x="860717" y="10248"/>
                    </a:lnTo>
                    <a:lnTo>
                      <a:pt x="870966" y="10248"/>
                    </a:lnTo>
                    <a:lnTo>
                      <a:pt x="870966" y="0"/>
                    </a:lnTo>
                    <a:close/>
                  </a:path>
                  <a:path w="5543550" h="498475">
                    <a:moveTo>
                      <a:pt x="932446" y="0"/>
                    </a:moveTo>
                    <a:lnTo>
                      <a:pt x="922197" y="0"/>
                    </a:lnTo>
                    <a:lnTo>
                      <a:pt x="922197" y="10248"/>
                    </a:lnTo>
                    <a:lnTo>
                      <a:pt x="932446" y="10248"/>
                    </a:lnTo>
                    <a:lnTo>
                      <a:pt x="932446" y="0"/>
                    </a:lnTo>
                    <a:close/>
                  </a:path>
                  <a:path w="5543550" h="498475">
                    <a:moveTo>
                      <a:pt x="993927" y="0"/>
                    </a:moveTo>
                    <a:lnTo>
                      <a:pt x="983678" y="0"/>
                    </a:lnTo>
                    <a:lnTo>
                      <a:pt x="983678" y="10248"/>
                    </a:lnTo>
                    <a:lnTo>
                      <a:pt x="993927" y="10248"/>
                    </a:lnTo>
                    <a:lnTo>
                      <a:pt x="993927" y="0"/>
                    </a:lnTo>
                    <a:close/>
                  </a:path>
                  <a:path w="5543550" h="498475">
                    <a:moveTo>
                      <a:pt x="1055408" y="0"/>
                    </a:moveTo>
                    <a:lnTo>
                      <a:pt x="1045159" y="0"/>
                    </a:lnTo>
                    <a:lnTo>
                      <a:pt x="1045159" y="10248"/>
                    </a:lnTo>
                    <a:lnTo>
                      <a:pt x="1055408" y="10248"/>
                    </a:lnTo>
                    <a:lnTo>
                      <a:pt x="1055408" y="0"/>
                    </a:lnTo>
                    <a:close/>
                  </a:path>
                  <a:path w="5543550" h="498475">
                    <a:moveTo>
                      <a:pt x="1116888" y="0"/>
                    </a:moveTo>
                    <a:lnTo>
                      <a:pt x="1106639" y="0"/>
                    </a:lnTo>
                    <a:lnTo>
                      <a:pt x="1106639" y="10248"/>
                    </a:lnTo>
                    <a:lnTo>
                      <a:pt x="1116888" y="10248"/>
                    </a:lnTo>
                    <a:lnTo>
                      <a:pt x="1116888" y="0"/>
                    </a:lnTo>
                    <a:close/>
                  </a:path>
                  <a:path w="5543550" h="498475">
                    <a:moveTo>
                      <a:pt x="1178369" y="0"/>
                    </a:moveTo>
                    <a:lnTo>
                      <a:pt x="1168120" y="0"/>
                    </a:lnTo>
                    <a:lnTo>
                      <a:pt x="1168120" y="10248"/>
                    </a:lnTo>
                    <a:lnTo>
                      <a:pt x="1178369" y="10248"/>
                    </a:lnTo>
                    <a:lnTo>
                      <a:pt x="1178369" y="0"/>
                    </a:lnTo>
                    <a:close/>
                  </a:path>
                  <a:path w="5543550" h="498475">
                    <a:moveTo>
                      <a:pt x="1239850" y="0"/>
                    </a:moveTo>
                    <a:lnTo>
                      <a:pt x="1229601" y="0"/>
                    </a:lnTo>
                    <a:lnTo>
                      <a:pt x="1229601" y="10248"/>
                    </a:lnTo>
                    <a:lnTo>
                      <a:pt x="1239850" y="10248"/>
                    </a:lnTo>
                    <a:lnTo>
                      <a:pt x="1239850" y="0"/>
                    </a:lnTo>
                    <a:close/>
                  </a:path>
                  <a:path w="5543550" h="498475">
                    <a:moveTo>
                      <a:pt x="1301330" y="0"/>
                    </a:moveTo>
                    <a:lnTo>
                      <a:pt x="1291082" y="0"/>
                    </a:lnTo>
                    <a:lnTo>
                      <a:pt x="1291082" y="10248"/>
                    </a:lnTo>
                    <a:lnTo>
                      <a:pt x="1301330" y="10248"/>
                    </a:lnTo>
                    <a:lnTo>
                      <a:pt x="1301330" y="0"/>
                    </a:lnTo>
                    <a:close/>
                  </a:path>
                  <a:path w="5543550" h="498475">
                    <a:moveTo>
                      <a:pt x="1362811" y="0"/>
                    </a:moveTo>
                    <a:lnTo>
                      <a:pt x="1352562" y="0"/>
                    </a:lnTo>
                    <a:lnTo>
                      <a:pt x="1352562" y="10248"/>
                    </a:lnTo>
                    <a:lnTo>
                      <a:pt x="1362811" y="10248"/>
                    </a:lnTo>
                    <a:lnTo>
                      <a:pt x="1362811" y="0"/>
                    </a:lnTo>
                    <a:close/>
                  </a:path>
                  <a:path w="5543550" h="498475">
                    <a:moveTo>
                      <a:pt x="1424292" y="0"/>
                    </a:moveTo>
                    <a:lnTo>
                      <a:pt x="1414043" y="0"/>
                    </a:lnTo>
                    <a:lnTo>
                      <a:pt x="1414043" y="10248"/>
                    </a:lnTo>
                    <a:lnTo>
                      <a:pt x="1424292" y="10248"/>
                    </a:lnTo>
                    <a:lnTo>
                      <a:pt x="1424292" y="0"/>
                    </a:lnTo>
                    <a:close/>
                  </a:path>
                  <a:path w="5543550" h="498475">
                    <a:moveTo>
                      <a:pt x="1485773" y="0"/>
                    </a:moveTo>
                    <a:lnTo>
                      <a:pt x="1475524" y="0"/>
                    </a:lnTo>
                    <a:lnTo>
                      <a:pt x="1475524" y="10248"/>
                    </a:lnTo>
                    <a:lnTo>
                      <a:pt x="1485773" y="10248"/>
                    </a:lnTo>
                    <a:lnTo>
                      <a:pt x="1485773" y="0"/>
                    </a:lnTo>
                    <a:close/>
                  </a:path>
                  <a:path w="5543550" h="498475">
                    <a:moveTo>
                      <a:pt x="1547253" y="0"/>
                    </a:moveTo>
                    <a:lnTo>
                      <a:pt x="1537004" y="0"/>
                    </a:lnTo>
                    <a:lnTo>
                      <a:pt x="1537004" y="10248"/>
                    </a:lnTo>
                    <a:lnTo>
                      <a:pt x="1547253" y="10248"/>
                    </a:lnTo>
                    <a:lnTo>
                      <a:pt x="1547253" y="0"/>
                    </a:lnTo>
                    <a:close/>
                  </a:path>
                  <a:path w="5543550" h="498475">
                    <a:moveTo>
                      <a:pt x="1608734" y="0"/>
                    </a:moveTo>
                    <a:lnTo>
                      <a:pt x="1598485" y="0"/>
                    </a:lnTo>
                    <a:lnTo>
                      <a:pt x="1598485" y="10248"/>
                    </a:lnTo>
                    <a:lnTo>
                      <a:pt x="1608734" y="10248"/>
                    </a:lnTo>
                    <a:lnTo>
                      <a:pt x="1608734" y="0"/>
                    </a:lnTo>
                    <a:close/>
                  </a:path>
                  <a:path w="5543550" h="498475">
                    <a:moveTo>
                      <a:pt x="1670215" y="0"/>
                    </a:moveTo>
                    <a:lnTo>
                      <a:pt x="1659966" y="0"/>
                    </a:lnTo>
                    <a:lnTo>
                      <a:pt x="1659966" y="10248"/>
                    </a:lnTo>
                    <a:lnTo>
                      <a:pt x="1670215" y="10248"/>
                    </a:lnTo>
                    <a:lnTo>
                      <a:pt x="1670215" y="0"/>
                    </a:lnTo>
                    <a:close/>
                  </a:path>
                  <a:path w="5543550" h="498475">
                    <a:moveTo>
                      <a:pt x="1731695" y="0"/>
                    </a:moveTo>
                    <a:lnTo>
                      <a:pt x="1721446" y="0"/>
                    </a:lnTo>
                    <a:lnTo>
                      <a:pt x="1721446" y="10248"/>
                    </a:lnTo>
                    <a:lnTo>
                      <a:pt x="1731695" y="10248"/>
                    </a:lnTo>
                    <a:lnTo>
                      <a:pt x="1731695" y="0"/>
                    </a:lnTo>
                    <a:close/>
                  </a:path>
                  <a:path w="5543550" h="498475">
                    <a:moveTo>
                      <a:pt x="1793176" y="0"/>
                    </a:moveTo>
                    <a:lnTo>
                      <a:pt x="1782927" y="0"/>
                    </a:lnTo>
                    <a:lnTo>
                      <a:pt x="1782927" y="10248"/>
                    </a:lnTo>
                    <a:lnTo>
                      <a:pt x="1793176" y="10248"/>
                    </a:lnTo>
                    <a:lnTo>
                      <a:pt x="1793176" y="0"/>
                    </a:lnTo>
                    <a:close/>
                  </a:path>
                  <a:path w="5543550" h="498475">
                    <a:moveTo>
                      <a:pt x="1854657" y="0"/>
                    </a:moveTo>
                    <a:lnTo>
                      <a:pt x="1844408" y="0"/>
                    </a:lnTo>
                    <a:lnTo>
                      <a:pt x="1844408" y="10248"/>
                    </a:lnTo>
                    <a:lnTo>
                      <a:pt x="1854657" y="10248"/>
                    </a:lnTo>
                    <a:lnTo>
                      <a:pt x="1854657" y="0"/>
                    </a:lnTo>
                    <a:close/>
                  </a:path>
                  <a:path w="5543550" h="498475">
                    <a:moveTo>
                      <a:pt x="1916125" y="0"/>
                    </a:moveTo>
                    <a:lnTo>
                      <a:pt x="1905889" y="0"/>
                    </a:lnTo>
                    <a:lnTo>
                      <a:pt x="1905889" y="10248"/>
                    </a:lnTo>
                    <a:lnTo>
                      <a:pt x="1916125" y="10248"/>
                    </a:lnTo>
                    <a:lnTo>
                      <a:pt x="1916125" y="0"/>
                    </a:lnTo>
                    <a:close/>
                  </a:path>
                  <a:path w="5543550" h="498475">
                    <a:moveTo>
                      <a:pt x="1977605" y="0"/>
                    </a:moveTo>
                    <a:lnTo>
                      <a:pt x="1967369" y="0"/>
                    </a:lnTo>
                    <a:lnTo>
                      <a:pt x="1967369" y="10248"/>
                    </a:lnTo>
                    <a:lnTo>
                      <a:pt x="1977605" y="10248"/>
                    </a:lnTo>
                    <a:lnTo>
                      <a:pt x="1977605" y="0"/>
                    </a:lnTo>
                    <a:close/>
                  </a:path>
                  <a:path w="5543550" h="498475">
                    <a:moveTo>
                      <a:pt x="2039086" y="0"/>
                    </a:moveTo>
                    <a:lnTo>
                      <a:pt x="2028850" y="0"/>
                    </a:lnTo>
                    <a:lnTo>
                      <a:pt x="2028850" y="10248"/>
                    </a:lnTo>
                    <a:lnTo>
                      <a:pt x="2039086" y="10248"/>
                    </a:lnTo>
                    <a:lnTo>
                      <a:pt x="2039086" y="0"/>
                    </a:lnTo>
                    <a:close/>
                  </a:path>
                  <a:path w="5543550" h="498475">
                    <a:moveTo>
                      <a:pt x="2100567" y="0"/>
                    </a:moveTo>
                    <a:lnTo>
                      <a:pt x="2090331" y="0"/>
                    </a:lnTo>
                    <a:lnTo>
                      <a:pt x="2090331" y="10248"/>
                    </a:lnTo>
                    <a:lnTo>
                      <a:pt x="2100567" y="10248"/>
                    </a:lnTo>
                    <a:lnTo>
                      <a:pt x="2100567" y="0"/>
                    </a:lnTo>
                    <a:close/>
                  </a:path>
                  <a:path w="5543550" h="498475">
                    <a:moveTo>
                      <a:pt x="2162048" y="0"/>
                    </a:moveTo>
                    <a:lnTo>
                      <a:pt x="2151811" y="0"/>
                    </a:lnTo>
                    <a:lnTo>
                      <a:pt x="2151811" y="10248"/>
                    </a:lnTo>
                    <a:lnTo>
                      <a:pt x="2162048" y="10248"/>
                    </a:lnTo>
                    <a:lnTo>
                      <a:pt x="2162048" y="0"/>
                    </a:lnTo>
                    <a:close/>
                  </a:path>
                  <a:path w="5543550" h="498475">
                    <a:moveTo>
                      <a:pt x="2223528" y="0"/>
                    </a:moveTo>
                    <a:lnTo>
                      <a:pt x="2213292" y="0"/>
                    </a:lnTo>
                    <a:lnTo>
                      <a:pt x="2213292" y="10248"/>
                    </a:lnTo>
                    <a:lnTo>
                      <a:pt x="2223528" y="10248"/>
                    </a:lnTo>
                    <a:lnTo>
                      <a:pt x="2223528" y="0"/>
                    </a:lnTo>
                    <a:close/>
                  </a:path>
                  <a:path w="5543550" h="498475">
                    <a:moveTo>
                      <a:pt x="2285009" y="0"/>
                    </a:moveTo>
                    <a:lnTo>
                      <a:pt x="2274760" y="0"/>
                    </a:lnTo>
                    <a:lnTo>
                      <a:pt x="2274760" y="10248"/>
                    </a:lnTo>
                    <a:lnTo>
                      <a:pt x="2285009" y="10248"/>
                    </a:lnTo>
                    <a:lnTo>
                      <a:pt x="2285009" y="0"/>
                    </a:lnTo>
                    <a:close/>
                  </a:path>
                  <a:path w="5543550" h="498475">
                    <a:moveTo>
                      <a:pt x="2346490" y="0"/>
                    </a:moveTo>
                    <a:lnTo>
                      <a:pt x="2336241" y="0"/>
                    </a:lnTo>
                    <a:lnTo>
                      <a:pt x="2336241" y="10248"/>
                    </a:lnTo>
                    <a:lnTo>
                      <a:pt x="2346490" y="10248"/>
                    </a:lnTo>
                    <a:lnTo>
                      <a:pt x="2346490" y="0"/>
                    </a:lnTo>
                    <a:close/>
                  </a:path>
                  <a:path w="5543550" h="498475">
                    <a:moveTo>
                      <a:pt x="2407970" y="0"/>
                    </a:moveTo>
                    <a:lnTo>
                      <a:pt x="2397722" y="0"/>
                    </a:lnTo>
                    <a:lnTo>
                      <a:pt x="2397722" y="10248"/>
                    </a:lnTo>
                    <a:lnTo>
                      <a:pt x="2407970" y="10248"/>
                    </a:lnTo>
                    <a:lnTo>
                      <a:pt x="2407970" y="0"/>
                    </a:lnTo>
                    <a:close/>
                  </a:path>
                  <a:path w="5543550" h="498475">
                    <a:moveTo>
                      <a:pt x="2469451" y="0"/>
                    </a:moveTo>
                    <a:lnTo>
                      <a:pt x="2459202" y="0"/>
                    </a:lnTo>
                    <a:lnTo>
                      <a:pt x="2459202" y="10248"/>
                    </a:lnTo>
                    <a:lnTo>
                      <a:pt x="2469451" y="10248"/>
                    </a:lnTo>
                    <a:lnTo>
                      <a:pt x="2469451" y="0"/>
                    </a:lnTo>
                    <a:close/>
                  </a:path>
                  <a:path w="5543550" h="498475">
                    <a:moveTo>
                      <a:pt x="2530932" y="0"/>
                    </a:moveTo>
                    <a:lnTo>
                      <a:pt x="2520683" y="0"/>
                    </a:lnTo>
                    <a:lnTo>
                      <a:pt x="2520683" y="10248"/>
                    </a:lnTo>
                    <a:lnTo>
                      <a:pt x="2530932" y="10248"/>
                    </a:lnTo>
                    <a:lnTo>
                      <a:pt x="2530932" y="0"/>
                    </a:lnTo>
                    <a:close/>
                  </a:path>
                  <a:path w="5543550" h="498475">
                    <a:moveTo>
                      <a:pt x="2592413" y="0"/>
                    </a:moveTo>
                    <a:lnTo>
                      <a:pt x="2582164" y="0"/>
                    </a:lnTo>
                    <a:lnTo>
                      <a:pt x="2582164" y="10248"/>
                    </a:lnTo>
                    <a:lnTo>
                      <a:pt x="2592413" y="10248"/>
                    </a:lnTo>
                    <a:lnTo>
                      <a:pt x="2592413" y="0"/>
                    </a:lnTo>
                    <a:close/>
                  </a:path>
                  <a:path w="5543550" h="498475">
                    <a:moveTo>
                      <a:pt x="2653893" y="0"/>
                    </a:moveTo>
                    <a:lnTo>
                      <a:pt x="2643644" y="0"/>
                    </a:lnTo>
                    <a:lnTo>
                      <a:pt x="2643644" y="10248"/>
                    </a:lnTo>
                    <a:lnTo>
                      <a:pt x="2653893" y="10248"/>
                    </a:lnTo>
                    <a:lnTo>
                      <a:pt x="2653893" y="0"/>
                    </a:lnTo>
                    <a:close/>
                  </a:path>
                  <a:path w="5543550" h="498475">
                    <a:moveTo>
                      <a:pt x="2715374" y="0"/>
                    </a:moveTo>
                    <a:lnTo>
                      <a:pt x="2705125" y="0"/>
                    </a:lnTo>
                    <a:lnTo>
                      <a:pt x="2705125" y="10248"/>
                    </a:lnTo>
                    <a:lnTo>
                      <a:pt x="2715374" y="10248"/>
                    </a:lnTo>
                    <a:lnTo>
                      <a:pt x="2715374" y="0"/>
                    </a:lnTo>
                    <a:close/>
                  </a:path>
                  <a:path w="5543550" h="498475">
                    <a:moveTo>
                      <a:pt x="2776855" y="0"/>
                    </a:moveTo>
                    <a:lnTo>
                      <a:pt x="2766606" y="0"/>
                    </a:lnTo>
                    <a:lnTo>
                      <a:pt x="2766606" y="10248"/>
                    </a:lnTo>
                    <a:lnTo>
                      <a:pt x="2776855" y="10248"/>
                    </a:lnTo>
                    <a:lnTo>
                      <a:pt x="2776855" y="0"/>
                    </a:lnTo>
                    <a:close/>
                  </a:path>
                  <a:path w="5543550" h="498475">
                    <a:moveTo>
                      <a:pt x="2838335" y="0"/>
                    </a:moveTo>
                    <a:lnTo>
                      <a:pt x="2828086" y="0"/>
                    </a:lnTo>
                    <a:lnTo>
                      <a:pt x="2828086" y="10248"/>
                    </a:lnTo>
                    <a:lnTo>
                      <a:pt x="2838335" y="10248"/>
                    </a:lnTo>
                    <a:lnTo>
                      <a:pt x="2838335" y="0"/>
                    </a:lnTo>
                    <a:close/>
                  </a:path>
                  <a:path w="5543550" h="498475">
                    <a:moveTo>
                      <a:pt x="2899816" y="0"/>
                    </a:moveTo>
                    <a:lnTo>
                      <a:pt x="2889567" y="0"/>
                    </a:lnTo>
                    <a:lnTo>
                      <a:pt x="2889567" y="10248"/>
                    </a:lnTo>
                    <a:lnTo>
                      <a:pt x="2899816" y="10248"/>
                    </a:lnTo>
                    <a:lnTo>
                      <a:pt x="2899816" y="0"/>
                    </a:lnTo>
                    <a:close/>
                  </a:path>
                  <a:path w="5543550" h="498475">
                    <a:moveTo>
                      <a:pt x="2961297" y="0"/>
                    </a:moveTo>
                    <a:lnTo>
                      <a:pt x="2951048" y="0"/>
                    </a:lnTo>
                    <a:lnTo>
                      <a:pt x="2951048" y="10248"/>
                    </a:lnTo>
                    <a:lnTo>
                      <a:pt x="2961297" y="10248"/>
                    </a:lnTo>
                    <a:lnTo>
                      <a:pt x="2961297" y="0"/>
                    </a:lnTo>
                    <a:close/>
                  </a:path>
                  <a:path w="5543550" h="498475">
                    <a:moveTo>
                      <a:pt x="3022777" y="0"/>
                    </a:moveTo>
                    <a:lnTo>
                      <a:pt x="3012529" y="0"/>
                    </a:lnTo>
                    <a:lnTo>
                      <a:pt x="3012529" y="10248"/>
                    </a:lnTo>
                    <a:lnTo>
                      <a:pt x="3022777" y="10248"/>
                    </a:lnTo>
                    <a:lnTo>
                      <a:pt x="3022777" y="0"/>
                    </a:lnTo>
                    <a:close/>
                  </a:path>
                  <a:path w="5543550" h="498475">
                    <a:moveTo>
                      <a:pt x="4313860" y="487743"/>
                    </a:moveTo>
                    <a:lnTo>
                      <a:pt x="4303623" y="487743"/>
                    </a:lnTo>
                    <a:lnTo>
                      <a:pt x="4303623" y="497992"/>
                    </a:lnTo>
                    <a:lnTo>
                      <a:pt x="4313860" y="497992"/>
                    </a:lnTo>
                    <a:lnTo>
                      <a:pt x="4313860" y="487743"/>
                    </a:lnTo>
                    <a:close/>
                  </a:path>
                  <a:path w="5543550" h="498475">
                    <a:moveTo>
                      <a:pt x="4375340" y="487743"/>
                    </a:moveTo>
                    <a:lnTo>
                      <a:pt x="4365104" y="487743"/>
                    </a:lnTo>
                    <a:lnTo>
                      <a:pt x="4365104" y="497992"/>
                    </a:lnTo>
                    <a:lnTo>
                      <a:pt x="4375340" y="497992"/>
                    </a:lnTo>
                    <a:lnTo>
                      <a:pt x="4375340" y="487743"/>
                    </a:lnTo>
                    <a:close/>
                  </a:path>
                  <a:path w="5543550" h="498475">
                    <a:moveTo>
                      <a:pt x="4436821" y="487743"/>
                    </a:moveTo>
                    <a:lnTo>
                      <a:pt x="4426572" y="487743"/>
                    </a:lnTo>
                    <a:lnTo>
                      <a:pt x="4426572" y="497992"/>
                    </a:lnTo>
                    <a:lnTo>
                      <a:pt x="4436821" y="497992"/>
                    </a:lnTo>
                    <a:lnTo>
                      <a:pt x="4436821" y="487743"/>
                    </a:lnTo>
                    <a:close/>
                  </a:path>
                  <a:path w="5543550" h="498475">
                    <a:moveTo>
                      <a:pt x="4498302" y="487743"/>
                    </a:moveTo>
                    <a:lnTo>
                      <a:pt x="4488053" y="487743"/>
                    </a:lnTo>
                    <a:lnTo>
                      <a:pt x="4488053" y="497992"/>
                    </a:lnTo>
                    <a:lnTo>
                      <a:pt x="4498302" y="497992"/>
                    </a:lnTo>
                    <a:lnTo>
                      <a:pt x="4498302" y="487743"/>
                    </a:lnTo>
                    <a:close/>
                  </a:path>
                  <a:path w="5543550" h="498475">
                    <a:moveTo>
                      <a:pt x="4559782" y="487743"/>
                    </a:moveTo>
                    <a:lnTo>
                      <a:pt x="4549533" y="487743"/>
                    </a:lnTo>
                    <a:lnTo>
                      <a:pt x="4549533" y="497992"/>
                    </a:lnTo>
                    <a:lnTo>
                      <a:pt x="4559782" y="497992"/>
                    </a:lnTo>
                    <a:lnTo>
                      <a:pt x="4559782" y="487743"/>
                    </a:lnTo>
                    <a:close/>
                  </a:path>
                  <a:path w="5543550" h="498475">
                    <a:moveTo>
                      <a:pt x="4621263" y="487743"/>
                    </a:moveTo>
                    <a:lnTo>
                      <a:pt x="4611014" y="487743"/>
                    </a:lnTo>
                    <a:lnTo>
                      <a:pt x="4611014" y="497992"/>
                    </a:lnTo>
                    <a:lnTo>
                      <a:pt x="4621263" y="497992"/>
                    </a:lnTo>
                    <a:lnTo>
                      <a:pt x="4621263" y="487743"/>
                    </a:lnTo>
                    <a:close/>
                  </a:path>
                  <a:path w="5543550" h="498475">
                    <a:moveTo>
                      <a:pt x="4682744" y="487743"/>
                    </a:moveTo>
                    <a:lnTo>
                      <a:pt x="4672495" y="487743"/>
                    </a:lnTo>
                    <a:lnTo>
                      <a:pt x="4672495" y="497992"/>
                    </a:lnTo>
                    <a:lnTo>
                      <a:pt x="4682744" y="497992"/>
                    </a:lnTo>
                    <a:lnTo>
                      <a:pt x="4682744" y="487743"/>
                    </a:lnTo>
                    <a:close/>
                  </a:path>
                  <a:path w="5543550" h="498475">
                    <a:moveTo>
                      <a:pt x="4744224" y="487743"/>
                    </a:moveTo>
                    <a:lnTo>
                      <a:pt x="4733976" y="487743"/>
                    </a:lnTo>
                    <a:lnTo>
                      <a:pt x="4733976" y="497992"/>
                    </a:lnTo>
                    <a:lnTo>
                      <a:pt x="4744224" y="497992"/>
                    </a:lnTo>
                    <a:lnTo>
                      <a:pt x="4744224" y="487743"/>
                    </a:lnTo>
                    <a:close/>
                  </a:path>
                  <a:path w="5543550" h="498475">
                    <a:moveTo>
                      <a:pt x="4805705" y="487743"/>
                    </a:moveTo>
                    <a:lnTo>
                      <a:pt x="4795456" y="487743"/>
                    </a:lnTo>
                    <a:lnTo>
                      <a:pt x="4795456" y="497992"/>
                    </a:lnTo>
                    <a:lnTo>
                      <a:pt x="4805705" y="497992"/>
                    </a:lnTo>
                    <a:lnTo>
                      <a:pt x="4805705" y="487743"/>
                    </a:lnTo>
                    <a:close/>
                  </a:path>
                  <a:path w="5543550" h="498475">
                    <a:moveTo>
                      <a:pt x="4867186" y="487743"/>
                    </a:moveTo>
                    <a:lnTo>
                      <a:pt x="4856937" y="487743"/>
                    </a:lnTo>
                    <a:lnTo>
                      <a:pt x="4856937" y="497992"/>
                    </a:lnTo>
                    <a:lnTo>
                      <a:pt x="4867186" y="497992"/>
                    </a:lnTo>
                    <a:lnTo>
                      <a:pt x="4867186" y="487743"/>
                    </a:lnTo>
                    <a:close/>
                  </a:path>
                  <a:path w="5543550" h="498475">
                    <a:moveTo>
                      <a:pt x="4928667" y="487743"/>
                    </a:moveTo>
                    <a:lnTo>
                      <a:pt x="4918418" y="487743"/>
                    </a:lnTo>
                    <a:lnTo>
                      <a:pt x="4918418" y="497992"/>
                    </a:lnTo>
                    <a:lnTo>
                      <a:pt x="4928667" y="497992"/>
                    </a:lnTo>
                    <a:lnTo>
                      <a:pt x="4928667" y="487743"/>
                    </a:lnTo>
                    <a:close/>
                  </a:path>
                  <a:path w="5543550" h="498475">
                    <a:moveTo>
                      <a:pt x="4990147" y="487743"/>
                    </a:moveTo>
                    <a:lnTo>
                      <a:pt x="4979898" y="487743"/>
                    </a:lnTo>
                    <a:lnTo>
                      <a:pt x="4979898" y="497992"/>
                    </a:lnTo>
                    <a:lnTo>
                      <a:pt x="4990147" y="497992"/>
                    </a:lnTo>
                    <a:lnTo>
                      <a:pt x="4990147" y="487743"/>
                    </a:lnTo>
                    <a:close/>
                  </a:path>
                  <a:path w="5543550" h="498475">
                    <a:moveTo>
                      <a:pt x="5051628" y="487743"/>
                    </a:moveTo>
                    <a:lnTo>
                      <a:pt x="5041379" y="487743"/>
                    </a:lnTo>
                    <a:lnTo>
                      <a:pt x="5041379" y="497992"/>
                    </a:lnTo>
                    <a:lnTo>
                      <a:pt x="5051628" y="497992"/>
                    </a:lnTo>
                    <a:lnTo>
                      <a:pt x="5051628" y="487743"/>
                    </a:lnTo>
                    <a:close/>
                  </a:path>
                  <a:path w="5543550" h="498475">
                    <a:moveTo>
                      <a:pt x="5113109" y="487743"/>
                    </a:moveTo>
                    <a:lnTo>
                      <a:pt x="5102860" y="487743"/>
                    </a:lnTo>
                    <a:lnTo>
                      <a:pt x="5102860" y="497992"/>
                    </a:lnTo>
                    <a:lnTo>
                      <a:pt x="5113109" y="497992"/>
                    </a:lnTo>
                    <a:lnTo>
                      <a:pt x="5113109" y="487743"/>
                    </a:lnTo>
                    <a:close/>
                  </a:path>
                  <a:path w="5543550" h="498475">
                    <a:moveTo>
                      <a:pt x="5174589" y="487743"/>
                    </a:moveTo>
                    <a:lnTo>
                      <a:pt x="5164340" y="487743"/>
                    </a:lnTo>
                    <a:lnTo>
                      <a:pt x="5164340" y="497992"/>
                    </a:lnTo>
                    <a:lnTo>
                      <a:pt x="5174589" y="497992"/>
                    </a:lnTo>
                    <a:lnTo>
                      <a:pt x="5174589" y="487743"/>
                    </a:lnTo>
                    <a:close/>
                  </a:path>
                  <a:path w="5543550" h="498475">
                    <a:moveTo>
                      <a:pt x="5236070" y="487743"/>
                    </a:moveTo>
                    <a:lnTo>
                      <a:pt x="5225821" y="487743"/>
                    </a:lnTo>
                    <a:lnTo>
                      <a:pt x="5225821" y="497992"/>
                    </a:lnTo>
                    <a:lnTo>
                      <a:pt x="5236070" y="497992"/>
                    </a:lnTo>
                    <a:lnTo>
                      <a:pt x="5236070" y="487743"/>
                    </a:lnTo>
                    <a:close/>
                  </a:path>
                  <a:path w="5543550" h="498475">
                    <a:moveTo>
                      <a:pt x="5297551" y="487743"/>
                    </a:moveTo>
                    <a:lnTo>
                      <a:pt x="5287302" y="487743"/>
                    </a:lnTo>
                    <a:lnTo>
                      <a:pt x="5287302" y="497992"/>
                    </a:lnTo>
                    <a:lnTo>
                      <a:pt x="5297551" y="497992"/>
                    </a:lnTo>
                    <a:lnTo>
                      <a:pt x="5297551" y="487743"/>
                    </a:lnTo>
                    <a:close/>
                  </a:path>
                  <a:path w="5543550" h="498475">
                    <a:moveTo>
                      <a:pt x="5359031" y="487743"/>
                    </a:moveTo>
                    <a:lnTo>
                      <a:pt x="5348783" y="487743"/>
                    </a:lnTo>
                    <a:lnTo>
                      <a:pt x="5348783" y="497992"/>
                    </a:lnTo>
                    <a:lnTo>
                      <a:pt x="5359031" y="497992"/>
                    </a:lnTo>
                    <a:lnTo>
                      <a:pt x="5359031" y="487743"/>
                    </a:lnTo>
                    <a:close/>
                  </a:path>
                  <a:path w="5543550" h="498475">
                    <a:moveTo>
                      <a:pt x="5420512" y="487743"/>
                    </a:moveTo>
                    <a:lnTo>
                      <a:pt x="5410263" y="487743"/>
                    </a:lnTo>
                    <a:lnTo>
                      <a:pt x="5410263" y="497992"/>
                    </a:lnTo>
                    <a:lnTo>
                      <a:pt x="5420512" y="497992"/>
                    </a:lnTo>
                    <a:lnTo>
                      <a:pt x="5420512" y="487743"/>
                    </a:lnTo>
                    <a:close/>
                  </a:path>
                  <a:path w="5543550" h="498475">
                    <a:moveTo>
                      <a:pt x="5481993" y="487743"/>
                    </a:moveTo>
                    <a:lnTo>
                      <a:pt x="5471744" y="487743"/>
                    </a:lnTo>
                    <a:lnTo>
                      <a:pt x="5471744" y="497992"/>
                    </a:lnTo>
                    <a:lnTo>
                      <a:pt x="5481993" y="497992"/>
                    </a:lnTo>
                    <a:lnTo>
                      <a:pt x="5481993" y="487743"/>
                    </a:lnTo>
                    <a:close/>
                  </a:path>
                  <a:path w="5543550" h="498475">
                    <a:moveTo>
                      <a:pt x="5543474" y="487743"/>
                    </a:moveTo>
                    <a:lnTo>
                      <a:pt x="5533225" y="487743"/>
                    </a:lnTo>
                    <a:lnTo>
                      <a:pt x="5533225" y="497992"/>
                    </a:lnTo>
                    <a:lnTo>
                      <a:pt x="5543474" y="497992"/>
                    </a:lnTo>
                    <a:lnTo>
                      <a:pt x="5543474" y="48774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2" name="object 272"/>
              <p:cNvSpPr/>
              <p:nvPr/>
            </p:nvSpPr>
            <p:spPr>
              <a:xfrm>
                <a:off x="643585" y="5651233"/>
                <a:ext cx="5543550" cy="498475"/>
              </a:xfrm>
              <a:custGeom>
                <a:avLst/>
                <a:gdLst/>
                <a:ahLst/>
                <a:cxnLst/>
                <a:rect l="l" t="t" r="r" b="b"/>
                <a:pathLst>
                  <a:path w="5543550" h="498475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48"/>
                    </a:lnTo>
                    <a:lnTo>
                      <a:pt x="10236" y="10248"/>
                    </a:lnTo>
                    <a:lnTo>
                      <a:pt x="10236" y="0"/>
                    </a:lnTo>
                    <a:close/>
                  </a:path>
                  <a:path w="5543550" h="498475">
                    <a:moveTo>
                      <a:pt x="71716" y="0"/>
                    </a:moveTo>
                    <a:lnTo>
                      <a:pt x="61480" y="0"/>
                    </a:lnTo>
                    <a:lnTo>
                      <a:pt x="61480" y="10248"/>
                    </a:lnTo>
                    <a:lnTo>
                      <a:pt x="71716" y="10248"/>
                    </a:lnTo>
                    <a:lnTo>
                      <a:pt x="71716" y="0"/>
                    </a:lnTo>
                    <a:close/>
                  </a:path>
                  <a:path w="5543550" h="498475">
                    <a:moveTo>
                      <a:pt x="133197" y="0"/>
                    </a:moveTo>
                    <a:lnTo>
                      <a:pt x="122948" y="0"/>
                    </a:lnTo>
                    <a:lnTo>
                      <a:pt x="122948" y="10248"/>
                    </a:lnTo>
                    <a:lnTo>
                      <a:pt x="133197" y="10248"/>
                    </a:lnTo>
                    <a:lnTo>
                      <a:pt x="133197" y="0"/>
                    </a:lnTo>
                    <a:close/>
                  </a:path>
                  <a:path w="5543550" h="498475">
                    <a:moveTo>
                      <a:pt x="194678" y="0"/>
                    </a:moveTo>
                    <a:lnTo>
                      <a:pt x="184429" y="0"/>
                    </a:lnTo>
                    <a:lnTo>
                      <a:pt x="184429" y="10248"/>
                    </a:lnTo>
                    <a:lnTo>
                      <a:pt x="194678" y="10248"/>
                    </a:lnTo>
                    <a:lnTo>
                      <a:pt x="194678" y="0"/>
                    </a:lnTo>
                    <a:close/>
                  </a:path>
                  <a:path w="5543550" h="498475">
                    <a:moveTo>
                      <a:pt x="256159" y="0"/>
                    </a:moveTo>
                    <a:lnTo>
                      <a:pt x="245910" y="0"/>
                    </a:lnTo>
                    <a:lnTo>
                      <a:pt x="245910" y="10248"/>
                    </a:lnTo>
                    <a:lnTo>
                      <a:pt x="256159" y="10248"/>
                    </a:lnTo>
                    <a:lnTo>
                      <a:pt x="256159" y="0"/>
                    </a:lnTo>
                    <a:close/>
                  </a:path>
                  <a:path w="5543550" h="498475">
                    <a:moveTo>
                      <a:pt x="317639" y="0"/>
                    </a:moveTo>
                    <a:lnTo>
                      <a:pt x="307390" y="0"/>
                    </a:lnTo>
                    <a:lnTo>
                      <a:pt x="307390" y="10248"/>
                    </a:lnTo>
                    <a:lnTo>
                      <a:pt x="317639" y="10248"/>
                    </a:lnTo>
                    <a:lnTo>
                      <a:pt x="317639" y="0"/>
                    </a:lnTo>
                    <a:close/>
                  </a:path>
                  <a:path w="5543550" h="498475">
                    <a:moveTo>
                      <a:pt x="379120" y="0"/>
                    </a:moveTo>
                    <a:lnTo>
                      <a:pt x="368871" y="0"/>
                    </a:lnTo>
                    <a:lnTo>
                      <a:pt x="368871" y="10248"/>
                    </a:lnTo>
                    <a:lnTo>
                      <a:pt x="379120" y="10248"/>
                    </a:lnTo>
                    <a:lnTo>
                      <a:pt x="379120" y="0"/>
                    </a:lnTo>
                    <a:close/>
                  </a:path>
                  <a:path w="5543550" h="498475">
                    <a:moveTo>
                      <a:pt x="440601" y="0"/>
                    </a:moveTo>
                    <a:lnTo>
                      <a:pt x="430352" y="0"/>
                    </a:lnTo>
                    <a:lnTo>
                      <a:pt x="430352" y="10248"/>
                    </a:lnTo>
                    <a:lnTo>
                      <a:pt x="440601" y="10248"/>
                    </a:lnTo>
                    <a:lnTo>
                      <a:pt x="440601" y="0"/>
                    </a:lnTo>
                    <a:close/>
                  </a:path>
                  <a:path w="5543550" h="498475">
                    <a:moveTo>
                      <a:pt x="502081" y="0"/>
                    </a:moveTo>
                    <a:lnTo>
                      <a:pt x="491832" y="0"/>
                    </a:lnTo>
                    <a:lnTo>
                      <a:pt x="491832" y="10248"/>
                    </a:lnTo>
                    <a:lnTo>
                      <a:pt x="502081" y="10248"/>
                    </a:lnTo>
                    <a:lnTo>
                      <a:pt x="502081" y="0"/>
                    </a:lnTo>
                    <a:close/>
                  </a:path>
                  <a:path w="5543550" h="498475">
                    <a:moveTo>
                      <a:pt x="563562" y="0"/>
                    </a:moveTo>
                    <a:lnTo>
                      <a:pt x="553313" y="0"/>
                    </a:lnTo>
                    <a:lnTo>
                      <a:pt x="553313" y="10248"/>
                    </a:lnTo>
                    <a:lnTo>
                      <a:pt x="563562" y="10248"/>
                    </a:lnTo>
                    <a:lnTo>
                      <a:pt x="563562" y="0"/>
                    </a:lnTo>
                    <a:close/>
                  </a:path>
                  <a:path w="5543550" h="498475">
                    <a:moveTo>
                      <a:pt x="625043" y="0"/>
                    </a:moveTo>
                    <a:lnTo>
                      <a:pt x="614794" y="0"/>
                    </a:lnTo>
                    <a:lnTo>
                      <a:pt x="614794" y="10248"/>
                    </a:lnTo>
                    <a:lnTo>
                      <a:pt x="625043" y="10248"/>
                    </a:lnTo>
                    <a:lnTo>
                      <a:pt x="625043" y="0"/>
                    </a:lnTo>
                    <a:close/>
                  </a:path>
                  <a:path w="5543550" h="498475">
                    <a:moveTo>
                      <a:pt x="686523" y="0"/>
                    </a:moveTo>
                    <a:lnTo>
                      <a:pt x="676275" y="0"/>
                    </a:lnTo>
                    <a:lnTo>
                      <a:pt x="676275" y="10248"/>
                    </a:lnTo>
                    <a:lnTo>
                      <a:pt x="686523" y="10248"/>
                    </a:lnTo>
                    <a:lnTo>
                      <a:pt x="686523" y="0"/>
                    </a:lnTo>
                    <a:close/>
                  </a:path>
                  <a:path w="5543550" h="498475">
                    <a:moveTo>
                      <a:pt x="748004" y="0"/>
                    </a:moveTo>
                    <a:lnTo>
                      <a:pt x="737755" y="0"/>
                    </a:lnTo>
                    <a:lnTo>
                      <a:pt x="737755" y="10248"/>
                    </a:lnTo>
                    <a:lnTo>
                      <a:pt x="748004" y="10248"/>
                    </a:lnTo>
                    <a:lnTo>
                      <a:pt x="748004" y="0"/>
                    </a:lnTo>
                    <a:close/>
                  </a:path>
                  <a:path w="5543550" h="498475">
                    <a:moveTo>
                      <a:pt x="809485" y="0"/>
                    </a:moveTo>
                    <a:lnTo>
                      <a:pt x="799236" y="0"/>
                    </a:lnTo>
                    <a:lnTo>
                      <a:pt x="799236" y="10248"/>
                    </a:lnTo>
                    <a:lnTo>
                      <a:pt x="809485" y="10248"/>
                    </a:lnTo>
                    <a:lnTo>
                      <a:pt x="809485" y="0"/>
                    </a:lnTo>
                    <a:close/>
                  </a:path>
                  <a:path w="5543550" h="498475">
                    <a:moveTo>
                      <a:pt x="870966" y="0"/>
                    </a:moveTo>
                    <a:lnTo>
                      <a:pt x="860717" y="0"/>
                    </a:lnTo>
                    <a:lnTo>
                      <a:pt x="860717" y="10248"/>
                    </a:lnTo>
                    <a:lnTo>
                      <a:pt x="870966" y="10248"/>
                    </a:lnTo>
                    <a:lnTo>
                      <a:pt x="870966" y="0"/>
                    </a:lnTo>
                    <a:close/>
                  </a:path>
                  <a:path w="5543550" h="498475">
                    <a:moveTo>
                      <a:pt x="932446" y="0"/>
                    </a:moveTo>
                    <a:lnTo>
                      <a:pt x="922197" y="0"/>
                    </a:lnTo>
                    <a:lnTo>
                      <a:pt x="922197" y="10248"/>
                    </a:lnTo>
                    <a:lnTo>
                      <a:pt x="932446" y="10248"/>
                    </a:lnTo>
                    <a:lnTo>
                      <a:pt x="932446" y="0"/>
                    </a:lnTo>
                    <a:close/>
                  </a:path>
                  <a:path w="5543550" h="498475">
                    <a:moveTo>
                      <a:pt x="993927" y="0"/>
                    </a:moveTo>
                    <a:lnTo>
                      <a:pt x="983678" y="0"/>
                    </a:lnTo>
                    <a:lnTo>
                      <a:pt x="983678" y="10248"/>
                    </a:lnTo>
                    <a:lnTo>
                      <a:pt x="993927" y="10248"/>
                    </a:lnTo>
                    <a:lnTo>
                      <a:pt x="993927" y="0"/>
                    </a:lnTo>
                    <a:close/>
                  </a:path>
                  <a:path w="5543550" h="498475">
                    <a:moveTo>
                      <a:pt x="1055408" y="0"/>
                    </a:moveTo>
                    <a:lnTo>
                      <a:pt x="1045159" y="0"/>
                    </a:lnTo>
                    <a:lnTo>
                      <a:pt x="1045159" y="10248"/>
                    </a:lnTo>
                    <a:lnTo>
                      <a:pt x="1055408" y="10248"/>
                    </a:lnTo>
                    <a:lnTo>
                      <a:pt x="1055408" y="0"/>
                    </a:lnTo>
                    <a:close/>
                  </a:path>
                  <a:path w="5543550" h="498475">
                    <a:moveTo>
                      <a:pt x="1116888" y="0"/>
                    </a:moveTo>
                    <a:lnTo>
                      <a:pt x="1106639" y="0"/>
                    </a:lnTo>
                    <a:lnTo>
                      <a:pt x="1106639" y="10248"/>
                    </a:lnTo>
                    <a:lnTo>
                      <a:pt x="1116888" y="10248"/>
                    </a:lnTo>
                    <a:lnTo>
                      <a:pt x="1116888" y="0"/>
                    </a:lnTo>
                    <a:close/>
                  </a:path>
                  <a:path w="5543550" h="498475">
                    <a:moveTo>
                      <a:pt x="1178369" y="0"/>
                    </a:moveTo>
                    <a:lnTo>
                      <a:pt x="1168120" y="0"/>
                    </a:lnTo>
                    <a:lnTo>
                      <a:pt x="1168120" y="10248"/>
                    </a:lnTo>
                    <a:lnTo>
                      <a:pt x="1178369" y="10248"/>
                    </a:lnTo>
                    <a:lnTo>
                      <a:pt x="1178369" y="0"/>
                    </a:lnTo>
                    <a:close/>
                  </a:path>
                  <a:path w="5543550" h="498475">
                    <a:moveTo>
                      <a:pt x="1239850" y="0"/>
                    </a:moveTo>
                    <a:lnTo>
                      <a:pt x="1229601" y="0"/>
                    </a:lnTo>
                    <a:lnTo>
                      <a:pt x="1229601" y="10248"/>
                    </a:lnTo>
                    <a:lnTo>
                      <a:pt x="1239850" y="10248"/>
                    </a:lnTo>
                    <a:lnTo>
                      <a:pt x="1239850" y="0"/>
                    </a:lnTo>
                    <a:close/>
                  </a:path>
                  <a:path w="5543550" h="498475">
                    <a:moveTo>
                      <a:pt x="1301330" y="0"/>
                    </a:moveTo>
                    <a:lnTo>
                      <a:pt x="1291082" y="0"/>
                    </a:lnTo>
                    <a:lnTo>
                      <a:pt x="1291082" y="10248"/>
                    </a:lnTo>
                    <a:lnTo>
                      <a:pt x="1301330" y="10248"/>
                    </a:lnTo>
                    <a:lnTo>
                      <a:pt x="1301330" y="0"/>
                    </a:lnTo>
                    <a:close/>
                  </a:path>
                  <a:path w="5543550" h="498475">
                    <a:moveTo>
                      <a:pt x="1362811" y="0"/>
                    </a:moveTo>
                    <a:lnTo>
                      <a:pt x="1352562" y="0"/>
                    </a:lnTo>
                    <a:lnTo>
                      <a:pt x="1352562" y="10248"/>
                    </a:lnTo>
                    <a:lnTo>
                      <a:pt x="1362811" y="10248"/>
                    </a:lnTo>
                    <a:lnTo>
                      <a:pt x="1362811" y="0"/>
                    </a:lnTo>
                    <a:close/>
                  </a:path>
                  <a:path w="5543550" h="498475">
                    <a:moveTo>
                      <a:pt x="1424292" y="0"/>
                    </a:moveTo>
                    <a:lnTo>
                      <a:pt x="1414043" y="0"/>
                    </a:lnTo>
                    <a:lnTo>
                      <a:pt x="1414043" y="10248"/>
                    </a:lnTo>
                    <a:lnTo>
                      <a:pt x="1424292" y="10248"/>
                    </a:lnTo>
                    <a:lnTo>
                      <a:pt x="1424292" y="0"/>
                    </a:lnTo>
                    <a:close/>
                  </a:path>
                  <a:path w="5543550" h="498475">
                    <a:moveTo>
                      <a:pt x="1485773" y="0"/>
                    </a:moveTo>
                    <a:lnTo>
                      <a:pt x="1475524" y="0"/>
                    </a:lnTo>
                    <a:lnTo>
                      <a:pt x="1475524" y="10248"/>
                    </a:lnTo>
                    <a:lnTo>
                      <a:pt x="1485773" y="10248"/>
                    </a:lnTo>
                    <a:lnTo>
                      <a:pt x="1485773" y="0"/>
                    </a:lnTo>
                    <a:close/>
                  </a:path>
                  <a:path w="5543550" h="498475">
                    <a:moveTo>
                      <a:pt x="1547253" y="0"/>
                    </a:moveTo>
                    <a:lnTo>
                      <a:pt x="1537004" y="0"/>
                    </a:lnTo>
                    <a:lnTo>
                      <a:pt x="1537004" y="10248"/>
                    </a:lnTo>
                    <a:lnTo>
                      <a:pt x="1547253" y="10248"/>
                    </a:lnTo>
                    <a:lnTo>
                      <a:pt x="1547253" y="0"/>
                    </a:lnTo>
                    <a:close/>
                  </a:path>
                  <a:path w="5543550" h="498475">
                    <a:moveTo>
                      <a:pt x="1608734" y="0"/>
                    </a:moveTo>
                    <a:lnTo>
                      <a:pt x="1598485" y="0"/>
                    </a:lnTo>
                    <a:lnTo>
                      <a:pt x="1598485" y="10248"/>
                    </a:lnTo>
                    <a:lnTo>
                      <a:pt x="1608734" y="10248"/>
                    </a:lnTo>
                    <a:lnTo>
                      <a:pt x="1608734" y="0"/>
                    </a:lnTo>
                    <a:close/>
                  </a:path>
                  <a:path w="5543550" h="498475">
                    <a:moveTo>
                      <a:pt x="1670215" y="0"/>
                    </a:moveTo>
                    <a:lnTo>
                      <a:pt x="1659966" y="0"/>
                    </a:lnTo>
                    <a:lnTo>
                      <a:pt x="1659966" y="10248"/>
                    </a:lnTo>
                    <a:lnTo>
                      <a:pt x="1670215" y="10248"/>
                    </a:lnTo>
                    <a:lnTo>
                      <a:pt x="1670215" y="0"/>
                    </a:lnTo>
                    <a:close/>
                  </a:path>
                  <a:path w="5543550" h="498475">
                    <a:moveTo>
                      <a:pt x="1731695" y="0"/>
                    </a:moveTo>
                    <a:lnTo>
                      <a:pt x="1721446" y="0"/>
                    </a:lnTo>
                    <a:lnTo>
                      <a:pt x="1721446" y="10248"/>
                    </a:lnTo>
                    <a:lnTo>
                      <a:pt x="1731695" y="10248"/>
                    </a:lnTo>
                    <a:lnTo>
                      <a:pt x="1731695" y="0"/>
                    </a:lnTo>
                    <a:close/>
                  </a:path>
                  <a:path w="5543550" h="498475">
                    <a:moveTo>
                      <a:pt x="3022777" y="487743"/>
                    </a:moveTo>
                    <a:lnTo>
                      <a:pt x="3012529" y="487743"/>
                    </a:lnTo>
                    <a:lnTo>
                      <a:pt x="3012529" y="497992"/>
                    </a:lnTo>
                    <a:lnTo>
                      <a:pt x="3022777" y="497992"/>
                    </a:lnTo>
                    <a:lnTo>
                      <a:pt x="3022777" y="487743"/>
                    </a:lnTo>
                    <a:close/>
                  </a:path>
                  <a:path w="5543550" h="498475">
                    <a:moveTo>
                      <a:pt x="3084258" y="487743"/>
                    </a:moveTo>
                    <a:lnTo>
                      <a:pt x="3074009" y="487743"/>
                    </a:lnTo>
                    <a:lnTo>
                      <a:pt x="3074009" y="497992"/>
                    </a:lnTo>
                    <a:lnTo>
                      <a:pt x="3084258" y="497992"/>
                    </a:lnTo>
                    <a:lnTo>
                      <a:pt x="3084258" y="487743"/>
                    </a:lnTo>
                    <a:close/>
                  </a:path>
                  <a:path w="5543550" h="498475">
                    <a:moveTo>
                      <a:pt x="3145739" y="487743"/>
                    </a:moveTo>
                    <a:lnTo>
                      <a:pt x="3135490" y="487743"/>
                    </a:lnTo>
                    <a:lnTo>
                      <a:pt x="3135490" y="497992"/>
                    </a:lnTo>
                    <a:lnTo>
                      <a:pt x="3145739" y="497992"/>
                    </a:lnTo>
                    <a:lnTo>
                      <a:pt x="3145739" y="487743"/>
                    </a:lnTo>
                    <a:close/>
                  </a:path>
                  <a:path w="5543550" h="498475">
                    <a:moveTo>
                      <a:pt x="3207220" y="487743"/>
                    </a:moveTo>
                    <a:lnTo>
                      <a:pt x="3196971" y="487743"/>
                    </a:lnTo>
                    <a:lnTo>
                      <a:pt x="3196971" y="497992"/>
                    </a:lnTo>
                    <a:lnTo>
                      <a:pt x="3207220" y="497992"/>
                    </a:lnTo>
                    <a:lnTo>
                      <a:pt x="3207220" y="487743"/>
                    </a:lnTo>
                    <a:close/>
                  </a:path>
                  <a:path w="5543550" h="498475">
                    <a:moveTo>
                      <a:pt x="3268700" y="487743"/>
                    </a:moveTo>
                    <a:lnTo>
                      <a:pt x="3258451" y="487743"/>
                    </a:lnTo>
                    <a:lnTo>
                      <a:pt x="3258451" y="497992"/>
                    </a:lnTo>
                    <a:lnTo>
                      <a:pt x="3268700" y="497992"/>
                    </a:lnTo>
                    <a:lnTo>
                      <a:pt x="3268700" y="487743"/>
                    </a:lnTo>
                    <a:close/>
                  </a:path>
                  <a:path w="5543550" h="498475">
                    <a:moveTo>
                      <a:pt x="3330181" y="487743"/>
                    </a:moveTo>
                    <a:lnTo>
                      <a:pt x="3319932" y="487743"/>
                    </a:lnTo>
                    <a:lnTo>
                      <a:pt x="3319932" y="497992"/>
                    </a:lnTo>
                    <a:lnTo>
                      <a:pt x="3330181" y="497992"/>
                    </a:lnTo>
                    <a:lnTo>
                      <a:pt x="3330181" y="487743"/>
                    </a:lnTo>
                    <a:close/>
                  </a:path>
                  <a:path w="5543550" h="498475">
                    <a:moveTo>
                      <a:pt x="3391662" y="487743"/>
                    </a:moveTo>
                    <a:lnTo>
                      <a:pt x="3381413" y="487743"/>
                    </a:lnTo>
                    <a:lnTo>
                      <a:pt x="3381413" y="497992"/>
                    </a:lnTo>
                    <a:lnTo>
                      <a:pt x="3391662" y="497992"/>
                    </a:lnTo>
                    <a:lnTo>
                      <a:pt x="3391662" y="487743"/>
                    </a:lnTo>
                    <a:close/>
                  </a:path>
                  <a:path w="5543550" h="498475">
                    <a:moveTo>
                      <a:pt x="3453142" y="487743"/>
                    </a:moveTo>
                    <a:lnTo>
                      <a:pt x="3442893" y="487743"/>
                    </a:lnTo>
                    <a:lnTo>
                      <a:pt x="3442893" y="497992"/>
                    </a:lnTo>
                    <a:lnTo>
                      <a:pt x="3453142" y="497992"/>
                    </a:lnTo>
                    <a:lnTo>
                      <a:pt x="3453142" y="487743"/>
                    </a:lnTo>
                    <a:close/>
                  </a:path>
                  <a:path w="5543550" h="498475">
                    <a:moveTo>
                      <a:pt x="3514623" y="487743"/>
                    </a:moveTo>
                    <a:lnTo>
                      <a:pt x="3504374" y="487743"/>
                    </a:lnTo>
                    <a:lnTo>
                      <a:pt x="3504374" y="497992"/>
                    </a:lnTo>
                    <a:lnTo>
                      <a:pt x="3514623" y="497992"/>
                    </a:lnTo>
                    <a:lnTo>
                      <a:pt x="3514623" y="487743"/>
                    </a:lnTo>
                    <a:close/>
                  </a:path>
                  <a:path w="5543550" h="498475">
                    <a:moveTo>
                      <a:pt x="3576104" y="487743"/>
                    </a:moveTo>
                    <a:lnTo>
                      <a:pt x="3565855" y="487743"/>
                    </a:lnTo>
                    <a:lnTo>
                      <a:pt x="3565855" y="497992"/>
                    </a:lnTo>
                    <a:lnTo>
                      <a:pt x="3576104" y="497992"/>
                    </a:lnTo>
                    <a:lnTo>
                      <a:pt x="3576104" y="487743"/>
                    </a:lnTo>
                    <a:close/>
                  </a:path>
                  <a:path w="5543550" h="498475">
                    <a:moveTo>
                      <a:pt x="3637584" y="487743"/>
                    </a:moveTo>
                    <a:lnTo>
                      <a:pt x="3627336" y="487743"/>
                    </a:lnTo>
                    <a:lnTo>
                      <a:pt x="3627336" y="497992"/>
                    </a:lnTo>
                    <a:lnTo>
                      <a:pt x="3637584" y="497992"/>
                    </a:lnTo>
                    <a:lnTo>
                      <a:pt x="3637584" y="487743"/>
                    </a:lnTo>
                    <a:close/>
                  </a:path>
                  <a:path w="5543550" h="498475">
                    <a:moveTo>
                      <a:pt x="3699065" y="487743"/>
                    </a:moveTo>
                    <a:lnTo>
                      <a:pt x="3688816" y="487743"/>
                    </a:lnTo>
                    <a:lnTo>
                      <a:pt x="3688816" y="497992"/>
                    </a:lnTo>
                    <a:lnTo>
                      <a:pt x="3699065" y="497992"/>
                    </a:lnTo>
                    <a:lnTo>
                      <a:pt x="3699065" y="487743"/>
                    </a:lnTo>
                    <a:close/>
                  </a:path>
                  <a:path w="5543550" h="498475">
                    <a:moveTo>
                      <a:pt x="3760546" y="487743"/>
                    </a:moveTo>
                    <a:lnTo>
                      <a:pt x="3750297" y="487743"/>
                    </a:lnTo>
                    <a:lnTo>
                      <a:pt x="3750297" y="497992"/>
                    </a:lnTo>
                    <a:lnTo>
                      <a:pt x="3760546" y="497992"/>
                    </a:lnTo>
                    <a:lnTo>
                      <a:pt x="3760546" y="487743"/>
                    </a:lnTo>
                    <a:close/>
                  </a:path>
                  <a:path w="5543550" h="498475">
                    <a:moveTo>
                      <a:pt x="3822027" y="487743"/>
                    </a:moveTo>
                    <a:lnTo>
                      <a:pt x="3811778" y="487743"/>
                    </a:lnTo>
                    <a:lnTo>
                      <a:pt x="3811778" y="497992"/>
                    </a:lnTo>
                    <a:lnTo>
                      <a:pt x="3822027" y="497992"/>
                    </a:lnTo>
                    <a:lnTo>
                      <a:pt x="3822027" y="487743"/>
                    </a:lnTo>
                    <a:close/>
                  </a:path>
                  <a:path w="5543550" h="498475">
                    <a:moveTo>
                      <a:pt x="3883507" y="487743"/>
                    </a:moveTo>
                    <a:lnTo>
                      <a:pt x="3873258" y="487743"/>
                    </a:lnTo>
                    <a:lnTo>
                      <a:pt x="3873258" y="497992"/>
                    </a:lnTo>
                    <a:lnTo>
                      <a:pt x="3883507" y="497992"/>
                    </a:lnTo>
                    <a:lnTo>
                      <a:pt x="3883507" y="487743"/>
                    </a:lnTo>
                    <a:close/>
                  </a:path>
                  <a:path w="5543550" h="498475">
                    <a:moveTo>
                      <a:pt x="3944988" y="487743"/>
                    </a:moveTo>
                    <a:lnTo>
                      <a:pt x="3934739" y="487743"/>
                    </a:lnTo>
                    <a:lnTo>
                      <a:pt x="3934739" y="497992"/>
                    </a:lnTo>
                    <a:lnTo>
                      <a:pt x="3944988" y="497992"/>
                    </a:lnTo>
                    <a:lnTo>
                      <a:pt x="3944988" y="487743"/>
                    </a:lnTo>
                    <a:close/>
                  </a:path>
                  <a:path w="5543550" h="498475">
                    <a:moveTo>
                      <a:pt x="4006469" y="487743"/>
                    </a:moveTo>
                    <a:lnTo>
                      <a:pt x="3996220" y="487743"/>
                    </a:lnTo>
                    <a:lnTo>
                      <a:pt x="3996220" y="497992"/>
                    </a:lnTo>
                    <a:lnTo>
                      <a:pt x="4006469" y="497992"/>
                    </a:lnTo>
                    <a:lnTo>
                      <a:pt x="4006469" y="487743"/>
                    </a:lnTo>
                    <a:close/>
                  </a:path>
                  <a:path w="5543550" h="498475">
                    <a:moveTo>
                      <a:pt x="4067937" y="487743"/>
                    </a:moveTo>
                    <a:lnTo>
                      <a:pt x="4057700" y="487743"/>
                    </a:lnTo>
                    <a:lnTo>
                      <a:pt x="4057700" y="497992"/>
                    </a:lnTo>
                    <a:lnTo>
                      <a:pt x="4067937" y="497992"/>
                    </a:lnTo>
                    <a:lnTo>
                      <a:pt x="4067937" y="487743"/>
                    </a:lnTo>
                    <a:close/>
                  </a:path>
                  <a:path w="5543550" h="498475">
                    <a:moveTo>
                      <a:pt x="4129417" y="487743"/>
                    </a:moveTo>
                    <a:lnTo>
                      <a:pt x="4119181" y="487743"/>
                    </a:lnTo>
                    <a:lnTo>
                      <a:pt x="4119181" y="497992"/>
                    </a:lnTo>
                    <a:lnTo>
                      <a:pt x="4129417" y="497992"/>
                    </a:lnTo>
                    <a:lnTo>
                      <a:pt x="4129417" y="487743"/>
                    </a:lnTo>
                    <a:close/>
                  </a:path>
                  <a:path w="5543550" h="498475">
                    <a:moveTo>
                      <a:pt x="4190898" y="487743"/>
                    </a:moveTo>
                    <a:lnTo>
                      <a:pt x="4180662" y="487743"/>
                    </a:lnTo>
                    <a:lnTo>
                      <a:pt x="4180662" y="497992"/>
                    </a:lnTo>
                    <a:lnTo>
                      <a:pt x="4190898" y="497992"/>
                    </a:lnTo>
                    <a:lnTo>
                      <a:pt x="4190898" y="487743"/>
                    </a:lnTo>
                    <a:close/>
                  </a:path>
                  <a:path w="5543550" h="498475">
                    <a:moveTo>
                      <a:pt x="4252379" y="487743"/>
                    </a:moveTo>
                    <a:lnTo>
                      <a:pt x="4242143" y="487743"/>
                    </a:lnTo>
                    <a:lnTo>
                      <a:pt x="4242143" y="497992"/>
                    </a:lnTo>
                    <a:lnTo>
                      <a:pt x="4252379" y="497992"/>
                    </a:lnTo>
                    <a:lnTo>
                      <a:pt x="4252379" y="487743"/>
                    </a:lnTo>
                    <a:close/>
                  </a:path>
                  <a:path w="5543550" h="498475">
                    <a:moveTo>
                      <a:pt x="4313860" y="487743"/>
                    </a:moveTo>
                    <a:lnTo>
                      <a:pt x="4303623" y="487743"/>
                    </a:lnTo>
                    <a:lnTo>
                      <a:pt x="4303623" y="497992"/>
                    </a:lnTo>
                    <a:lnTo>
                      <a:pt x="4313860" y="497992"/>
                    </a:lnTo>
                    <a:lnTo>
                      <a:pt x="4313860" y="487743"/>
                    </a:lnTo>
                    <a:close/>
                  </a:path>
                  <a:path w="5543550" h="498475">
                    <a:moveTo>
                      <a:pt x="4375340" y="487743"/>
                    </a:moveTo>
                    <a:lnTo>
                      <a:pt x="4365104" y="487743"/>
                    </a:lnTo>
                    <a:lnTo>
                      <a:pt x="4365104" y="497992"/>
                    </a:lnTo>
                    <a:lnTo>
                      <a:pt x="4375340" y="497992"/>
                    </a:lnTo>
                    <a:lnTo>
                      <a:pt x="4375340" y="487743"/>
                    </a:lnTo>
                    <a:close/>
                  </a:path>
                  <a:path w="5543550" h="498475">
                    <a:moveTo>
                      <a:pt x="4436821" y="487743"/>
                    </a:moveTo>
                    <a:lnTo>
                      <a:pt x="4426572" y="487743"/>
                    </a:lnTo>
                    <a:lnTo>
                      <a:pt x="4426572" y="497992"/>
                    </a:lnTo>
                    <a:lnTo>
                      <a:pt x="4436821" y="497992"/>
                    </a:lnTo>
                    <a:lnTo>
                      <a:pt x="4436821" y="487743"/>
                    </a:lnTo>
                    <a:close/>
                  </a:path>
                  <a:path w="5543550" h="498475">
                    <a:moveTo>
                      <a:pt x="4498302" y="487743"/>
                    </a:moveTo>
                    <a:lnTo>
                      <a:pt x="4488053" y="487743"/>
                    </a:lnTo>
                    <a:lnTo>
                      <a:pt x="4488053" y="497992"/>
                    </a:lnTo>
                    <a:lnTo>
                      <a:pt x="4498302" y="497992"/>
                    </a:lnTo>
                    <a:lnTo>
                      <a:pt x="4498302" y="487743"/>
                    </a:lnTo>
                    <a:close/>
                  </a:path>
                  <a:path w="5543550" h="498475">
                    <a:moveTo>
                      <a:pt x="4559782" y="487743"/>
                    </a:moveTo>
                    <a:lnTo>
                      <a:pt x="4549533" y="487743"/>
                    </a:lnTo>
                    <a:lnTo>
                      <a:pt x="4549533" y="497992"/>
                    </a:lnTo>
                    <a:lnTo>
                      <a:pt x="4559782" y="497992"/>
                    </a:lnTo>
                    <a:lnTo>
                      <a:pt x="4559782" y="487743"/>
                    </a:lnTo>
                    <a:close/>
                  </a:path>
                  <a:path w="5543550" h="498475">
                    <a:moveTo>
                      <a:pt x="4621263" y="487743"/>
                    </a:moveTo>
                    <a:lnTo>
                      <a:pt x="4611014" y="487743"/>
                    </a:lnTo>
                    <a:lnTo>
                      <a:pt x="4611014" y="497992"/>
                    </a:lnTo>
                    <a:lnTo>
                      <a:pt x="4621263" y="497992"/>
                    </a:lnTo>
                    <a:lnTo>
                      <a:pt x="4621263" y="487743"/>
                    </a:lnTo>
                    <a:close/>
                  </a:path>
                  <a:path w="5543550" h="498475">
                    <a:moveTo>
                      <a:pt x="4682744" y="487743"/>
                    </a:moveTo>
                    <a:lnTo>
                      <a:pt x="4672495" y="487743"/>
                    </a:lnTo>
                    <a:lnTo>
                      <a:pt x="4672495" y="497992"/>
                    </a:lnTo>
                    <a:lnTo>
                      <a:pt x="4682744" y="497992"/>
                    </a:lnTo>
                    <a:lnTo>
                      <a:pt x="4682744" y="487743"/>
                    </a:lnTo>
                    <a:close/>
                  </a:path>
                  <a:path w="5543550" h="498475">
                    <a:moveTo>
                      <a:pt x="4744224" y="487743"/>
                    </a:moveTo>
                    <a:lnTo>
                      <a:pt x="4733976" y="487743"/>
                    </a:lnTo>
                    <a:lnTo>
                      <a:pt x="4733976" y="497992"/>
                    </a:lnTo>
                    <a:lnTo>
                      <a:pt x="4744224" y="497992"/>
                    </a:lnTo>
                    <a:lnTo>
                      <a:pt x="4744224" y="487743"/>
                    </a:lnTo>
                    <a:close/>
                  </a:path>
                  <a:path w="5543550" h="498475">
                    <a:moveTo>
                      <a:pt x="4805705" y="487743"/>
                    </a:moveTo>
                    <a:lnTo>
                      <a:pt x="4795456" y="487743"/>
                    </a:lnTo>
                    <a:lnTo>
                      <a:pt x="4795456" y="497992"/>
                    </a:lnTo>
                    <a:lnTo>
                      <a:pt x="4805705" y="497992"/>
                    </a:lnTo>
                    <a:lnTo>
                      <a:pt x="4805705" y="487743"/>
                    </a:lnTo>
                    <a:close/>
                  </a:path>
                  <a:path w="5543550" h="498475">
                    <a:moveTo>
                      <a:pt x="4867186" y="487743"/>
                    </a:moveTo>
                    <a:lnTo>
                      <a:pt x="4856937" y="487743"/>
                    </a:lnTo>
                    <a:lnTo>
                      <a:pt x="4856937" y="497992"/>
                    </a:lnTo>
                    <a:lnTo>
                      <a:pt x="4867186" y="497992"/>
                    </a:lnTo>
                    <a:lnTo>
                      <a:pt x="4867186" y="487743"/>
                    </a:lnTo>
                    <a:close/>
                  </a:path>
                  <a:path w="5543550" h="498475">
                    <a:moveTo>
                      <a:pt x="4928667" y="487743"/>
                    </a:moveTo>
                    <a:lnTo>
                      <a:pt x="4918418" y="487743"/>
                    </a:lnTo>
                    <a:lnTo>
                      <a:pt x="4918418" y="497992"/>
                    </a:lnTo>
                    <a:lnTo>
                      <a:pt x="4928667" y="497992"/>
                    </a:lnTo>
                    <a:lnTo>
                      <a:pt x="4928667" y="487743"/>
                    </a:lnTo>
                    <a:close/>
                  </a:path>
                  <a:path w="5543550" h="498475">
                    <a:moveTo>
                      <a:pt x="4990147" y="487743"/>
                    </a:moveTo>
                    <a:lnTo>
                      <a:pt x="4979898" y="487743"/>
                    </a:lnTo>
                    <a:lnTo>
                      <a:pt x="4979898" y="497992"/>
                    </a:lnTo>
                    <a:lnTo>
                      <a:pt x="4990147" y="497992"/>
                    </a:lnTo>
                    <a:lnTo>
                      <a:pt x="4990147" y="487743"/>
                    </a:lnTo>
                    <a:close/>
                  </a:path>
                  <a:path w="5543550" h="498475">
                    <a:moveTo>
                      <a:pt x="5051628" y="487743"/>
                    </a:moveTo>
                    <a:lnTo>
                      <a:pt x="5041379" y="487743"/>
                    </a:lnTo>
                    <a:lnTo>
                      <a:pt x="5041379" y="497992"/>
                    </a:lnTo>
                    <a:lnTo>
                      <a:pt x="5051628" y="497992"/>
                    </a:lnTo>
                    <a:lnTo>
                      <a:pt x="5051628" y="487743"/>
                    </a:lnTo>
                    <a:close/>
                  </a:path>
                  <a:path w="5543550" h="498475">
                    <a:moveTo>
                      <a:pt x="5113109" y="487743"/>
                    </a:moveTo>
                    <a:lnTo>
                      <a:pt x="5102860" y="487743"/>
                    </a:lnTo>
                    <a:lnTo>
                      <a:pt x="5102860" y="497992"/>
                    </a:lnTo>
                    <a:lnTo>
                      <a:pt x="5113109" y="497992"/>
                    </a:lnTo>
                    <a:lnTo>
                      <a:pt x="5113109" y="487743"/>
                    </a:lnTo>
                    <a:close/>
                  </a:path>
                  <a:path w="5543550" h="498475">
                    <a:moveTo>
                      <a:pt x="5174589" y="487743"/>
                    </a:moveTo>
                    <a:lnTo>
                      <a:pt x="5164340" y="487743"/>
                    </a:lnTo>
                    <a:lnTo>
                      <a:pt x="5164340" y="497992"/>
                    </a:lnTo>
                    <a:lnTo>
                      <a:pt x="5174589" y="497992"/>
                    </a:lnTo>
                    <a:lnTo>
                      <a:pt x="5174589" y="487743"/>
                    </a:lnTo>
                    <a:close/>
                  </a:path>
                  <a:path w="5543550" h="498475">
                    <a:moveTo>
                      <a:pt x="5236070" y="487743"/>
                    </a:moveTo>
                    <a:lnTo>
                      <a:pt x="5225821" y="487743"/>
                    </a:lnTo>
                    <a:lnTo>
                      <a:pt x="5225821" y="497992"/>
                    </a:lnTo>
                    <a:lnTo>
                      <a:pt x="5236070" y="497992"/>
                    </a:lnTo>
                    <a:lnTo>
                      <a:pt x="5236070" y="487743"/>
                    </a:lnTo>
                    <a:close/>
                  </a:path>
                  <a:path w="5543550" h="498475">
                    <a:moveTo>
                      <a:pt x="5297551" y="487743"/>
                    </a:moveTo>
                    <a:lnTo>
                      <a:pt x="5287302" y="487743"/>
                    </a:lnTo>
                    <a:lnTo>
                      <a:pt x="5287302" y="497992"/>
                    </a:lnTo>
                    <a:lnTo>
                      <a:pt x="5297551" y="497992"/>
                    </a:lnTo>
                    <a:lnTo>
                      <a:pt x="5297551" y="487743"/>
                    </a:lnTo>
                    <a:close/>
                  </a:path>
                  <a:path w="5543550" h="498475">
                    <a:moveTo>
                      <a:pt x="5359031" y="487743"/>
                    </a:moveTo>
                    <a:lnTo>
                      <a:pt x="5348783" y="487743"/>
                    </a:lnTo>
                    <a:lnTo>
                      <a:pt x="5348783" y="497992"/>
                    </a:lnTo>
                    <a:lnTo>
                      <a:pt x="5359031" y="497992"/>
                    </a:lnTo>
                    <a:lnTo>
                      <a:pt x="5359031" y="487743"/>
                    </a:lnTo>
                    <a:close/>
                  </a:path>
                  <a:path w="5543550" h="498475">
                    <a:moveTo>
                      <a:pt x="5420512" y="487743"/>
                    </a:moveTo>
                    <a:lnTo>
                      <a:pt x="5410263" y="487743"/>
                    </a:lnTo>
                    <a:lnTo>
                      <a:pt x="5410263" y="497992"/>
                    </a:lnTo>
                    <a:lnTo>
                      <a:pt x="5420512" y="497992"/>
                    </a:lnTo>
                    <a:lnTo>
                      <a:pt x="5420512" y="487743"/>
                    </a:lnTo>
                    <a:close/>
                  </a:path>
                  <a:path w="5543550" h="498475">
                    <a:moveTo>
                      <a:pt x="5481993" y="487743"/>
                    </a:moveTo>
                    <a:lnTo>
                      <a:pt x="5471744" y="487743"/>
                    </a:lnTo>
                    <a:lnTo>
                      <a:pt x="5471744" y="497992"/>
                    </a:lnTo>
                    <a:lnTo>
                      <a:pt x="5481993" y="497992"/>
                    </a:lnTo>
                    <a:lnTo>
                      <a:pt x="5481993" y="487743"/>
                    </a:lnTo>
                    <a:close/>
                  </a:path>
                  <a:path w="5543550" h="498475">
                    <a:moveTo>
                      <a:pt x="5543474" y="487743"/>
                    </a:moveTo>
                    <a:lnTo>
                      <a:pt x="5533225" y="487743"/>
                    </a:lnTo>
                    <a:lnTo>
                      <a:pt x="5533225" y="497992"/>
                    </a:lnTo>
                    <a:lnTo>
                      <a:pt x="5543474" y="497992"/>
                    </a:lnTo>
                    <a:lnTo>
                      <a:pt x="5543474" y="48774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3" name="object 273"/>
              <p:cNvSpPr/>
              <p:nvPr/>
            </p:nvSpPr>
            <p:spPr>
              <a:xfrm>
                <a:off x="643585" y="5163502"/>
                <a:ext cx="5543550" cy="498475"/>
              </a:xfrm>
              <a:custGeom>
                <a:avLst/>
                <a:gdLst/>
                <a:ahLst/>
                <a:cxnLst/>
                <a:rect l="l" t="t" r="r" b="b"/>
                <a:pathLst>
                  <a:path w="5543550" h="498475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36" y="10236"/>
                    </a:lnTo>
                    <a:lnTo>
                      <a:pt x="10236" y="0"/>
                    </a:lnTo>
                    <a:close/>
                  </a:path>
                  <a:path w="5543550" h="498475">
                    <a:moveTo>
                      <a:pt x="71716" y="0"/>
                    </a:moveTo>
                    <a:lnTo>
                      <a:pt x="61480" y="0"/>
                    </a:lnTo>
                    <a:lnTo>
                      <a:pt x="61480" y="10236"/>
                    </a:lnTo>
                    <a:lnTo>
                      <a:pt x="71716" y="10236"/>
                    </a:lnTo>
                    <a:lnTo>
                      <a:pt x="71716" y="0"/>
                    </a:lnTo>
                    <a:close/>
                  </a:path>
                  <a:path w="5543550" h="498475">
                    <a:moveTo>
                      <a:pt x="133197" y="0"/>
                    </a:moveTo>
                    <a:lnTo>
                      <a:pt x="122948" y="0"/>
                    </a:lnTo>
                    <a:lnTo>
                      <a:pt x="122948" y="10236"/>
                    </a:lnTo>
                    <a:lnTo>
                      <a:pt x="133197" y="10236"/>
                    </a:lnTo>
                    <a:lnTo>
                      <a:pt x="133197" y="0"/>
                    </a:lnTo>
                    <a:close/>
                  </a:path>
                  <a:path w="5543550" h="498475">
                    <a:moveTo>
                      <a:pt x="194678" y="0"/>
                    </a:moveTo>
                    <a:lnTo>
                      <a:pt x="184429" y="0"/>
                    </a:lnTo>
                    <a:lnTo>
                      <a:pt x="184429" y="10236"/>
                    </a:lnTo>
                    <a:lnTo>
                      <a:pt x="194678" y="10236"/>
                    </a:lnTo>
                    <a:lnTo>
                      <a:pt x="194678" y="0"/>
                    </a:lnTo>
                    <a:close/>
                  </a:path>
                  <a:path w="5543550" h="498475">
                    <a:moveTo>
                      <a:pt x="256159" y="0"/>
                    </a:moveTo>
                    <a:lnTo>
                      <a:pt x="245910" y="0"/>
                    </a:lnTo>
                    <a:lnTo>
                      <a:pt x="245910" y="10236"/>
                    </a:lnTo>
                    <a:lnTo>
                      <a:pt x="256159" y="10236"/>
                    </a:lnTo>
                    <a:lnTo>
                      <a:pt x="256159" y="0"/>
                    </a:lnTo>
                    <a:close/>
                  </a:path>
                  <a:path w="5543550" h="498475">
                    <a:moveTo>
                      <a:pt x="317639" y="0"/>
                    </a:moveTo>
                    <a:lnTo>
                      <a:pt x="307390" y="0"/>
                    </a:lnTo>
                    <a:lnTo>
                      <a:pt x="307390" y="10236"/>
                    </a:lnTo>
                    <a:lnTo>
                      <a:pt x="317639" y="10236"/>
                    </a:lnTo>
                    <a:lnTo>
                      <a:pt x="317639" y="0"/>
                    </a:lnTo>
                    <a:close/>
                  </a:path>
                  <a:path w="5543550" h="498475">
                    <a:moveTo>
                      <a:pt x="379120" y="0"/>
                    </a:moveTo>
                    <a:lnTo>
                      <a:pt x="368871" y="0"/>
                    </a:lnTo>
                    <a:lnTo>
                      <a:pt x="368871" y="10236"/>
                    </a:lnTo>
                    <a:lnTo>
                      <a:pt x="379120" y="10236"/>
                    </a:lnTo>
                    <a:lnTo>
                      <a:pt x="379120" y="0"/>
                    </a:lnTo>
                    <a:close/>
                  </a:path>
                  <a:path w="5543550" h="498475">
                    <a:moveTo>
                      <a:pt x="440601" y="0"/>
                    </a:moveTo>
                    <a:lnTo>
                      <a:pt x="430352" y="0"/>
                    </a:lnTo>
                    <a:lnTo>
                      <a:pt x="430352" y="10236"/>
                    </a:lnTo>
                    <a:lnTo>
                      <a:pt x="440601" y="10236"/>
                    </a:lnTo>
                    <a:lnTo>
                      <a:pt x="440601" y="0"/>
                    </a:lnTo>
                    <a:close/>
                  </a:path>
                  <a:path w="5543550" h="498475">
                    <a:moveTo>
                      <a:pt x="1731695" y="487730"/>
                    </a:moveTo>
                    <a:lnTo>
                      <a:pt x="1721446" y="487730"/>
                    </a:lnTo>
                    <a:lnTo>
                      <a:pt x="1721446" y="497979"/>
                    </a:lnTo>
                    <a:lnTo>
                      <a:pt x="1731695" y="497979"/>
                    </a:lnTo>
                    <a:lnTo>
                      <a:pt x="1731695" y="487730"/>
                    </a:lnTo>
                    <a:close/>
                  </a:path>
                  <a:path w="5543550" h="498475">
                    <a:moveTo>
                      <a:pt x="1793176" y="487730"/>
                    </a:moveTo>
                    <a:lnTo>
                      <a:pt x="1782927" y="487730"/>
                    </a:lnTo>
                    <a:lnTo>
                      <a:pt x="1782927" y="497979"/>
                    </a:lnTo>
                    <a:lnTo>
                      <a:pt x="1793176" y="497979"/>
                    </a:lnTo>
                    <a:lnTo>
                      <a:pt x="1793176" y="487730"/>
                    </a:lnTo>
                    <a:close/>
                  </a:path>
                  <a:path w="5543550" h="498475">
                    <a:moveTo>
                      <a:pt x="1854657" y="487730"/>
                    </a:moveTo>
                    <a:lnTo>
                      <a:pt x="1844408" y="487730"/>
                    </a:lnTo>
                    <a:lnTo>
                      <a:pt x="1844408" y="497979"/>
                    </a:lnTo>
                    <a:lnTo>
                      <a:pt x="1854657" y="497979"/>
                    </a:lnTo>
                    <a:lnTo>
                      <a:pt x="1854657" y="487730"/>
                    </a:lnTo>
                    <a:close/>
                  </a:path>
                  <a:path w="5543550" h="498475">
                    <a:moveTo>
                      <a:pt x="1916125" y="487730"/>
                    </a:moveTo>
                    <a:lnTo>
                      <a:pt x="1905889" y="487730"/>
                    </a:lnTo>
                    <a:lnTo>
                      <a:pt x="1905889" y="497979"/>
                    </a:lnTo>
                    <a:lnTo>
                      <a:pt x="1916125" y="497979"/>
                    </a:lnTo>
                    <a:lnTo>
                      <a:pt x="1916125" y="487730"/>
                    </a:lnTo>
                    <a:close/>
                  </a:path>
                  <a:path w="5543550" h="498475">
                    <a:moveTo>
                      <a:pt x="1977605" y="487730"/>
                    </a:moveTo>
                    <a:lnTo>
                      <a:pt x="1967369" y="487730"/>
                    </a:lnTo>
                    <a:lnTo>
                      <a:pt x="1967369" y="497979"/>
                    </a:lnTo>
                    <a:lnTo>
                      <a:pt x="1977605" y="497979"/>
                    </a:lnTo>
                    <a:lnTo>
                      <a:pt x="1977605" y="487730"/>
                    </a:lnTo>
                    <a:close/>
                  </a:path>
                  <a:path w="5543550" h="498475">
                    <a:moveTo>
                      <a:pt x="2039086" y="487730"/>
                    </a:moveTo>
                    <a:lnTo>
                      <a:pt x="2028850" y="487730"/>
                    </a:lnTo>
                    <a:lnTo>
                      <a:pt x="2028850" y="497979"/>
                    </a:lnTo>
                    <a:lnTo>
                      <a:pt x="2039086" y="497979"/>
                    </a:lnTo>
                    <a:lnTo>
                      <a:pt x="2039086" y="487730"/>
                    </a:lnTo>
                    <a:close/>
                  </a:path>
                  <a:path w="5543550" h="498475">
                    <a:moveTo>
                      <a:pt x="2100567" y="487730"/>
                    </a:moveTo>
                    <a:lnTo>
                      <a:pt x="2090331" y="487730"/>
                    </a:lnTo>
                    <a:lnTo>
                      <a:pt x="2090331" y="497979"/>
                    </a:lnTo>
                    <a:lnTo>
                      <a:pt x="2100567" y="497979"/>
                    </a:lnTo>
                    <a:lnTo>
                      <a:pt x="2100567" y="487730"/>
                    </a:lnTo>
                    <a:close/>
                  </a:path>
                  <a:path w="5543550" h="498475">
                    <a:moveTo>
                      <a:pt x="2162048" y="487730"/>
                    </a:moveTo>
                    <a:lnTo>
                      <a:pt x="2151811" y="487730"/>
                    </a:lnTo>
                    <a:lnTo>
                      <a:pt x="2151811" y="497979"/>
                    </a:lnTo>
                    <a:lnTo>
                      <a:pt x="2162048" y="497979"/>
                    </a:lnTo>
                    <a:lnTo>
                      <a:pt x="2162048" y="487730"/>
                    </a:lnTo>
                    <a:close/>
                  </a:path>
                  <a:path w="5543550" h="498475">
                    <a:moveTo>
                      <a:pt x="2223528" y="487730"/>
                    </a:moveTo>
                    <a:lnTo>
                      <a:pt x="2213292" y="487730"/>
                    </a:lnTo>
                    <a:lnTo>
                      <a:pt x="2213292" y="497979"/>
                    </a:lnTo>
                    <a:lnTo>
                      <a:pt x="2223528" y="497979"/>
                    </a:lnTo>
                    <a:lnTo>
                      <a:pt x="2223528" y="487730"/>
                    </a:lnTo>
                    <a:close/>
                  </a:path>
                  <a:path w="5543550" h="498475">
                    <a:moveTo>
                      <a:pt x="2285009" y="487730"/>
                    </a:moveTo>
                    <a:lnTo>
                      <a:pt x="2274760" y="487730"/>
                    </a:lnTo>
                    <a:lnTo>
                      <a:pt x="2274760" y="497979"/>
                    </a:lnTo>
                    <a:lnTo>
                      <a:pt x="2285009" y="497979"/>
                    </a:lnTo>
                    <a:lnTo>
                      <a:pt x="2285009" y="487730"/>
                    </a:lnTo>
                    <a:close/>
                  </a:path>
                  <a:path w="5543550" h="498475">
                    <a:moveTo>
                      <a:pt x="2346490" y="487730"/>
                    </a:moveTo>
                    <a:lnTo>
                      <a:pt x="2336241" y="487730"/>
                    </a:lnTo>
                    <a:lnTo>
                      <a:pt x="2336241" y="497979"/>
                    </a:lnTo>
                    <a:lnTo>
                      <a:pt x="2346490" y="497979"/>
                    </a:lnTo>
                    <a:lnTo>
                      <a:pt x="2346490" y="487730"/>
                    </a:lnTo>
                    <a:close/>
                  </a:path>
                  <a:path w="5543550" h="498475">
                    <a:moveTo>
                      <a:pt x="2407970" y="487730"/>
                    </a:moveTo>
                    <a:lnTo>
                      <a:pt x="2397722" y="487730"/>
                    </a:lnTo>
                    <a:lnTo>
                      <a:pt x="2397722" y="497979"/>
                    </a:lnTo>
                    <a:lnTo>
                      <a:pt x="2407970" y="497979"/>
                    </a:lnTo>
                    <a:lnTo>
                      <a:pt x="2407970" y="487730"/>
                    </a:lnTo>
                    <a:close/>
                  </a:path>
                  <a:path w="5543550" h="498475">
                    <a:moveTo>
                      <a:pt x="2469451" y="487730"/>
                    </a:moveTo>
                    <a:lnTo>
                      <a:pt x="2459202" y="487730"/>
                    </a:lnTo>
                    <a:lnTo>
                      <a:pt x="2459202" y="497979"/>
                    </a:lnTo>
                    <a:lnTo>
                      <a:pt x="2469451" y="497979"/>
                    </a:lnTo>
                    <a:lnTo>
                      <a:pt x="2469451" y="487730"/>
                    </a:lnTo>
                    <a:close/>
                  </a:path>
                  <a:path w="5543550" h="498475">
                    <a:moveTo>
                      <a:pt x="2530932" y="487730"/>
                    </a:moveTo>
                    <a:lnTo>
                      <a:pt x="2520683" y="487730"/>
                    </a:lnTo>
                    <a:lnTo>
                      <a:pt x="2520683" y="497979"/>
                    </a:lnTo>
                    <a:lnTo>
                      <a:pt x="2530932" y="497979"/>
                    </a:lnTo>
                    <a:lnTo>
                      <a:pt x="2530932" y="487730"/>
                    </a:lnTo>
                    <a:close/>
                  </a:path>
                  <a:path w="5543550" h="498475">
                    <a:moveTo>
                      <a:pt x="2592413" y="487730"/>
                    </a:moveTo>
                    <a:lnTo>
                      <a:pt x="2582164" y="487730"/>
                    </a:lnTo>
                    <a:lnTo>
                      <a:pt x="2582164" y="497979"/>
                    </a:lnTo>
                    <a:lnTo>
                      <a:pt x="2592413" y="497979"/>
                    </a:lnTo>
                    <a:lnTo>
                      <a:pt x="2592413" y="487730"/>
                    </a:lnTo>
                    <a:close/>
                  </a:path>
                  <a:path w="5543550" h="498475">
                    <a:moveTo>
                      <a:pt x="2653893" y="487730"/>
                    </a:moveTo>
                    <a:lnTo>
                      <a:pt x="2643644" y="487730"/>
                    </a:lnTo>
                    <a:lnTo>
                      <a:pt x="2643644" y="497979"/>
                    </a:lnTo>
                    <a:lnTo>
                      <a:pt x="2653893" y="497979"/>
                    </a:lnTo>
                    <a:lnTo>
                      <a:pt x="2653893" y="487730"/>
                    </a:lnTo>
                    <a:close/>
                  </a:path>
                  <a:path w="5543550" h="498475">
                    <a:moveTo>
                      <a:pt x="2715374" y="487730"/>
                    </a:moveTo>
                    <a:lnTo>
                      <a:pt x="2705125" y="487730"/>
                    </a:lnTo>
                    <a:lnTo>
                      <a:pt x="2705125" y="497979"/>
                    </a:lnTo>
                    <a:lnTo>
                      <a:pt x="2715374" y="497979"/>
                    </a:lnTo>
                    <a:lnTo>
                      <a:pt x="2715374" y="487730"/>
                    </a:lnTo>
                    <a:close/>
                  </a:path>
                  <a:path w="5543550" h="498475">
                    <a:moveTo>
                      <a:pt x="2776855" y="487730"/>
                    </a:moveTo>
                    <a:lnTo>
                      <a:pt x="2766606" y="487730"/>
                    </a:lnTo>
                    <a:lnTo>
                      <a:pt x="2766606" y="497979"/>
                    </a:lnTo>
                    <a:lnTo>
                      <a:pt x="2776855" y="497979"/>
                    </a:lnTo>
                    <a:lnTo>
                      <a:pt x="2776855" y="487730"/>
                    </a:lnTo>
                    <a:close/>
                  </a:path>
                  <a:path w="5543550" h="498475">
                    <a:moveTo>
                      <a:pt x="2838335" y="487730"/>
                    </a:moveTo>
                    <a:lnTo>
                      <a:pt x="2828086" y="487730"/>
                    </a:lnTo>
                    <a:lnTo>
                      <a:pt x="2828086" y="497979"/>
                    </a:lnTo>
                    <a:lnTo>
                      <a:pt x="2838335" y="497979"/>
                    </a:lnTo>
                    <a:lnTo>
                      <a:pt x="2838335" y="487730"/>
                    </a:lnTo>
                    <a:close/>
                  </a:path>
                  <a:path w="5543550" h="498475">
                    <a:moveTo>
                      <a:pt x="2899816" y="487730"/>
                    </a:moveTo>
                    <a:lnTo>
                      <a:pt x="2889567" y="487730"/>
                    </a:lnTo>
                    <a:lnTo>
                      <a:pt x="2889567" y="497979"/>
                    </a:lnTo>
                    <a:lnTo>
                      <a:pt x="2899816" y="497979"/>
                    </a:lnTo>
                    <a:lnTo>
                      <a:pt x="2899816" y="487730"/>
                    </a:lnTo>
                    <a:close/>
                  </a:path>
                  <a:path w="5543550" h="498475">
                    <a:moveTo>
                      <a:pt x="2961297" y="487730"/>
                    </a:moveTo>
                    <a:lnTo>
                      <a:pt x="2951048" y="487730"/>
                    </a:lnTo>
                    <a:lnTo>
                      <a:pt x="2951048" y="497979"/>
                    </a:lnTo>
                    <a:lnTo>
                      <a:pt x="2961297" y="497979"/>
                    </a:lnTo>
                    <a:lnTo>
                      <a:pt x="2961297" y="487730"/>
                    </a:lnTo>
                    <a:close/>
                  </a:path>
                  <a:path w="5543550" h="498475">
                    <a:moveTo>
                      <a:pt x="3022777" y="487730"/>
                    </a:moveTo>
                    <a:lnTo>
                      <a:pt x="3012529" y="487730"/>
                    </a:lnTo>
                    <a:lnTo>
                      <a:pt x="3012529" y="497979"/>
                    </a:lnTo>
                    <a:lnTo>
                      <a:pt x="3022777" y="497979"/>
                    </a:lnTo>
                    <a:lnTo>
                      <a:pt x="3022777" y="487730"/>
                    </a:lnTo>
                    <a:close/>
                  </a:path>
                  <a:path w="5543550" h="498475">
                    <a:moveTo>
                      <a:pt x="3084258" y="487730"/>
                    </a:moveTo>
                    <a:lnTo>
                      <a:pt x="3074009" y="487730"/>
                    </a:lnTo>
                    <a:lnTo>
                      <a:pt x="3074009" y="497979"/>
                    </a:lnTo>
                    <a:lnTo>
                      <a:pt x="3084258" y="497979"/>
                    </a:lnTo>
                    <a:lnTo>
                      <a:pt x="3084258" y="487730"/>
                    </a:lnTo>
                    <a:close/>
                  </a:path>
                  <a:path w="5543550" h="498475">
                    <a:moveTo>
                      <a:pt x="3145739" y="487730"/>
                    </a:moveTo>
                    <a:lnTo>
                      <a:pt x="3135490" y="487730"/>
                    </a:lnTo>
                    <a:lnTo>
                      <a:pt x="3135490" y="497979"/>
                    </a:lnTo>
                    <a:lnTo>
                      <a:pt x="3145739" y="497979"/>
                    </a:lnTo>
                    <a:lnTo>
                      <a:pt x="3145739" y="487730"/>
                    </a:lnTo>
                    <a:close/>
                  </a:path>
                  <a:path w="5543550" h="498475">
                    <a:moveTo>
                      <a:pt x="3207220" y="487730"/>
                    </a:moveTo>
                    <a:lnTo>
                      <a:pt x="3196971" y="487730"/>
                    </a:lnTo>
                    <a:lnTo>
                      <a:pt x="3196971" y="497979"/>
                    </a:lnTo>
                    <a:lnTo>
                      <a:pt x="3207220" y="497979"/>
                    </a:lnTo>
                    <a:lnTo>
                      <a:pt x="3207220" y="487730"/>
                    </a:lnTo>
                    <a:close/>
                  </a:path>
                  <a:path w="5543550" h="498475">
                    <a:moveTo>
                      <a:pt x="3268700" y="487730"/>
                    </a:moveTo>
                    <a:lnTo>
                      <a:pt x="3258451" y="487730"/>
                    </a:lnTo>
                    <a:lnTo>
                      <a:pt x="3258451" y="497979"/>
                    </a:lnTo>
                    <a:lnTo>
                      <a:pt x="3268700" y="497979"/>
                    </a:lnTo>
                    <a:lnTo>
                      <a:pt x="3268700" y="487730"/>
                    </a:lnTo>
                    <a:close/>
                  </a:path>
                  <a:path w="5543550" h="498475">
                    <a:moveTo>
                      <a:pt x="3330181" y="487730"/>
                    </a:moveTo>
                    <a:lnTo>
                      <a:pt x="3319932" y="487730"/>
                    </a:lnTo>
                    <a:lnTo>
                      <a:pt x="3319932" y="497979"/>
                    </a:lnTo>
                    <a:lnTo>
                      <a:pt x="3330181" y="497979"/>
                    </a:lnTo>
                    <a:lnTo>
                      <a:pt x="3330181" y="487730"/>
                    </a:lnTo>
                    <a:close/>
                  </a:path>
                  <a:path w="5543550" h="498475">
                    <a:moveTo>
                      <a:pt x="3391662" y="487730"/>
                    </a:moveTo>
                    <a:lnTo>
                      <a:pt x="3381413" y="487730"/>
                    </a:lnTo>
                    <a:lnTo>
                      <a:pt x="3381413" y="497979"/>
                    </a:lnTo>
                    <a:lnTo>
                      <a:pt x="3391662" y="497979"/>
                    </a:lnTo>
                    <a:lnTo>
                      <a:pt x="3391662" y="487730"/>
                    </a:lnTo>
                    <a:close/>
                  </a:path>
                  <a:path w="5543550" h="498475">
                    <a:moveTo>
                      <a:pt x="3453142" y="487730"/>
                    </a:moveTo>
                    <a:lnTo>
                      <a:pt x="3442893" y="487730"/>
                    </a:lnTo>
                    <a:lnTo>
                      <a:pt x="3442893" y="497979"/>
                    </a:lnTo>
                    <a:lnTo>
                      <a:pt x="3453142" y="497979"/>
                    </a:lnTo>
                    <a:lnTo>
                      <a:pt x="3453142" y="487730"/>
                    </a:lnTo>
                    <a:close/>
                  </a:path>
                  <a:path w="5543550" h="498475">
                    <a:moveTo>
                      <a:pt x="3514623" y="487730"/>
                    </a:moveTo>
                    <a:lnTo>
                      <a:pt x="3504374" y="487730"/>
                    </a:lnTo>
                    <a:lnTo>
                      <a:pt x="3504374" y="497979"/>
                    </a:lnTo>
                    <a:lnTo>
                      <a:pt x="3514623" y="497979"/>
                    </a:lnTo>
                    <a:lnTo>
                      <a:pt x="3514623" y="487730"/>
                    </a:lnTo>
                    <a:close/>
                  </a:path>
                  <a:path w="5543550" h="498475">
                    <a:moveTo>
                      <a:pt x="3576104" y="487730"/>
                    </a:moveTo>
                    <a:lnTo>
                      <a:pt x="3565855" y="487730"/>
                    </a:lnTo>
                    <a:lnTo>
                      <a:pt x="3565855" y="497979"/>
                    </a:lnTo>
                    <a:lnTo>
                      <a:pt x="3576104" y="497979"/>
                    </a:lnTo>
                    <a:lnTo>
                      <a:pt x="3576104" y="487730"/>
                    </a:lnTo>
                    <a:close/>
                  </a:path>
                  <a:path w="5543550" h="498475">
                    <a:moveTo>
                      <a:pt x="3637584" y="487730"/>
                    </a:moveTo>
                    <a:lnTo>
                      <a:pt x="3627336" y="487730"/>
                    </a:lnTo>
                    <a:lnTo>
                      <a:pt x="3627336" y="497979"/>
                    </a:lnTo>
                    <a:lnTo>
                      <a:pt x="3637584" y="497979"/>
                    </a:lnTo>
                    <a:lnTo>
                      <a:pt x="3637584" y="487730"/>
                    </a:lnTo>
                    <a:close/>
                  </a:path>
                  <a:path w="5543550" h="498475">
                    <a:moveTo>
                      <a:pt x="3699065" y="487730"/>
                    </a:moveTo>
                    <a:lnTo>
                      <a:pt x="3688816" y="487730"/>
                    </a:lnTo>
                    <a:lnTo>
                      <a:pt x="3688816" y="497979"/>
                    </a:lnTo>
                    <a:lnTo>
                      <a:pt x="3699065" y="497979"/>
                    </a:lnTo>
                    <a:lnTo>
                      <a:pt x="3699065" y="487730"/>
                    </a:lnTo>
                    <a:close/>
                  </a:path>
                  <a:path w="5543550" h="498475">
                    <a:moveTo>
                      <a:pt x="3760546" y="487730"/>
                    </a:moveTo>
                    <a:lnTo>
                      <a:pt x="3750297" y="487730"/>
                    </a:lnTo>
                    <a:lnTo>
                      <a:pt x="3750297" y="497979"/>
                    </a:lnTo>
                    <a:lnTo>
                      <a:pt x="3760546" y="497979"/>
                    </a:lnTo>
                    <a:lnTo>
                      <a:pt x="3760546" y="487730"/>
                    </a:lnTo>
                    <a:close/>
                  </a:path>
                  <a:path w="5543550" h="498475">
                    <a:moveTo>
                      <a:pt x="3822027" y="487730"/>
                    </a:moveTo>
                    <a:lnTo>
                      <a:pt x="3811778" y="487730"/>
                    </a:lnTo>
                    <a:lnTo>
                      <a:pt x="3811778" y="497979"/>
                    </a:lnTo>
                    <a:lnTo>
                      <a:pt x="3822027" y="497979"/>
                    </a:lnTo>
                    <a:lnTo>
                      <a:pt x="3822027" y="487730"/>
                    </a:lnTo>
                    <a:close/>
                  </a:path>
                  <a:path w="5543550" h="498475">
                    <a:moveTo>
                      <a:pt x="3883507" y="487730"/>
                    </a:moveTo>
                    <a:lnTo>
                      <a:pt x="3873258" y="487730"/>
                    </a:lnTo>
                    <a:lnTo>
                      <a:pt x="3873258" y="497979"/>
                    </a:lnTo>
                    <a:lnTo>
                      <a:pt x="3883507" y="497979"/>
                    </a:lnTo>
                    <a:lnTo>
                      <a:pt x="3883507" y="487730"/>
                    </a:lnTo>
                    <a:close/>
                  </a:path>
                  <a:path w="5543550" h="498475">
                    <a:moveTo>
                      <a:pt x="3944988" y="487730"/>
                    </a:moveTo>
                    <a:lnTo>
                      <a:pt x="3934739" y="487730"/>
                    </a:lnTo>
                    <a:lnTo>
                      <a:pt x="3934739" y="497979"/>
                    </a:lnTo>
                    <a:lnTo>
                      <a:pt x="3944988" y="497979"/>
                    </a:lnTo>
                    <a:lnTo>
                      <a:pt x="3944988" y="487730"/>
                    </a:lnTo>
                    <a:close/>
                  </a:path>
                  <a:path w="5543550" h="498475">
                    <a:moveTo>
                      <a:pt x="4006469" y="487730"/>
                    </a:moveTo>
                    <a:lnTo>
                      <a:pt x="3996220" y="487730"/>
                    </a:lnTo>
                    <a:lnTo>
                      <a:pt x="3996220" y="497979"/>
                    </a:lnTo>
                    <a:lnTo>
                      <a:pt x="4006469" y="497979"/>
                    </a:lnTo>
                    <a:lnTo>
                      <a:pt x="4006469" y="487730"/>
                    </a:lnTo>
                    <a:close/>
                  </a:path>
                  <a:path w="5543550" h="498475">
                    <a:moveTo>
                      <a:pt x="4067937" y="487730"/>
                    </a:moveTo>
                    <a:lnTo>
                      <a:pt x="4057700" y="487730"/>
                    </a:lnTo>
                    <a:lnTo>
                      <a:pt x="4057700" y="497979"/>
                    </a:lnTo>
                    <a:lnTo>
                      <a:pt x="4067937" y="497979"/>
                    </a:lnTo>
                    <a:lnTo>
                      <a:pt x="4067937" y="487730"/>
                    </a:lnTo>
                    <a:close/>
                  </a:path>
                  <a:path w="5543550" h="498475">
                    <a:moveTo>
                      <a:pt x="4129417" y="487730"/>
                    </a:moveTo>
                    <a:lnTo>
                      <a:pt x="4119181" y="487730"/>
                    </a:lnTo>
                    <a:lnTo>
                      <a:pt x="4119181" y="497979"/>
                    </a:lnTo>
                    <a:lnTo>
                      <a:pt x="4129417" y="497979"/>
                    </a:lnTo>
                    <a:lnTo>
                      <a:pt x="4129417" y="487730"/>
                    </a:lnTo>
                    <a:close/>
                  </a:path>
                  <a:path w="5543550" h="498475">
                    <a:moveTo>
                      <a:pt x="4190898" y="487730"/>
                    </a:moveTo>
                    <a:lnTo>
                      <a:pt x="4180662" y="487730"/>
                    </a:lnTo>
                    <a:lnTo>
                      <a:pt x="4180662" y="497979"/>
                    </a:lnTo>
                    <a:lnTo>
                      <a:pt x="4190898" y="497979"/>
                    </a:lnTo>
                    <a:lnTo>
                      <a:pt x="4190898" y="487730"/>
                    </a:lnTo>
                    <a:close/>
                  </a:path>
                  <a:path w="5543550" h="498475">
                    <a:moveTo>
                      <a:pt x="4252379" y="487730"/>
                    </a:moveTo>
                    <a:lnTo>
                      <a:pt x="4242143" y="487730"/>
                    </a:lnTo>
                    <a:lnTo>
                      <a:pt x="4242143" y="497979"/>
                    </a:lnTo>
                    <a:lnTo>
                      <a:pt x="4252379" y="497979"/>
                    </a:lnTo>
                    <a:lnTo>
                      <a:pt x="4252379" y="487730"/>
                    </a:lnTo>
                    <a:close/>
                  </a:path>
                  <a:path w="5543550" h="498475">
                    <a:moveTo>
                      <a:pt x="4313860" y="487730"/>
                    </a:moveTo>
                    <a:lnTo>
                      <a:pt x="4303623" y="487730"/>
                    </a:lnTo>
                    <a:lnTo>
                      <a:pt x="4303623" y="497979"/>
                    </a:lnTo>
                    <a:lnTo>
                      <a:pt x="4313860" y="497979"/>
                    </a:lnTo>
                    <a:lnTo>
                      <a:pt x="4313860" y="487730"/>
                    </a:lnTo>
                    <a:close/>
                  </a:path>
                  <a:path w="5543550" h="498475">
                    <a:moveTo>
                      <a:pt x="4375340" y="487730"/>
                    </a:moveTo>
                    <a:lnTo>
                      <a:pt x="4365104" y="487730"/>
                    </a:lnTo>
                    <a:lnTo>
                      <a:pt x="4365104" y="497979"/>
                    </a:lnTo>
                    <a:lnTo>
                      <a:pt x="4375340" y="497979"/>
                    </a:lnTo>
                    <a:lnTo>
                      <a:pt x="4375340" y="487730"/>
                    </a:lnTo>
                    <a:close/>
                  </a:path>
                  <a:path w="5543550" h="498475">
                    <a:moveTo>
                      <a:pt x="4436821" y="487730"/>
                    </a:moveTo>
                    <a:lnTo>
                      <a:pt x="4426572" y="487730"/>
                    </a:lnTo>
                    <a:lnTo>
                      <a:pt x="4426572" y="497979"/>
                    </a:lnTo>
                    <a:lnTo>
                      <a:pt x="4436821" y="497979"/>
                    </a:lnTo>
                    <a:lnTo>
                      <a:pt x="4436821" y="487730"/>
                    </a:lnTo>
                    <a:close/>
                  </a:path>
                  <a:path w="5543550" h="498475">
                    <a:moveTo>
                      <a:pt x="4498302" y="487730"/>
                    </a:moveTo>
                    <a:lnTo>
                      <a:pt x="4488053" y="487730"/>
                    </a:lnTo>
                    <a:lnTo>
                      <a:pt x="4488053" y="497979"/>
                    </a:lnTo>
                    <a:lnTo>
                      <a:pt x="4498302" y="497979"/>
                    </a:lnTo>
                    <a:lnTo>
                      <a:pt x="4498302" y="487730"/>
                    </a:lnTo>
                    <a:close/>
                  </a:path>
                  <a:path w="5543550" h="498475">
                    <a:moveTo>
                      <a:pt x="4559782" y="487730"/>
                    </a:moveTo>
                    <a:lnTo>
                      <a:pt x="4549533" y="487730"/>
                    </a:lnTo>
                    <a:lnTo>
                      <a:pt x="4549533" y="497979"/>
                    </a:lnTo>
                    <a:lnTo>
                      <a:pt x="4559782" y="497979"/>
                    </a:lnTo>
                    <a:lnTo>
                      <a:pt x="4559782" y="487730"/>
                    </a:lnTo>
                    <a:close/>
                  </a:path>
                  <a:path w="5543550" h="498475">
                    <a:moveTo>
                      <a:pt x="4621263" y="487730"/>
                    </a:moveTo>
                    <a:lnTo>
                      <a:pt x="4611014" y="487730"/>
                    </a:lnTo>
                    <a:lnTo>
                      <a:pt x="4611014" y="497979"/>
                    </a:lnTo>
                    <a:lnTo>
                      <a:pt x="4621263" y="497979"/>
                    </a:lnTo>
                    <a:lnTo>
                      <a:pt x="4621263" y="487730"/>
                    </a:lnTo>
                    <a:close/>
                  </a:path>
                  <a:path w="5543550" h="498475">
                    <a:moveTo>
                      <a:pt x="4682744" y="487730"/>
                    </a:moveTo>
                    <a:lnTo>
                      <a:pt x="4672495" y="487730"/>
                    </a:lnTo>
                    <a:lnTo>
                      <a:pt x="4672495" y="497979"/>
                    </a:lnTo>
                    <a:lnTo>
                      <a:pt x="4682744" y="497979"/>
                    </a:lnTo>
                    <a:lnTo>
                      <a:pt x="4682744" y="487730"/>
                    </a:lnTo>
                    <a:close/>
                  </a:path>
                  <a:path w="5543550" h="498475">
                    <a:moveTo>
                      <a:pt x="4744224" y="487730"/>
                    </a:moveTo>
                    <a:lnTo>
                      <a:pt x="4733976" y="487730"/>
                    </a:lnTo>
                    <a:lnTo>
                      <a:pt x="4733976" y="497979"/>
                    </a:lnTo>
                    <a:lnTo>
                      <a:pt x="4744224" y="497979"/>
                    </a:lnTo>
                    <a:lnTo>
                      <a:pt x="4744224" y="487730"/>
                    </a:lnTo>
                    <a:close/>
                  </a:path>
                  <a:path w="5543550" h="498475">
                    <a:moveTo>
                      <a:pt x="4805705" y="487730"/>
                    </a:moveTo>
                    <a:lnTo>
                      <a:pt x="4795456" y="487730"/>
                    </a:lnTo>
                    <a:lnTo>
                      <a:pt x="4795456" y="497979"/>
                    </a:lnTo>
                    <a:lnTo>
                      <a:pt x="4805705" y="497979"/>
                    </a:lnTo>
                    <a:lnTo>
                      <a:pt x="4805705" y="487730"/>
                    </a:lnTo>
                    <a:close/>
                  </a:path>
                  <a:path w="5543550" h="498475">
                    <a:moveTo>
                      <a:pt x="4867186" y="487730"/>
                    </a:moveTo>
                    <a:lnTo>
                      <a:pt x="4856937" y="487730"/>
                    </a:lnTo>
                    <a:lnTo>
                      <a:pt x="4856937" y="497979"/>
                    </a:lnTo>
                    <a:lnTo>
                      <a:pt x="4867186" y="497979"/>
                    </a:lnTo>
                    <a:lnTo>
                      <a:pt x="4867186" y="487730"/>
                    </a:lnTo>
                    <a:close/>
                  </a:path>
                  <a:path w="5543550" h="498475">
                    <a:moveTo>
                      <a:pt x="4928667" y="487730"/>
                    </a:moveTo>
                    <a:lnTo>
                      <a:pt x="4918418" y="487730"/>
                    </a:lnTo>
                    <a:lnTo>
                      <a:pt x="4918418" y="497979"/>
                    </a:lnTo>
                    <a:lnTo>
                      <a:pt x="4928667" y="497979"/>
                    </a:lnTo>
                    <a:lnTo>
                      <a:pt x="4928667" y="487730"/>
                    </a:lnTo>
                    <a:close/>
                  </a:path>
                  <a:path w="5543550" h="498475">
                    <a:moveTo>
                      <a:pt x="4990147" y="487730"/>
                    </a:moveTo>
                    <a:lnTo>
                      <a:pt x="4979898" y="487730"/>
                    </a:lnTo>
                    <a:lnTo>
                      <a:pt x="4979898" y="497979"/>
                    </a:lnTo>
                    <a:lnTo>
                      <a:pt x="4990147" y="497979"/>
                    </a:lnTo>
                    <a:lnTo>
                      <a:pt x="4990147" y="487730"/>
                    </a:lnTo>
                    <a:close/>
                  </a:path>
                  <a:path w="5543550" h="498475">
                    <a:moveTo>
                      <a:pt x="5051628" y="487730"/>
                    </a:moveTo>
                    <a:lnTo>
                      <a:pt x="5041379" y="487730"/>
                    </a:lnTo>
                    <a:lnTo>
                      <a:pt x="5041379" y="497979"/>
                    </a:lnTo>
                    <a:lnTo>
                      <a:pt x="5051628" y="497979"/>
                    </a:lnTo>
                    <a:lnTo>
                      <a:pt x="5051628" y="487730"/>
                    </a:lnTo>
                    <a:close/>
                  </a:path>
                  <a:path w="5543550" h="498475">
                    <a:moveTo>
                      <a:pt x="5113109" y="487730"/>
                    </a:moveTo>
                    <a:lnTo>
                      <a:pt x="5102860" y="487730"/>
                    </a:lnTo>
                    <a:lnTo>
                      <a:pt x="5102860" y="497979"/>
                    </a:lnTo>
                    <a:lnTo>
                      <a:pt x="5113109" y="497979"/>
                    </a:lnTo>
                    <a:lnTo>
                      <a:pt x="5113109" y="487730"/>
                    </a:lnTo>
                    <a:close/>
                  </a:path>
                  <a:path w="5543550" h="498475">
                    <a:moveTo>
                      <a:pt x="5174589" y="487730"/>
                    </a:moveTo>
                    <a:lnTo>
                      <a:pt x="5164340" y="487730"/>
                    </a:lnTo>
                    <a:lnTo>
                      <a:pt x="5164340" y="497979"/>
                    </a:lnTo>
                    <a:lnTo>
                      <a:pt x="5174589" y="497979"/>
                    </a:lnTo>
                    <a:lnTo>
                      <a:pt x="5174589" y="487730"/>
                    </a:lnTo>
                    <a:close/>
                  </a:path>
                  <a:path w="5543550" h="498475">
                    <a:moveTo>
                      <a:pt x="5236070" y="487730"/>
                    </a:moveTo>
                    <a:lnTo>
                      <a:pt x="5225821" y="487730"/>
                    </a:lnTo>
                    <a:lnTo>
                      <a:pt x="5225821" y="497979"/>
                    </a:lnTo>
                    <a:lnTo>
                      <a:pt x="5236070" y="497979"/>
                    </a:lnTo>
                    <a:lnTo>
                      <a:pt x="5236070" y="487730"/>
                    </a:lnTo>
                    <a:close/>
                  </a:path>
                  <a:path w="5543550" h="498475">
                    <a:moveTo>
                      <a:pt x="5297551" y="487730"/>
                    </a:moveTo>
                    <a:lnTo>
                      <a:pt x="5287302" y="487730"/>
                    </a:lnTo>
                    <a:lnTo>
                      <a:pt x="5287302" y="497979"/>
                    </a:lnTo>
                    <a:lnTo>
                      <a:pt x="5297551" y="497979"/>
                    </a:lnTo>
                    <a:lnTo>
                      <a:pt x="5297551" y="487730"/>
                    </a:lnTo>
                    <a:close/>
                  </a:path>
                  <a:path w="5543550" h="498475">
                    <a:moveTo>
                      <a:pt x="5359031" y="487730"/>
                    </a:moveTo>
                    <a:lnTo>
                      <a:pt x="5348783" y="487730"/>
                    </a:lnTo>
                    <a:lnTo>
                      <a:pt x="5348783" y="497979"/>
                    </a:lnTo>
                    <a:lnTo>
                      <a:pt x="5359031" y="497979"/>
                    </a:lnTo>
                    <a:lnTo>
                      <a:pt x="5359031" y="487730"/>
                    </a:lnTo>
                    <a:close/>
                  </a:path>
                  <a:path w="5543550" h="498475">
                    <a:moveTo>
                      <a:pt x="5420512" y="487730"/>
                    </a:moveTo>
                    <a:lnTo>
                      <a:pt x="5410263" y="487730"/>
                    </a:lnTo>
                    <a:lnTo>
                      <a:pt x="5410263" y="497979"/>
                    </a:lnTo>
                    <a:lnTo>
                      <a:pt x="5420512" y="497979"/>
                    </a:lnTo>
                    <a:lnTo>
                      <a:pt x="5420512" y="487730"/>
                    </a:lnTo>
                    <a:close/>
                  </a:path>
                  <a:path w="5543550" h="498475">
                    <a:moveTo>
                      <a:pt x="5481993" y="487730"/>
                    </a:moveTo>
                    <a:lnTo>
                      <a:pt x="5471744" y="487730"/>
                    </a:lnTo>
                    <a:lnTo>
                      <a:pt x="5471744" y="497979"/>
                    </a:lnTo>
                    <a:lnTo>
                      <a:pt x="5481993" y="497979"/>
                    </a:lnTo>
                    <a:lnTo>
                      <a:pt x="5481993" y="487730"/>
                    </a:lnTo>
                    <a:close/>
                  </a:path>
                  <a:path w="5543550" h="498475">
                    <a:moveTo>
                      <a:pt x="5543474" y="487730"/>
                    </a:moveTo>
                    <a:lnTo>
                      <a:pt x="5533225" y="487730"/>
                    </a:lnTo>
                    <a:lnTo>
                      <a:pt x="5533225" y="497979"/>
                    </a:lnTo>
                    <a:lnTo>
                      <a:pt x="5543474" y="497979"/>
                    </a:lnTo>
                    <a:lnTo>
                      <a:pt x="5543474" y="48773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4" name="object 274"/>
              <p:cNvSpPr/>
              <p:nvPr/>
            </p:nvSpPr>
            <p:spPr>
              <a:xfrm>
                <a:off x="1073937" y="5163502"/>
                <a:ext cx="431419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4314190" h="1079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4314190" h="10795">
                    <a:moveTo>
                      <a:pt x="71729" y="0"/>
                    </a:moveTo>
                    <a:lnTo>
                      <a:pt x="61480" y="0"/>
                    </a:lnTo>
                    <a:lnTo>
                      <a:pt x="61480" y="10236"/>
                    </a:lnTo>
                    <a:lnTo>
                      <a:pt x="71729" y="10236"/>
                    </a:lnTo>
                    <a:lnTo>
                      <a:pt x="71729" y="0"/>
                    </a:lnTo>
                    <a:close/>
                  </a:path>
                  <a:path w="4314190" h="10795">
                    <a:moveTo>
                      <a:pt x="133210" y="0"/>
                    </a:moveTo>
                    <a:lnTo>
                      <a:pt x="122961" y="0"/>
                    </a:lnTo>
                    <a:lnTo>
                      <a:pt x="122961" y="10236"/>
                    </a:lnTo>
                    <a:lnTo>
                      <a:pt x="133210" y="10236"/>
                    </a:lnTo>
                    <a:lnTo>
                      <a:pt x="133210" y="0"/>
                    </a:lnTo>
                    <a:close/>
                  </a:path>
                  <a:path w="4314190" h="10795">
                    <a:moveTo>
                      <a:pt x="194691" y="0"/>
                    </a:moveTo>
                    <a:lnTo>
                      <a:pt x="184442" y="0"/>
                    </a:lnTo>
                    <a:lnTo>
                      <a:pt x="184442" y="10236"/>
                    </a:lnTo>
                    <a:lnTo>
                      <a:pt x="194691" y="10236"/>
                    </a:lnTo>
                    <a:lnTo>
                      <a:pt x="194691" y="0"/>
                    </a:lnTo>
                    <a:close/>
                  </a:path>
                  <a:path w="4314190" h="10795">
                    <a:moveTo>
                      <a:pt x="256171" y="0"/>
                    </a:moveTo>
                    <a:lnTo>
                      <a:pt x="245922" y="0"/>
                    </a:lnTo>
                    <a:lnTo>
                      <a:pt x="245922" y="10236"/>
                    </a:lnTo>
                    <a:lnTo>
                      <a:pt x="256171" y="10236"/>
                    </a:lnTo>
                    <a:lnTo>
                      <a:pt x="256171" y="0"/>
                    </a:lnTo>
                    <a:close/>
                  </a:path>
                  <a:path w="4314190" h="10795">
                    <a:moveTo>
                      <a:pt x="317652" y="0"/>
                    </a:moveTo>
                    <a:lnTo>
                      <a:pt x="307403" y="0"/>
                    </a:lnTo>
                    <a:lnTo>
                      <a:pt x="307403" y="10236"/>
                    </a:lnTo>
                    <a:lnTo>
                      <a:pt x="317652" y="10236"/>
                    </a:lnTo>
                    <a:lnTo>
                      <a:pt x="317652" y="0"/>
                    </a:lnTo>
                    <a:close/>
                  </a:path>
                  <a:path w="4314190" h="10795">
                    <a:moveTo>
                      <a:pt x="379133" y="0"/>
                    </a:moveTo>
                    <a:lnTo>
                      <a:pt x="368884" y="0"/>
                    </a:lnTo>
                    <a:lnTo>
                      <a:pt x="368884" y="10236"/>
                    </a:lnTo>
                    <a:lnTo>
                      <a:pt x="379133" y="10236"/>
                    </a:lnTo>
                    <a:lnTo>
                      <a:pt x="379133" y="0"/>
                    </a:lnTo>
                    <a:close/>
                  </a:path>
                  <a:path w="4314190" h="10795">
                    <a:moveTo>
                      <a:pt x="440613" y="0"/>
                    </a:moveTo>
                    <a:lnTo>
                      <a:pt x="430364" y="0"/>
                    </a:lnTo>
                    <a:lnTo>
                      <a:pt x="430364" y="10236"/>
                    </a:lnTo>
                    <a:lnTo>
                      <a:pt x="440613" y="10236"/>
                    </a:lnTo>
                    <a:lnTo>
                      <a:pt x="440613" y="0"/>
                    </a:lnTo>
                    <a:close/>
                  </a:path>
                  <a:path w="4314190" h="10795">
                    <a:moveTo>
                      <a:pt x="502094" y="0"/>
                    </a:moveTo>
                    <a:lnTo>
                      <a:pt x="491845" y="0"/>
                    </a:lnTo>
                    <a:lnTo>
                      <a:pt x="491845" y="10236"/>
                    </a:lnTo>
                    <a:lnTo>
                      <a:pt x="502094" y="10236"/>
                    </a:lnTo>
                    <a:lnTo>
                      <a:pt x="502094" y="0"/>
                    </a:lnTo>
                    <a:close/>
                  </a:path>
                  <a:path w="4314190" h="10795">
                    <a:moveTo>
                      <a:pt x="563575" y="0"/>
                    </a:moveTo>
                    <a:lnTo>
                      <a:pt x="553326" y="0"/>
                    </a:lnTo>
                    <a:lnTo>
                      <a:pt x="553326" y="10236"/>
                    </a:lnTo>
                    <a:lnTo>
                      <a:pt x="563575" y="10236"/>
                    </a:lnTo>
                    <a:lnTo>
                      <a:pt x="563575" y="0"/>
                    </a:lnTo>
                    <a:close/>
                  </a:path>
                  <a:path w="4314190" h="10795">
                    <a:moveTo>
                      <a:pt x="625055" y="0"/>
                    </a:moveTo>
                    <a:lnTo>
                      <a:pt x="614807" y="0"/>
                    </a:lnTo>
                    <a:lnTo>
                      <a:pt x="614807" y="10236"/>
                    </a:lnTo>
                    <a:lnTo>
                      <a:pt x="625055" y="10236"/>
                    </a:lnTo>
                    <a:lnTo>
                      <a:pt x="625055" y="0"/>
                    </a:lnTo>
                    <a:close/>
                  </a:path>
                  <a:path w="4314190" h="10795">
                    <a:moveTo>
                      <a:pt x="686536" y="0"/>
                    </a:moveTo>
                    <a:lnTo>
                      <a:pt x="676287" y="0"/>
                    </a:lnTo>
                    <a:lnTo>
                      <a:pt x="676287" y="10236"/>
                    </a:lnTo>
                    <a:lnTo>
                      <a:pt x="686536" y="10236"/>
                    </a:lnTo>
                    <a:lnTo>
                      <a:pt x="686536" y="0"/>
                    </a:lnTo>
                    <a:close/>
                  </a:path>
                  <a:path w="4314190" h="10795">
                    <a:moveTo>
                      <a:pt x="748017" y="0"/>
                    </a:moveTo>
                    <a:lnTo>
                      <a:pt x="737768" y="0"/>
                    </a:lnTo>
                    <a:lnTo>
                      <a:pt x="737768" y="10236"/>
                    </a:lnTo>
                    <a:lnTo>
                      <a:pt x="748017" y="10236"/>
                    </a:lnTo>
                    <a:lnTo>
                      <a:pt x="748017" y="0"/>
                    </a:lnTo>
                    <a:close/>
                  </a:path>
                  <a:path w="4314190" h="10795">
                    <a:moveTo>
                      <a:pt x="809498" y="0"/>
                    </a:moveTo>
                    <a:lnTo>
                      <a:pt x="799249" y="0"/>
                    </a:lnTo>
                    <a:lnTo>
                      <a:pt x="799249" y="10236"/>
                    </a:lnTo>
                    <a:lnTo>
                      <a:pt x="809498" y="10236"/>
                    </a:lnTo>
                    <a:lnTo>
                      <a:pt x="809498" y="0"/>
                    </a:lnTo>
                    <a:close/>
                  </a:path>
                  <a:path w="4314190" h="10795">
                    <a:moveTo>
                      <a:pt x="870978" y="0"/>
                    </a:moveTo>
                    <a:lnTo>
                      <a:pt x="860729" y="0"/>
                    </a:lnTo>
                    <a:lnTo>
                      <a:pt x="860729" y="10236"/>
                    </a:lnTo>
                    <a:lnTo>
                      <a:pt x="870978" y="10236"/>
                    </a:lnTo>
                    <a:lnTo>
                      <a:pt x="870978" y="0"/>
                    </a:lnTo>
                    <a:close/>
                  </a:path>
                  <a:path w="4314190" h="10795">
                    <a:moveTo>
                      <a:pt x="932459" y="0"/>
                    </a:moveTo>
                    <a:lnTo>
                      <a:pt x="922210" y="0"/>
                    </a:lnTo>
                    <a:lnTo>
                      <a:pt x="922210" y="10236"/>
                    </a:lnTo>
                    <a:lnTo>
                      <a:pt x="932459" y="10236"/>
                    </a:lnTo>
                    <a:lnTo>
                      <a:pt x="932459" y="0"/>
                    </a:lnTo>
                    <a:close/>
                  </a:path>
                  <a:path w="4314190" h="10795">
                    <a:moveTo>
                      <a:pt x="993940" y="0"/>
                    </a:moveTo>
                    <a:lnTo>
                      <a:pt x="983691" y="0"/>
                    </a:lnTo>
                    <a:lnTo>
                      <a:pt x="983691" y="10236"/>
                    </a:lnTo>
                    <a:lnTo>
                      <a:pt x="993940" y="10236"/>
                    </a:lnTo>
                    <a:lnTo>
                      <a:pt x="993940" y="0"/>
                    </a:lnTo>
                    <a:close/>
                  </a:path>
                  <a:path w="4314190" h="10795">
                    <a:moveTo>
                      <a:pt x="1055420" y="0"/>
                    </a:moveTo>
                    <a:lnTo>
                      <a:pt x="1045171" y="0"/>
                    </a:lnTo>
                    <a:lnTo>
                      <a:pt x="1045171" y="10236"/>
                    </a:lnTo>
                    <a:lnTo>
                      <a:pt x="1055420" y="10236"/>
                    </a:lnTo>
                    <a:lnTo>
                      <a:pt x="1055420" y="0"/>
                    </a:lnTo>
                    <a:close/>
                  </a:path>
                  <a:path w="4314190" h="10795">
                    <a:moveTo>
                      <a:pt x="1116901" y="0"/>
                    </a:moveTo>
                    <a:lnTo>
                      <a:pt x="1106652" y="0"/>
                    </a:lnTo>
                    <a:lnTo>
                      <a:pt x="1106652" y="10236"/>
                    </a:lnTo>
                    <a:lnTo>
                      <a:pt x="1116901" y="10236"/>
                    </a:lnTo>
                    <a:lnTo>
                      <a:pt x="1116901" y="0"/>
                    </a:lnTo>
                    <a:close/>
                  </a:path>
                  <a:path w="4314190" h="10795">
                    <a:moveTo>
                      <a:pt x="1178382" y="0"/>
                    </a:moveTo>
                    <a:lnTo>
                      <a:pt x="1168133" y="0"/>
                    </a:lnTo>
                    <a:lnTo>
                      <a:pt x="1168133" y="10236"/>
                    </a:lnTo>
                    <a:lnTo>
                      <a:pt x="1178382" y="10236"/>
                    </a:lnTo>
                    <a:lnTo>
                      <a:pt x="1178382" y="0"/>
                    </a:lnTo>
                    <a:close/>
                  </a:path>
                  <a:path w="4314190" h="10795">
                    <a:moveTo>
                      <a:pt x="1239862" y="0"/>
                    </a:moveTo>
                    <a:lnTo>
                      <a:pt x="1229614" y="0"/>
                    </a:lnTo>
                    <a:lnTo>
                      <a:pt x="1229614" y="10236"/>
                    </a:lnTo>
                    <a:lnTo>
                      <a:pt x="1239862" y="10236"/>
                    </a:lnTo>
                    <a:lnTo>
                      <a:pt x="1239862" y="0"/>
                    </a:lnTo>
                    <a:close/>
                  </a:path>
                  <a:path w="4314190" h="10795">
                    <a:moveTo>
                      <a:pt x="1301343" y="0"/>
                    </a:moveTo>
                    <a:lnTo>
                      <a:pt x="1291094" y="0"/>
                    </a:lnTo>
                    <a:lnTo>
                      <a:pt x="1291094" y="10236"/>
                    </a:lnTo>
                    <a:lnTo>
                      <a:pt x="1301343" y="10236"/>
                    </a:lnTo>
                    <a:lnTo>
                      <a:pt x="1301343" y="0"/>
                    </a:lnTo>
                    <a:close/>
                  </a:path>
                  <a:path w="4314190" h="10795">
                    <a:moveTo>
                      <a:pt x="1362824" y="0"/>
                    </a:moveTo>
                    <a:lnTo>
                      <a:pt x="1352575" y="0"/>
                    </a:lnTo>
                    <a:lnTo>
                      <a:pt x="1352575" y="10236"/>
                    </a:lnTo>
                    <a:lnTo>
                      <a:pt x="1362824" y="10236"/>
                    </a:lnTo>
                    <a:lnTo>
                      <a:pt x="1362824" y="0"/>
                    </a:lnTo>
                    <a:close/>
                  </a:path>
                  <a:path w="4314190" h="10795">
                    <a:moveTo>
                      <a:pt x="1424305" y="0"/>
                    </a:moveTo>
                    <a:lnTo>
                      <a:pt x="1414056" y="0"/>
                    </a:lnTo>
                    <a:lnTo>
                      <a:pt x="1414056" y="10236"/>
                    </a:lnTo>
                    <a:lnTo>
                      <a:pt x="1424305" y="10236"/>
                    </a:lnTo>
                    <a:lnTo>
                      <a:pt x="1424305" y="0"/>
                    </a:lnTo>
                    <a:close/>
                  </a:path>
                  <a:path w="4314190" h="10795">
                    <a:moveTo>
                      <a:pt x="1485773" y="0"/>
                    </a:moveTo>
                    <a:lnTo>
                      <a:pt x="1475536" y="0"/>
                    </a:lnTo>
                    <a:lnTo>
                      <a:pt x="1475536" y="10236"/>
                    </a:lnTo>
                    <a:lnTo>
                      <a:pt x="1485773" y="10236"/>
                    </a:lnTo>
                    <a:lnTo>
                      <a:pt x="1485773" y="0"/>
                    </a:lnTo>
                    <a:close/>
                  </a:path>
                  <a:path w="4314190" h="10795">
                    <a:moveTo>
                      <a:pt x="1547253" y="0"/>
                    </a:moveTo>
                    <a:lnTo>
                      <a:pt x="1537017" y="0"/>
                    </a:lnTo>
                    <a:lnTo>
                      <a:pt x="1537017" y="10236"/>
                    </a:lnTo>
                    <a:lnTo>
                      <a:pt x="1547253" y="10236"/>
                    </a:lnTo>
                    <a:lnTo>
                      <a:pt x="1547253" y="0"/>
                    </a:lnTo>
                    <a:close/>
                  </a:path>
                  <a:path w="4314190" h="10795">
                    <a:moveTo>
                      <a:pt x="1608734" y="0"/>
                    </a:moveTo>
                    <a:lnTo>
                      <a:pt x="1598498" y="0"/>
                    </a:lnTo>
                    <a:lnTo>
                      <a:pt x="1598498" y="10236"/>
                    </a:lnTo>
                    <a:lnTo>
                      <a:pt x="1608734" y="10236"/>
                    </a:lnTo>
                    <a:lnTo>
                      <a:pt x="1608734" y="0"/>
                    </a:lnTo>
                    <a:close/>
                  </a:path>
                  <a:path w="4314190" h="10795">
                    <a:moveTo>
                      <a:pt x="1670215" y="0"/>
                    </a:moveTo>
                    <a:lnTo>
                      <a:pt x="1659978" y="0"/>
                    </a:lnTo>
                    <a:lnTo>
                      <a:pt x="1659978" y="10236"/>
                    </a:lnTo>
                    <a:lnTo>
                      <a:pt x="1670215" y="10236"/>
                    </a:lnTo>
                    <a:lnTo>
                      <a:pt x="1670215" y="0"/>
                    </a:lnTo>
                    <a:close/>
                  </a:path>
                  <a:path w="4314190" h="10795">
                    <a:moveTo>
                      <a:pt x="1731695" y="0"/>
                    </a:moveTo>
                    <a:lnTo>
                      <a:pt x="1721459" y="0"/>
                    </a:lnTo>
                    <a:lnTo>
                      <a:pt x="1721459" y="10236"/>
                    </a:lnTo>
                    <a:lnTo>
                      <a:pt x="1731695" y="10236"/>
                    </a:lnTo>
                    <a:lnTo>
                      <a:pt x="1731695" y="0"/>
                    </a:lnTo>
                    <a:close/>
                  </a:path>
                  <a:path w="4314190" h="10795">
                    <a:moveTo>
                      <a:pt x="1793176" y="0"/>
                    </a:moveTo>
                    <a:lnTo>
                      <a:pt x="1782940" y="0"/>
                    </a:lnTo>
                    <a:lnTo>
                      <a:pt x="1782940" y="10236"/>
                    </a:lnTo>
                    <a:lnTo>
                      <a:pt x="1793176" y="10236"/>
                    </a:lnTo>
                    <a:lnTo>
                      <a:pt x="1793176" y="0"/>
                    </a:lnTo>
                    <a:close/>
                  </a:path>
                  <a:path w="4314190" h="10795">
                    <a:moveTo>
                      <a:pt x="1854657" y="0"/>
                    </a:moveTo>
                    <a:lnTo>
                      <a:pt x="1844408" y="0"/>
                    </a:lnTo>
                    <a:lnTo>
                      <a:pt x="1844408" y="10236"/>
                    </a:lnTo>
                    <a:lnTo>
                      <a:pt x="1854657" y="10236"/>
                    </a:lnTo>
                    <a:lnTo>
                      <a:pt x="1854657" y="0"/>
                    </a:lnTo>
                    <a:close/>
                  </a:path>
                  <a:path w="4314190" h="10795">
                    <a:moveTo>
                      <a:pt x="1916137" y="0"/>
                    </a:moveTo>
                    <a:lnTo>
                      <a:pt x="1905889" y="0"/>
                    </a:lnTo>
                    <a:lnTo>
                      <a:pt x="1905889" y="10236"/>
                    </a:lnTo>
                    <a:lnTo>
                      <a:pt x="1916137" y="10236"/>
                    </a:lnTo>
                    <a:lnTo>
                      <a:pt x="1916137" y="0"/>
                    </a:lnTo>
                    <a:close/>
                  </a:path>
                  <a:path w="4314190" h="10795">
                    <a:moveTo>
                      <a:pt x="1977618" y="0"/>
                    </a:moveTo>
                    <a:lnTo>
                      <a:pt x="1967369" y="0"/>
                    </a:lnTo>
                    <a:lnTo>
                      <a:pt x="1967369" y="10236"/>
                    </a:lnTo>
                    <a:lnTo>
                      <a:pt x="1977618" y="10236"/>
                    </a:lnTo>
                    <a:lnTo>
                      <a:pt x="1977618" y="0"/>
                    </a:lnTo>
                    <a:close/>
                  </a:path>
                  <a:path w="4314190" h="10795">
                    <a:moveTo>
                      <a:pt x="2039099" y="0"/>
                    </a:moveTo>
                    <a:lnTo>
                      <a:pt x="2028850" y="0"/>
                    </a:lnTo>
                    <a:lnTo>
                      <a:pt x="2028850" y="10236"/>
                    </a:lnTo>
                    <a:lnTo>
                      <a:pt x="2039099" y="10236"/>
                    </a:lnTo>
                    <a:lnTo>
                      <a:pt x="2039099" y="0"/>
                    </a:lnTo>
                    <a:close/>
                  </a:path>
                  <a:path w="4314190" h="10795">
                    <a:moveTo>
                      <a:pt x="2100580" y="0"/>
                    </a:moveTo>
                    <a:lnTo>
                      <a:pt x="2090331" y="0"/>
                    </a:lnTo>
                    <a:lnTo>
                      <a:pt x="2090331" y="10236"/>
                    </a:lnTo>
                    <a:lnTo>
                      <a:pt x="2100580" y="10236"/>
                    </a:lnTo>
                    <a:lnTo>
                      <a:pt x="2100580" y="0"/>
                    </a:lnTo>
                    <a:close/>
                  </a:path>
                  <a:path w="4314190" h="10795">
                    <a:moveTo>
                      <a:pt x="2162060" y="0"/>
                    </a:moveTo>
                    <a:lnTo>
                      <a:pt x="2151811" y="0"/>
                    </a:lnTo>
                    <a:lnTo>
                      <a:pt x="2151811" y="10236"/>
                    </a:lnTo>
                    <a:lnTo>
                      <a:pt x="2162060" y="10236"/>
                    </a:lnTo>
                    <a:lnTo>
                      <a:pt x="2162060" y="0"/>
                    </a:lnTo>
                    <a:close/>
                  </a:path>
                  <a:path w="4314190" h="10795">
                    <a:moveTo>
                      <a:pt x="2223541" y="0"/>
                    </a:moveTo>
                    <a:lnTo>
                      <a:pt x="2213292" y="0"/>
                    </a:lnTo>
                    <a:lnTo>
                      <a:pt x="2213292" y="10236"/>
                    </a:lnTo>
                    <a:lnTo>
                      <a:pt x="2223541" y="10236"/>
                    </a:lnTo>
                    <a:lnTo>
                      <a:pt x="2223541" y="0"/>
                    </a:lnTo>
                    <a:close/>
                  </a:path>
                  <a:path w="4314190" h="10795">
                    <a:moveTo>
                      <a:pt x="2285022" y="0"/>
                    </a:moveTo>
                    <a:lnTo>
                      <a:pt x="2274773" y="0"/>
                    </a:lnTo>
                    <a:lnTo>
                      <a:pt x="2274773" y="10236"/>
                    </a:lnTo>
                    <a:lnTo>
                      <a:pt x="2285022" y="10236"/>
                    </a:lnTo>
                    <a:lnTo>
                      <a:pt x="2285022" y="0"/>
                    </a:lnTo>
                    <a:close/>
                  </a:path>
                  <a:path w="4314190" h="10795">
                    <a:moveTo>
                      <a:pt x="2346502" y="0"/>
                    </a:moveTo>
                    <a:lnTo>
                      <a:pt x="2336254" y="0"/>
                    </a:lnTo>
                    <a:lnTo>
                      <a:pt x="2336254" y="10236"/>
                    </a:lnTo>
                    <a:lnTo>
                      <a:pt x="2346502" y="10236"/>
                    </a:lnTo>
                    <a:lnTo>
                      <a:pt x="2346502" y="0"/>
                    </a:lnTo>
                    <a:close/>
                  </a:path>
                  <a:path w="4314190" h="10795">
                    <a:moveTo>
                      <a:pt x="2407983" y="0"/>
                    </a:moveTo>
                    <a:lnTo>
                      <a:pt x="2397734" y="0"/>
                    </a:lnTo>
                    <a:lnTo>
                      <a:pt x="2397734" y="10236"/>
                    </a:lnTo>
                    <a:lnTo>
                      <a:pt x="2407983" y="10236"/>
                    </a:lnTo>
                    <a:lnTo>
                      <a:pt x="2407983" y="0"/>
                    </a:lnTo>
                    <a:close/>
                  </a:path>
                  <a:path w="4314190" h="10795">
                    <a:moveTo>
                      <a:pt x="2469464" y="0"/>
                    </a:moveTo>
                    <a:lnTo>
                      <a:pt x="2459215" y="0"/>
                    </a:lnTo>
                    <a:lnTo>
                      <a:pt x="2459215" y="10236"/>
                    </a:lnTo>
                    <a:lnTo>
                      <a:pt x="2469464" y="10236"/>
                    </a:lnTo>
                    <a:lnTo>
                      <a:pt x="2469464" y="0"/>
                    </a:lnTo>
                    <a:close/>
                  </a:path>
                  <a:path w="4314190" h="10795">
                    <a:moveTo>
                      <a:pt x="2530945" y="0"/>
                    </a:moveTo>
                    <a:lnTo>
                      <a:pt x="2520696" y="0"/>
                    </a:lnTo>
                    <a:lnTo>
                      <a:pt x="2520696" y="10236"/>
                    </a:lnTo>
                    <a:lnTo>
                      <a:pt x="2530945" y="10236"/>
                    </a:lnTo>
                    <a:lnTo>
                      <a:pt x="2530945" y="0"/>
                    </a:lnTo>
                    <a:close/>
                  </a:path>
                  <a:path w="4314190" h="10795">
                    <a:moveTo>
                      <a:pt x="2592425" y="0"/>
                    </a:moveTo>
                    <a:lnTo>
                      <a:pt x="2582176" y="0"/>
                    </a:lnTo>
                    <a:lnTo>
                      <a:pt x="2582176" y="10236"/>
                    </a:lnTo>
                    <a:lnTo>
                      <a:pt x="2592425" y="10236"/>
                    </a:lnTo>
                    <a:lnTo>
                      <a:pt x="2592425" y="0"/>
                    </a:lnTo>
                    <a:close/>
                  </a:path>
                  <a:path w="4314190" h="10795">
                    <a:moveTo>
                      <a:pt x="2653906" y="0"/>
                    </a:moveTo>
                    <a:lnTo>
                      <a:pt x="2643657" y="0"/>
                    </a:lnTo>
                    <a:lnTo>
                      <a:pt x="2643657" y="10236"/>
                    </a:lnTo>
                    <a:lnTo>
                      <a:pt x="2653906" y="10236"/>
                    </a:lnTo>
                    <a:lnTo>
                      <a:pt x="2653906" y="0"/>
                    </a:lnTo>
                    <a:close/>
                  </a:path>
                  <a:path w="4314190" h="10795">
                    <a:moveTo>
                      <a:pt x="2715387" y="0"/>
                    </a:moveTo>
                    <a:lnTo>
                      <a:pt x="2705138" y="0"/>
                    </a:lnTo>
                    <a:lnTo>
                      <a:pt x="2705138" y="10236"/>
                    </a:lnTo>
                    <a:lnTo>
                      <a:pt x="2715387" y="10236"/>
                    </a:lnTo>
                    <a:lnTo>
                      <a:pt x="2715387" y="0"/>
                    </a:lnTo>
                    <a:close/>
                  </a:path>
                  <a:path w="4314190" h="10795">
                    <a:moveTo>
                      <a:pt x="2776867" y="0"/>
                    </a:moveTo>
                    <a:lnTo>
                      <a:pt x="2766618" y="0"/>
                    </a:lnTo>
                    <a:lnTo>
                      <a:pt x="2766618" y="10236"/>
                    </a:lnTo>
                    <a:lnTo>
                      <a:pt x="2776867" y="10236"/>
                    </a:lnTo>
                    <a:lnTo>
                      <a:pt x="2776867" y="0"/>
                    </a:lnTo>
                    <a:close/>
                  </a:path>
                  <a:path w="4314190" h="10795">
                    <a:moveTo>
                      <a:pt x="2838348" y="0"/>
                    </a:moveTo>
                    <a:lnTo>
                      <a:pt x="2828099" y="0"/>
                    </a:lnTo>
                    <a:lnTo>
                      <a:pt x="2828099" y="10236"/>
                    </a:lnTo>
                    <a:lnTo>
                      <a:pt x="2838348" y="10236"/>
                    </a:lnTo>
                    <a:lnTo>
                      <a:pt x="2838348" y="0"/>
                    </a:lnTo>
                    <a:close/>
                  </a:path>
                  <a:path w="4314190" h="10795">
                    <a:moveTo>
                      <a:pt x="2899829" y="0"/>
                    </a:moveTo>
                    <a:lnTo>
                      <a:pt x="2889580" y="0"/>
                    </a:lnTo>
                    <a:lnTo>
                      <a:pt x="2889580" y="10236"/>
                    </a:lnTo>
                    <a:lnTo>
                      <a:pt x="2899829" y="10236"/>
                    </a:lnTo>
                    <a:lnTo>
                      <a:pt x="2899829" y="0"/>
                    </a:lnTo>
                    <a:close/>
                  </a:path>
                  <a:path w="4314190" h="10795">
                    <a:moveTo>
                      <a:pt x="2961309" y="0"/>
                    </a:moveTo>
                    <a:lnTo>
                      <a:pt x="2951061" y="0"/>
                    </a:lnTo>
                    <a:lnTo>
                      <a:pt x="2951061" y="10236"/>
                    </a:lnTo>
                    <a:lnTo>
                      <a:pt x="2961309" y="10236"/>
                    </a:lnTo>
                    <a:lnTo>
                      <a:pt x="2961309" y="0"/>
                    </a:lnTo>
                    <a:close/>
                  </a:path>
                  <a:path w="4314190" h="10795">
                    <a:moveTo>
                      <a:pt x="3022790" y="0"/>
                    </a:moveTo>
                    <a:lnTo>
                      <a:pt x="3012541" y="0"/>
                    </a:lnTo>
                    <a:lnTo>
                      <a:pt x="3012541" y="10236"/>
                    </a:lnTo>
                    <a:lnTo>
                      <a:pt x="3022790" y="10236"/>
                    </a:lnTo>
                    <a:lnTo>
                      <a:pt x="3022790" y="0"/>
                    </a:lnTo>
                    <a:close/>
                  </a:path>
                  <a:path w="4314190" h="10795">
                    <a:moveTo>
                      <a:pt x="3084271" y="0"/>
                    </a:moveTo>
                    <a:lnTo>
                      <a:pt x="3074022" y="0"/>
                    </a:lnTo>
                    <a:lnTo>
                      <a:pt x="3074022" y="10236"/>
                    </a:lnTo>
                    <a:lnTo>
                      <a:pt x="3084271" y="10236"/>
                    </a:lnTo>
                    <a:lnTo>
                      <a:pt x="3084271" y="0"/>
                    </a:lnTo>
                    <a:close/>
                  </a:path>
                  <a:path w="4314190" h="10795">
                    <a:moveTo>
                      <a:pt x="3145752" y="0"/>
                    </a:moveTo>
                    <a:lnTo>
                      <a:pt x="3135503" y="0"/>
                    </a:lnTo>
                    <a:lnTo>
                      <a:pt x="3135503" y="10236"/>
                    </a:lnTo>
                    <a:lnTo>
                      <a:pt x="3145752" y="10236"/>
                    </a:lnTo>
                    <a:lnTo>
                      <a:pt x="3145752" y="0"/>
                    </a:lnTo>
                    <a:close/>
                  </a:path>
                  <a:path w="4314190" h="10795">
                    <a:moveTo>
                      <a:pt x="3207232" y="0"/>
                    </a:moveTo>
                    <a:lnTo>
                      <a:pt x="3196983" y="0"/>
                    </a:lnTo>
                    <a:lnTo>
                      <a:pt x="3196983" y="10236"/>
                    </a:lnTo>
                    <a:lnTo>
                      <a:pt x="3207232" y="10236"/>
                    </a:lnTo>
                    <a:lnTo>
                      <a:pt x="3207232" y="0"/>
                    </a:lnTo>
                    <a:close/>
                  </a:path>
                  <a:path w="4314190" h="10795">
                    <a:moveTo>
                      <a:pt x="3268713" y="0"/>
                    </a:moveTo>
                    <a:lnTo>
                      <a:pt x="3258464" y="0"/>
                    </a:lnTo>
                    <a:lnTo>
                      <a:pt x="3258464" y="10236"/>
                    </a:lnTo>
                    <a:lnTo>
                      <a:pt x="3268713" y="10236"/>
                    </a:lnTo>
                    <a:lnTo>
                      <a:pt x="3268713" y="0"/>
                    </a:lnTo>
                    <a:close/>
                  </a:path>
                  <a:path w="4314190" h="10795">
                    <a:moveTo>
                      <a:pt x="3330194" y="0"/>
                    </a:moveTo>
                    <a:lnTo>
                      <a:pt x="3319945" y="0"/>
                    </a:lnTo>
                    <a:lnTo>
                      <a:pt x="3319945" y="10236"/>
                    </a:lnTo>
                    <a:lnTo>
                      <a:pt x="3330194" y="10236"/>
                    </a:lnTo>
                    <a:lnTo>
                      <a:pt x="3330194" y="0"/>
                    </a:lnTo>
                    <a:close/>
                  </a:path>
                  <a:path w="4314190" h="10795">
                    <a:moveTo>
                      <a:pt x="3391674" y="0"/>
                    </a:moveTo>
                    <a:lnTo>
                      <a:pt x="3381425" y="0"/>
                    </a:lnTo>
                    <a:lnTo>
                      <a:pt x="3381425" y="10236"/>
                    </a:lnTo>
                    <a:lnTo>
                      <a:pt x="3391674" y="10236"/>
                    </a:lnTo>
                    <a:lnTo>
                      <a:pt x="3391674" y="0"/>
                    </a:lnTo>
                    <a:close/>
                  </a:path>
                  <a:path w="4314190" h="10795">
                    <a:moveTo>
                      <a:pt x="3453155" y="0"/>
                    </a:moveTo>
                    <a:lnTo>
                      <a:pt x="3442906" y="0"/>
                    </a:lnTo>
                    <a:lnTo>
                      <a:pt x="3442906" y="10236"/>
                    </a:lnTo>
                    <a:lnTo>
                      <a:pt x="3453155" y="10236"/>
                    </a:lnTo>
                    <a:lnTo>
                      <a:pt x="3453155" y="0"/>
                    </a:lnTo>
                    <a:close/>
                  </a:path>
                  <a:path w="4314190" h="10795">
                    <a:moveTo>
                      <a:pt x="3514636" y="0"/>
                    </a:moveTo>
                    <a:lnTo>
                      <a:pt x="3504387" y="0"/>
                    </a:lnTo>
                    <a:lnTo>
                      <a:pt x="3504387" y="10236"/>
                    </a:lnTo>
                    <a:lnTo>
                      <a:pt x="3514636" y="10236"/>
                    </a:lnTo>
                    <a:lnTo>
                      <a:pt x="3514636" y="0"/>
                    </a:lnTo>
                    <a:close/>
                  </a:path>
                  <a:path w="4314190" h="10795">
                    <a:moveTo>
                      <a:pt x="3576116" y="0"/>
                    </a:moveTo>
                    <a:lnTo>
                      <a:pt x="3565868" y="0"/>
                    </a:lnTo>
                    <a:lnTo>
                      <a:pt x="3565868" y="10236"/>
                    </a:lnTo>
                    <a:lnTo>
                      <a:pt x="3576116" y="10236"/>
                    </a:lnTo>
                    <a:lnTo>
                      <a:pt x="3576116" y="0"/>
                    </a:lnTo>
                    <a:close/>
                  </a:path>
                  <a:path w="4314190" h="10795">
                    <a:moveTo>
                      <a:pt x="3637584" y="0"/>
                    </a:moveTo>
                    <a:lnTo>
                      <a:pt x="3627348" y="0"/>
                    </a:lnTo>
                    <a:lnTo>
                      <a:pt x="3627348" y="10236"/>
                    </a:lnTo>
                    <a:lnTo>
                      <a:pt x="3637584" y="10236"/>
                    </a:lnTo>
                    <a:lnTo>
                      <a:pt x="3637584" y="0"/>
                    </a:lnTo>
                    <a:close/>
                  </a:path>
                  <a:path w="4314190" h="10795">
                    <a:moveTo>
                      <a:pt x="3699065" y="0"/>
                    </a:moveTo>
                    <a:lnTo>
                      <a:pt x="3688829" y="0"/>
                    </a:lnTo>
                    <a:lnTo>
                      <a:pt x="3688829" y="10236"/>
                    </a:lnTo>
                    <a:lnTo>
                      <a:pt x="3699065" y="10236"/>
                    </a:lnTo>
                    <a:lnTo>
                      <a:pt x="3699065" y="0"/>
                    </a:lnTo>
                    <a:close/>
                  </a:path>
                  <a:path w="4314190" h="10795">
                    <a:moveTo>
                      <a:pt x="3760546" y="0"/>
                    </a:moveTo>
                    <a:lnTo>
                      <a:pt x="3750310" y="0"/>
                    </a:lnTo>
                    <a:lnTo>
                      <a:pt x="3750310" y="10236"/>
                    </a:lnTo>
                    <a:lnTo>
                      <a:pt x="3760546" y="10236"/>
                    </a:lnTo>
                    <a:lnTo>
                      <a:pt x="3760546" y="0"/>
                    </a:lnTo>
                    <a:close/>
                  </a:path>
                  <a:path w="4314190" h="10795">
                    <a:moveTo>
                      <a:pt x="3822027" y="0"/>
                    </a:moveTo>
                    <a:lnTo>
                      <a:pt x="3811790" y="0"/>
                    </a:lnTo>
                    <a:lnTo>
                      <a:pt x="3811790" y="10236"/>
                    </a:lnTo>
                    <a:lnTo>
                      <a:pt x="3822027" y="10236"/>
                    </a:lnTo>
                    <a:lnTo>
                      <a:pt x="3822027" y="0"/>
                    </a:lnTo>
                    <a:close/>
                  </a:path>
                  <a:path w="4314190" h="10795">
                    <a:moveTo>
                      <a:pt x="3883507" y="0"/>
                    </a:moveTo>
                    <a:lnTo>
                      <a:pt x="3873271" y="0"/>
                    </a:lnTo>
                    <a:lnTo>
                      <a:pt x="3873271" y="10236"/>
                    </a:lnTo>
                    <a:lnTo>
                      <a:pt x="3883507" y="10236"/>
                    </a:lnTo>
                    <a:lnTo>
                      <a:pt x="3883507" y="0"/>
                    </a:lnTo>
                    <a:close/>
                  </a:path>
                  <a:path w="4314190" h="10795">
                    <a:moveTo>
                      <a:pt x="3944988" y="0"/>
                    </a:moveTo>
                    <a:lnTo>
                      <a:pt x="3934752" y="0"/>
                    </a:lnTo>
                    <a:lnTo>
                      <a:pt x="3934752" y="10236"/>
                    </a:lnTo>
                    <a:lnTo>
                      <a:pt x="3944988" y="10236"/>
                    </a:lnTo>
                    <a:lnTo>
                      <a:pt x="3944988" y="0"/>
                    </a:lnTo>
                    <a:close/>
                  </a:path>
                  <a:path w="4314190" h="10795">
                    <a:moveTo>
                      <a:pt x="4006469" y="0"/>
                    </a:moveTo>
                    <a:lnTo>
                      <a:pt x="3996220" y="0"/>
                    </a:lnTo>
                    <a:lnTo>
                      <a:pt x="3996220" y="10236"/>
                    </a:lnTo>
                    <a:lnTo>
                      <a:pt x="4006469" y="10236"/>
                    </a:lnTo>
                    <a:lnTo>
                      <a:pt x="4006469" y="0"/>
                    </a:lnTo>
                    <a:close/>
                  </a:path>
                  <a:path w="4314190" h="10795">
                    <a:moveTo>
                      <a:pt x="4067949" y="0"/>
                    </a:moveTo>
                    <a:lnTo>
                      <a:pt x="4057700" y="0"/>
                    </a:lnTo>
                    <a:lnTo>
                      <a:pt x="4057700" y="10236"/>
                    </a:lnTo>
                    <a:lnTo>
                      <a:pt x="4067949" y="10236"/>
                    </a:lnTo>
                    <a:lnTo>
                      <a:pt x="4067949" y="0"/>
                    </a:lnTo>
                    <a:close/>
                  </a:path>
                  <a:path w="4314190" h="10795">
                    <a:moveTo>
                      <a:pt x="4129430" y="0"/>
                    </a:moveTo>
                    <a:lnTo>
                      <a:pt x="4119181" y="0"/>
                    </a:lnTo>
                    <a:lnTo>
                      <a:pt x="4119181" y="10236"/>
                    </a:lnTo>
                    <a:lnTo>
                      <a:pt x="4129430" y="10236"/>
                    </a:lnTo>
                    <a:lnTo>
                      <a:pt x="4129430" y="0"/>
                    </a:lnTo>
                    <a:close/>
                  </a:path>
                  <a:path w="4314190" h="10795">
                    <a:moveTo>
                      <a:pt x="4190911" y="0"/>
                    </a:moveTo>
                    <a:lnTo>
                      <a:pt x="4180662" y="0"/>
                    </a:lnTo>
                    <a:lnTo>
                      <a:pt x="4180662" y="10236"/>
                    </a:lnTo>
                    <a:lnTo>
                      <a:pt x="4190911" y="10236"/>
                    </a:lnTo>
                    <a:lnTo>
                      <a:pt x="4190911" y="0"/>
                    </a:lnTo>
                    <a:close/>
                  </a:path>
                  <a:path w="4314190" h="10795">
                    <a:moveTo>
                      <a:pt x="4252392" y="0"/>
                    </a:moveTo>
                    <a:lnTo>
                      <a:pt x="4242143" y="0"/>
                    </a:lnTo>
                    <a:lnTo>
                      <a:pt x="4242143" y="10236"/>
                    </a:lnTo>
                    <a:lnTo>
                      <a:pt x="4252392" y="10236"/>
                    </a:lnTo>
                    <a:lnTo>
                      <a:pt x="4252392" y="0"/>
                    </a:lnTo>
                    <a:close/>
                  </a:path>
                  <a:path w="4314190" h="10795">
                    <a:moveTo>
                      <a:pt x="4313872" y="0"/>
                    </a:moveTo>
                    <a:lnTo>
                      <a:pt x="4303623" y="0"/>
                    </a:lnTo>
                    <a:lnTo>
                      <a:pt x="4303623" y="10236"/>
                    </a:lnTo>
                    <a:lnTo>
                      <a:pt x="4313872" y="10236"/>
                    </a:lnTo>
                    <a:lnTo>
                      <a:pt x="4313872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5" name="object 275"/>
              <p:cNvSpPr/>
              <p:nvPr/>
            </p:nvSpPr>
            <p:spPr>
              <a:xfrm>
                <a:off x="5377561" y="5163502"/>
                <a:ext cx="809625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809625" h="1079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809625" h="10795">
                    <a:moveTo>
                      <a:pt x="71729" y="0"/>
                    </a:moveTo>
                    <a:lnTo>
                      <a:pt x="61480" y="0"/>
                    </a:lnTo>
                    <a:lnTo>
                      <a:pt x="61480" y="10236"/>
                    </a:lnTo>
                    <a:lnTo>
                      <a:pt x="71729" y="10236"/>
                    </a:lnTo>
                    <a:lnTo>
                      <a:pt x="71729" y="0"/>
                    </a:lnTo>
                    <a:close/>
                  </a:path>
                  <a:path w="809625" h="10795">
                    <a:moveTo>
                      <a:pt x="133210" y="0"/>
                    </a:moveTo>
                    <a:lnTo>
                      <a:pt x="122961" y="0"/>
                    </a:lnTo>
                    <a:lnTo>
                      <a:pt x="122961" y="10236"/>
                    </a:lnTo>
                    <a:lnTo>
                      <a:pt x="133210" y="10236"/>
                    </a:lnTo>
                    <a:lnTo>
                      <a:pt x="133210" y="0"/>
                    </a:lnTo>
                    <a:close/>
                  </a:path>
                  <a:path w="809625" h="10795">
                    <a:moveTo>
                      <a:pt x="194691" y="0"/>
                    </a:moveTo>
                    <a:lnTo>
                      <a:pt x="184442" y="0"/>
                    </a:lnTo>
                    <a:lnTo>
                      <a:pt x="184442" y="10236"/>
                    </a:lnTo>
                    <a:lnTo>
                      <a:pt x="194691" y="10236"/>
                    </a:lnTo>
                    <a:lnTo>
                      <a:pt x="194691" y="0"/>
                    </a:lnTo>
                    <a:close/>
                  </a:path>
                  <a:path w="809625" h="10795">
                    <a:moveTo>
                      <a:pt x="256171" y="0"/>
                    </a:moveTo>
                    <a:lnTo>
                      <a:pt x="245922" y="0"/>
                    </a:lnTo>
                    <a:lnTo>
                      <a:pt x="245922" y="10236"/>
                    </a:lnTo>
                    <a:lnTo>
                      <a:pt x="256171" y="10236"/>
                    </a:lnTo>
                    <a:lnTo>
                      <a:pt x="256171" y="0"/>
                    </a:lnTo>
                    <a:close/>
                  </a:path>
                  <a:path w="809625" h="10795">
                    <a:moveTo>
                      <a:pt x="317652" y="0"/>
                    </a:moveTo>
                    <a:lnTo>
                      <a:pt x="307403" y="0"/>
                    </a:lnTo>
                    <a:lnTo>
                      <a:pt x="307403" y="10236"/>
                    </a:lnTo>
                    <a:lnTo>
                      <a:pt x="317652" y="10236"/>
                    </a:lnTo>
                    <a:lnTo>
                      <a:pt x="317652" y="0"/>
                    </a:lnTo>
                    <a:close/>
                  </a:path>
                  <a:path w="809625" h="10795">
                    <a:moveTo>
                      <a:pt x="379133" y="0"/>
                    </a:moveTo>
                    <a:lnTo>
                      <a:pt x="368884" y="0"/>
                    </a:lnTo>
                    <a:lnTo>
                      <a:pt x="368884" y="10236"/>
                    </a:lnTo>
                    <a:lnTo>
                      <a:pt x="379133" y="10236"/>
                    </a:lnTo>
                    <a:lnTo>
                      <a:pt x="379133" y="0"/>
                    </a:lnTo>
                    <a:close/>
                  </a:path>
                  <a:path w="809625" h="10795">
                    <a:moveTo>
                      <a:pt x="440613" y="0"/>
                    </a:moveTo>
                    <a:lnTo>
                      <a:pt x="430364" y="0"/>
                    </a:lnTo>
                    <a:lnTo>
                      <a:pt x="430364" y="10236"/>
                    </a:lnTo>
                    <a:lnTo>
                      <a:pt x="440613" y="10236"/>
                    </a:lnTo>
                    <a:lnTo>
                      <a:pt x="440613" y="0"/>
                    </a:lnTo>
                    <a:close/>
                  </a:path>
                  <a:path w="809625" h="10795">
                    <a:moveTo>
                      <a:pt x="502094" y="0"/>
                    </a:moveTo>
                    <a:lnTo>
                      <a:pt x="491845" y="0"/>
                    </a:lnTo>
                    <a:lnTo>
                      <a:pt x="491845" y="10236"/>
                    </a:lnTo>
                    <a:lnTo>
                      <a:pt x="502094" y="10236"/>
                    </a:lnTo>
                    <a:lnTo>
                      <a:pt x="502094" y="0"/>
                    </a:lnTo>
                    <a:close/>
                  </a:path>
                  <a:path w="809625" h="10795">
                    <a:moveTo>
                      <a:pt x="563575" y="0"/>
                    </a:moveTo>
                    <a:lnTo>
                      <a:pt x="553326" y="0"/>
                    </a:lnTo>
                    <a:lnTo>
                      <a:pt x="553326" y="10236"/>
                    </a:lnTo>
                    <a:lnTo>
                      <a:pt x="563575" y="10236"/>
                    </a:lnTo>
                    <a:lnTo>
                      <a:pt x="563575" y="0"/>
                    </a:lnTo>
                    <a:close/>
                  </a:path>
                  <a:path w="809625" h="10795">
                    <a:moveTo>
                      <a:pt x="625055" y="0"/>
                    </a:moveTo>
                    <a:lnTo>
                      <a:pt x="614807" y="0"/>
                    </a:lnTo>
                    <a:lnTo>
                      <a:pt x="614807" y="10236"/>
                    </a:lnTo>
                    <a:lnTo>
                      <a:pt x="625055" y="10236"/>
                    </a:lnTo>
                    <a:lnTo>
                      <a:pt x="625055" y="0"/>
                    </a:lnTo>
                    <a:close/>
                  </a:path>
                  <a:path w="809625" h="10795">
                    <a:moveTo>
                      <a:pt x="686536" y="0"/>
                    </a:moveTo>
                    <a:lnTo>
                      <a:pt x="676287" y="0"/>
                    </a:lnTo>
                    <a:lnTo>
                      <a:pt x="676287" y="10236"/>
                    </a:lnTo>
                    <a:lnTo>
                      <a:pt x="686536" y="10236"/>
                    </a:lnTo>
                    <a:lnTo>
                      <a:pt x="686536" y="0"/>
                    </a:lnTo>
                    <a:close/>
                  </a:path>
                  <a:path w="809625" h="10795">
                    <a:moveTo>
                      <a:pt x="748017" y="0"/>
                    </a:moveTo>
                    <a:lnTo>
                      <a:pt x="737768" y="0"/>
                    </a:lnTo>
                    <a:lnTo>
                      <a:pt x="737768" y="10236"/>
                    </a:lnTo>
                    <a:lnTo>
                      <a:pt x="748017" y="10236"/>
                    </a:lnTo>
                    <a:lnTo>
                      <a:pt x="748017" y="0"/>
                    </a:lnTo>
                    <a:close/>
                  </a:path>
                  <a:path w="809625" h="10795">
                    <a:moveTo>
                      <a:pt x="809498" y="0"/>
                    </a:moveTo>
                    <a:lnTo>
                      <a:pt x="799249" y="0"/>
                    </a:lnTo>
                    <a:lnTo>
                      <a:pt x="799249" y="10236"/>
                    </a:lnTo>
                    <a:lnTo>
                      <a:pt x="809498" y="10236"/>
                    </a:lnTo>
                    <a:lnTo>
                      <a:pt x="80949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6" name="object 276"/>
              <p:cNvSpPr/>
              <p:nvPr/>
            </p:nvSpPr>
            <p:spPr>
              <a:xfrm>
                <a:off x="684572" y="4826954"/>
                <a:ext cx="5480050" cy="1930400"/>
              </a:xfrm>
              <a:custGeom>
                <a:avLst/>
                <a:gdLst/>
                <a:ahLst/>
                <a:cxnLst/>
                <a:rect l="l" t="t" r="r" b="b"/>
                <a:pathLst>
                  <a:path w="5480050" h="1930400">
                    <a:moveTo>
                      <a:pt x="0" y="874922"/>
                    </a:moveTo>
                    <a:lnTo>
                      <a:pt x="249070" y="980757"/>
                    </a:lnTo>
                    <a:lnTo>
                      <a:pt x="498141" y="1024836"/>
                    </a:lnTo>
                    <a:lnTo>
                      <a:pt x="747212" y="909186"/>
                    </a:lnTo>
                    <a:lnTo>
                      <a:pt x="996283" y="481944"/>
                    </a:lnTo>
                    <a:lnTo>
                      <a:pt x="1245354" y="352296"/>
                    </a:lnTo>
                    <a:lnTo>
                      <a:pt x="1494424" y="226186"/>
                    </a:lnTo>
                    <a:lnTo>
                      <a:pt x="1743495" y="90441"/>
                    </a:lnTo>
                    <a:lnTo>
                      <a:pt x="1992566" y="0"/>
                    </a:lnTo>
                    <a:lnTo>
                      <a:pt x="2241637" y="4869"/>
                    </a:lnTo>
                    <a:lnTo>
                      <a:pt x="2490708" y="133587"/>
                    </a:lnTo>
                    <a:lnTo>
                      <a:pt x="2739778" y="541585"/>
                    </a:lnTo>
                    <a:lnTo>
                      <a:pt x="2988849" y="446347"/>
                    </a:lnTo>
                    <a:lnTo>
                      <a:pt x="3237920" y="521323"/>
                    </a:lnTo>
                    <a:lnTo>
                      <a:pt x="3486991" y="647036"/>
                    </a:lnTo>
                    <a:lnTo>
                      <a:pt x="3736062" y="794045"/>
                    </a:lnTo>
                    <a:lnTo>
                      <a:pt x="3985133" y="1108171"/>
                    </a:lnTo>
                    <a:lnTo>
                      <a:pt x="4234203" y="1542799"/>
                    </a:lnTo>
                    <a:lnTo>
                      <a:pt x="4483274" y="1757789"/>
                    </a:lnTo>
                    <a:lnTo>
                      <a:pt x="4732345" y="1886850"/>
                    </a:lnTo>
                    <a:lnTo>
                      <a:pt x="4981416" y="1886892"/>
                    </a:lnTo>
                    <a:lnTo>
                      <a:pt x="5230487" y="1909967"/>
                    </a:lnTo>
                    <a:lnTo>
                      <a:pt x="5479557" y="1930030"/>
                    </a:lnTo>
                  </a:path>
                </a:pathLst>
              </a:custGeom>
              <a:ln w="30732">
                <a:solidFill>
                  <a:srgbClr val="666666"/>
                </a:solidFill>
              </a:ln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277" name="object 277"/>
            <p:cNvSpPr/>
            <p:nvPr/>
          </p:nvSpPr>
          <p:spPr>
            <a:xfrm>
              <a:off x="5818144" y="584710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78" name="object 278"/>
            <p:cNvSpPr txBox="1"/>
            <p:nvPr/>
          </p:nvSpPr>
          <p:spPr>
            <a:xfrm>
              <a:off x="608799" y="5766661"/>
              <a:ext cx="13951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5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9" name="object 279"/>
            <p:cNvSpPr/>
            <p:nvPr/>
          </p:nvSpPr>
          <p:spPr>
            <a:xfrm>
              <a:off x="827387" y="5416742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0" name="object 280"/>
            <p:cNvSpPr/>
            <p:nvPr/>
          </p:nvSpPr>
          <p:spPr>
            <a:xfrm>
              <a:off x="5818144" y="5416742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1" name="object 281"/>
            <p:cNvSpPr txBox="1"/>
            <p:nvPr/>
          </p:nvSpPr>
          <p:spPr>
            <a:xfrm>
              <a:off x="550312" y="5336300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1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2" name="object 282"/>
            <p:cNvSpPr/>
            <p:nvPr/>
          </p:nvSpPr>
          <p:spPr>
            <a:xfrm>
              <a:off x="827387" y="4986382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3" name="object 283"/>
            <p:cNvSpPr/>
            <p:nvPr/>
          </p:nvSpPr>
          <p:spPr>
            <a:xfrm>
              <a:off x="5818144" y="4986382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4" name="object 284"/>
            <p:cNvSpPr txBox="1"/>
            <p:nvPr/>
          </p:nvSpPr>
          <p:spPr>
            <a:xfrm>
              <a:off x="550312" y="4905939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15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5" name="object 285"/>
            <p:cNvSpPr/>
            <p:nvPr/>
          </p:nvSpPr>
          <p:spPr>
            <a:xfrm>
              <a:off x="827387" y="455602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6" name="object 286"/>
            <p:cNvSpPr/>
            <p:nvPr/>
          </p:nvSpPr>
          <p:spPr>
            <a:xfrm>
              <a:off x="5818144" y="455602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7" name="object 287"/>
            <p:cNvSpPr txBox="1"/>
            <p:nvPr/>
          </p:nvSpPr>
          <p:spPr>
            <a:xfrm>
              <a:off x="550312" y="4475579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8" name="object 288"/>
            <p:cNvSpPr/>
            <p:nvPr/>
          </p:nvSpPr>
          <p:spPr>
            <a:xfrm>
              <a:off x="827387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9" name="object 289"/>
            <p:cNvSpPr/>
            <p:nvPr/>
          </p:nvSpPr>
          <p:spPr>
            <a:xfrm>
              <a:off x="88163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0" name="object 290"/>
            <p:cNvSpPr/>
            <p:nvPr/>
          </p:nvSpPr>
          <p:spPr>
            <a:xfrm>
              <a:off x="935881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1" name="object 291"/>
            <p:cNvSpPr/>
            <p:nvPr/>
          </p:nvSpPr>
          <p:spPr>
            <a:xfrm>
              <a:off x="99012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2" name="object 292"/>
            <p:cNvSpPr/>
            <p:nvPr/>
          </p:nvSpPr>
          <p:spPr>
            <a:xfrm>
              <a:off x="1044376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3" name="object 293"/>
            <p:cNvSpPr/>
            <p:nvPr/>
          </p:nvSpPr>
          <p:spPr>
            <a:xfrm>
              <a:off x="109862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4" name="object 294"/>
            <p:cNvSpPr/>
            <p:nvPr/>
          </p:nvSpPr>
          <p:spPr>
            <a:xfrm>
              <a:off x="1152871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5" name="object 295"/>
            <p:cNvSpPr/>
            <p:nvPr/>
          </p:nvSpPr>
          <p:spPr>
            <a:xfrm>
              <a:off x="120711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6" name="object 296"/>
            <p:cNvSpPr/>
            <p:nvPr/>
          </p:nvSpPr>
          <p:spPr>
            <a:xfrm>
              <a:off x="1261366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7" name="object 297"/>
            <p:cNvSpPr/>
            <p:nvPr/>
          </p:nvSpPr>
          <p:spPr>
            <a:xfrm>
              <a:off x="131561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8" name="object 298"/>
            <p:cNvSpPr/>
            <p:nvPr/>
          </p:nvSpPr>
          <p:spPr>
            <a:xfrm>
              <a:off x="136986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9" name="object 299"/>
            <p:cNvSpPr/>
            <p:nvPr/>
          </p:nvSpPr>
          <p:spPr>
            <a:xfrm>
              <a:off x="142410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0" name="object 300"/>
            <p:cNvSpPr/>
            <p:nvPr/>
          </p:nvSpPr>
          <p:spPr>
            <a:xfrm>
              <a:off x="147835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1" name="object 301"/>
            <p:cNvSpPr/>
            <p:nvPr/>
          </p:nvSpPr>
          <p:spPr>
            <a:xfrm>
              <a:off x="153260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2" name="object 302"/>
            <p:cNvSpPr/>
            <p:nvPr/>
          </p:nvSpPr>
          <p:spPr>
            <a:xfrm>
              <a:off x="158685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3" name="object 303"/>
            <p:cNvSpPr/>
            <p:nvPr/>
          </p:nvSpPr>
          <p:spPr>
            <a:xfrm>
              <a:off x="164109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4" name="object 304"/>
            <p:cNvSpPr/>
            <p:nvPr/>
          </p:nvSpPr>
          <p:spPr>
            <a:xfrm>
              <a:off x="169534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5" name="object 305"/>
            <p:cNvSpPr/>
            <p:nvPr/>
          </p:nvSpPr>
          <p:spPr>
            <a:xfrm>
              <a:off x="174959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6" name="object 306"/>
            <p:cNvSpPr/>
            <p:nvPr/>
          </p:nvSpPr>
          <p:spPr>
            <a:xfrm>
              <a:off x="180384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7" name="object 307"/>
            <p:cNvSpPr/>
            <p:nvPr/>
          </p:nvSpPr>
          <p:spPr>
            <a:xfrm>
              <a:off x="1858087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8" name="object 308"/>
            <p:cNvSpPr/>
            <p:nvPr/>
          </p:nvSpPr>
          <p:spPr>
            <a:xfrm>
              <a:off x="191233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9" name="object 309"/>
            <p:cNvSpPr/>
            <p:nvPr/>
          </p:nvSpPr>
          <p:spPr>
            <a:xfrm>
              <a:off x="1966582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0" name="object 310"/>
            <p:cNvSpPr/>
            <p:nvPr/>
          </p:nvSpPr>
          <p:spPr>
            <a:xfrm>
              <a:off x="202082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1" name="object 311"/>
            <p:cNvSpPr/>
            <p:nvPr/>
          </p:nvSpPr>
          <p:spPr>
            <a:xfrm>
              <a:off x="2075076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2" name="object 312"/>
            <p:cNvSpPr/>
            <p:nvPr/>
          </p:nvSpPr>
          <p:spPr>
            <a:xfrm>
              <a:off x="212932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3" name="object 313"/>
            <p:cNvSpPr/>
            <p:nvPr/>
          </p:nvSpPr>
          <p:spPr>
            <a:xfrm>
              <a:off x="2183571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4" name="object 314"/>
            <p:cNvSpPr/>
            <p:nvPr/>
          </p:nvSpPr>
          <p:spPr>
            <a:xfrm>
              <a:off x="223781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5" name="object 315"/>
            <p:cNvSpPr/>
            <p:nvPr/>
          </p:nvSpPr>
          <p:spPr>
            <a:xfrm>
              <a:off x="2292066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6" name="object 316"/>
            <p:cNvSpPr/>
            <p:nvPr/>
          </p:nvSpPr>
          <p:spPr>
            <a:xfrm>
              <a:off x="234631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8" name="object 318"/>
            <p:cNvSpPr/>
            <p:nvPr/>
          </p:nvSpPr>
          <p:spPr>
            <a:xfrm>
              <a:off x="2400561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9" name="object 319"/>
            <p:cNvSpPr/>
            <p:nvPr/>
          </p:nvSpPr>
          <p:spPr>
            <a:xfrm>
              <a:off x="245480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0" name="object 320"/>
            <p:cNvSpPr/>
            <p:nvPr/>
          </p:nvSpPr>
          <p:spPr>
            <a:xfrm>
              <a:off x="250905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1" name="object 321"/>
            <p:cNvSpPr/>
            <p:nvPr/>
          </p:nvSpPr>
          <p:spPr>
            <a:xfrm>
              <a:off x="256330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2" name="object 322"/>
            <p:cNvSpPr/>
            <p:nvPr/>
          </p:nvSpPr>
          <p:spPr>
            <a:xfrm>
              <a:off x="261755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3" name="object 323"/>
            <p:cNvSpPr/>
            <p:nvPr/>
          </p:nvSpPr>
          <p:spPr>
            <a:xfrm>
              <a:off x="2671797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4" name="object 324"/>
            <p:cNvSpPr/>
            <p:nvPr/>
          </p:nvSpPr>
          <p:spPr>
            <a:xfrm>
              <a:off x="272604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5" name="object 325"/>
            <p:cNvSpPr/>
            <p:nvPr/>
          </p:nvSpPr>
          <p:spPr>
            <a:xfrm>
              <a:off x="2780292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6" name="object 326"/>
            <p:cNvSpPr/>
            <p:nvPr/>
          </p:nvSpPr>
          <p:spPr>
            <a:xfrm>
              <a:off x="283453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7" name="object 327"/>
            <p:cNvSpPr/>
            <p:nvPr/>
          </p:nvSpPr>
          <p:spPr>
            <a:xfrm>
              <a:off x="2888787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8" name="object 328"/>
            <p:cNvSpPr/>
            <p:nvPr/>
          </p:nvSpPr>
          <p:spPr>
            <a:xfrm>
              <a:off x="294303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9" name="object 329"/>
            <p:cNvSpPr/>
            <p:nvPr/>
          </p:nvSpPr>
          <p:spPr>
            <a:xfrm>
              <a:off x="2997281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0" name="object 330"/>
            <p:cNvSpPr/>
            <p:nvPr/>
          </p:nvSpPr>
          <p:spPr>
            <a:xfrm>
              <a:off x="305152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1" name="object 331"/>
            <p:cNvSpPr/>
            <p:nvPr/>
          </p:nvSpPr>
          <p:spPr>
            <a:xfrm>
              <a:off x="3105776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2" name="object 332"/>
            <p:cNvSpPr/>
            <p:nvPr/>
          </p:nvSpPr>
          <p:spPr>
            <a:xfrm>
              <a:off x="316002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3" name="object 333"/>
            <p:cNvSpPr/>
            <p:nvPr/>
          </p:nvSpPr>
          <p:spPr>
            <a:xfrm>
              <a:off x="3214271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4" name="object 334"/>
            <p:cNvSpPr/>
            <p:nvPr/>
          </p:nvSpPr>
          <p:spPr>
            <a:xfrm>
              <a:off x="326851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5" name="object 335"/>
            <p:cNvSpPr/>
            <p:nvPr/>
          </p:nvSpPr>
          <p:spPr>
            <a:xfrm>
              <a:off x="332276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6" name="object 336"/>
            <p:cNvSpPr/>
            <p:nvPr/>
          </p:nvSpPr>
          <p:spPr>
            <a:xfrm>
              <a:off x="337701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7" name="object 337"/>
            <p:cNvSpPr/>
            <p:nvPr/>
          </p:nvSpPr>
          <p:spPr>
            <a:xfrm>
              <a:off x="343126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8" name="object 338"/>
            <p:cNvSpPr/>
            <p:nvPr/>
          </p:nvSpPr>
          <p:spPr>
            <a:xfrm>
              <a:off x="3485507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9" name="object 339"/>
            <p:cNvSpPr/>
            <p:nvPr/>
          </p:nvSpPr>
          <p:spPr>
            <a:xfrm>
              <a:off x="353975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0" name="object 340"/>
            <p:cNvSpPr/>
            <p:nvPr/>
          </p:nvSpPr>
          <p:spPr>
            <a:xfrm>
              <a:off x="3594002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1" name="object 341"/>
            <p:cNvSpPr/>
            <p:nvPr/>
          </p:nvSpPr>
          <p:spPr>
            <a:xfrm>
              <a:off x="364824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2" name="object 342"/>
            <p:cNvSpPr/>
            <p:nvPr/>
          </p:nvSpPr>
          <p:spPr>
            <a:xfrm>
              <a:off x="3702497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3" name="object 343"/>
            <p:cNvSpPr/>
            <p:nvPr/>
          </p:nvSpPr>
          <p:spPr>
            <a:xfrm>
              <a:off x="375674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4" name="object 344"/>
            <p:cNvSpPr/>
            <p:nvPr/>
          </p:nvSpPr>
          <p:spPr>
            <a:xfrm>
              <a:off x="3810991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5" name="object 345"/>
            <p:cNvSpPr/>
            <p:nvPr/>
          </p:nvSpPr>
          <p:spPr>
            <a:xfrm>
              <a:off x="386523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6" name="object 346"/>
            <p:cNvSpPr/>
            <p:nvPr/>
          </p:nvSpPr>
          <p:spPr>
            <a:xfrm>
              <a:off x="3919486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7" name="object 347"/>
            <p:cNvSpPr/>
            <p:nvPr/>
          </p:nvSpPr>
          <p:spPr>
            <a:xfrm>
              <a:off x="397373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8" name="object 348"/>
            <p:cNvSpPr/>
            <p:nvPr/>
          </p:nvSpPr>
          <p:spPr>
            <a:xfrm>
              <a:off x="4027981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9" name="object 349"/>
            <p:cNvSpPr/>
            <p:nvPr/>
          </p:nvSpPr>
          <p:spPr>
            <a:xfrm>
              <a:off x="408222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0" name="object 350"/>
            <p:cNvSpPr/>
            <p:nvPr/>
          </p:nvSpPr>
          <p:spPr>
            <a:xfrm>
              <a:off x="413647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1" name="object 351"/>
            <p:cNvSpPr/>
            <p:nvPr/>
          </p:nvSpPr>
          <p:spPr>
            <a:xfrm>
              <a:off x="419072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2" name="object 352"/>
            <p:cNvSpPr/>
            <p:nvPr/>
          </p:nvSpPr>
          <p:spPr>
            <a:xfrm>
              <a:off x="424497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3" name="object 353"/>
            <p:cNvSpPr/>
            <p:nvPr/>
          </p:nvSpPr>
          <p:spPr>
            <a:xfrm>
              <a:off x="429921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4" name="object 354"/>
            <p:cNvSpPr/>
            <p:nvPr/>
          </p:nvSpPr>
          <p:spPr>
            <a:xfrm>
              <a:off x="435346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5" name="object 355"/>
            <p:cNvSpPr/>
            <p:nvPr/>
          </p:nvSpPr>
          <p:spPr>
            <a:xfrm>
              <a:off x="440771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6" name="object 356"/>
            <p:cNvSpPr/>
            <p:nvPr/>
          </p:nvSpPr>
          <p:spPr>
            <a:xfrm>
              <a:off x="446196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7" name="object 357"/>
            <p:cNvSpPr/>
            <p:nvPr/>
          </p:nvSpPr>
          <p:spPr>
            <a:xfrm>
              <a:off x="451620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8" name="object 358"/>
            <p:cNvSpPr/>
            <p:nvPr/>
          </p:nvSpPr>
          <p:spPr>
            <a:xfrm>
              <a:off x="457045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9" name="object 359"/>
            <p:cNvSpPr/>
            <p:nvPr/>
          </p:nvSpPr>
          <p:spPr>
            <a:xfrm>
              <a:off x="4624702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0" name="object 360"/>
            <p:cNvSpPr/>
            <p:nvPr/>
          </p:nvSpPr>
          <p:spPr>
            <a:xfrm>
              <a:off x="467895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1" name="object 361"/>
            <p:cNvSpPr/>
            <p:nvPr/>
          </p:nvSpPr>
          <p:spPr>
            <a:xfrm>
              <a:off x="4733197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2" name="object 362"/>
            <p:cNvSpPr/>
            <p:nvPr/>
          </p:nvSpPr>
          <p:spPr>
            <a:xfrm>
              <a:off x="478744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3" name="object 363"/>
            <p:cNvSpPr/>
            <p:nvPr/>
          </p:nvSpPr>
          <p:spPr>
            <a:xfrm>
              <a:off x="4841692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4" name="object 364"/>
            <p:cNvSpPr/>
            <p:nvPr/>
          </p:nvSpPr>
          <p:spPr>
            <a:xfrm>
              <a:off x="489593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5" name="object 365"/>
            <p:cNvSpPr/>
            <p:nvPr/>
          </p:nvSpPr>
          <p:spPr>
            <a:xfrm>
              <a:off x="4950187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6" name="object 366"/>
            <p:cNvSpPr/>
            <p:nvPr/>
          </p:nvSpPr>
          <p:spPr>
            <a:xfrm>
              <a:off x="500443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7" name="object 367"/>
            <p:cNvSpPr/>
            <p:nvPr/>
          </p:nvSpPr>
          <p:spPr>
            <a:xfrm>
              <a:off x="5058681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8" name="object 368"/>
            <p:cNvSpPr/>
            <p:nvPr/>
          </p:nvSpPr>
          <p:spPr>
            <a:xfrm>
              <a:off x="511292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9" name="object 369"/>
            <p:cNvSpPr/>
            <p:nvPr/>
          </p:nvSpPr>
          <p:spPr>
            <a:xfrm>
              <a:off x="5167176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0" name="object 370"/>
            <p:cNvSpPr/>
            <p:nvPr/>
          </p:nvSpPr>
          <p:spPr>
            <a:xfrm>
              <a:off x="522142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1" name="object 371"/>
            <p:cNvSpPr/>
            <p:nvPr/>
          </p:nvSpPr>
          <p:spPr>
            <a:xfrm>
              <a:off x="5275671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2" name="object 372"/>
            <p:cNvSpPr/>
            <p:nvPr/>
          </p:nvSpPr>
          <p:spPr>
            <a:xfrm>
              <a:off x="532991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3" name="object 373"/>
            <p:cNvSpPr/>
            <p:nvPr/>
          </p:nvSpPr>
          <p:spPr>
            <a:xfrm>
              <a:off x="538416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4" name="object 374"/>
            <p:cNvSpPr/>
            <p:nvPr/>
          </p:nvSpPr>
          <p:spPr>
            <a:xfrm>
              <a:off x="5438412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5" name="object 375"/>
            <p:cNvSpPr/>
            <p:nvPr/>
          </p:nvSpPr>
          <p:spPr>
            <a:xfrm>
              <a:off x="549266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6" name="object 376"/>
            <p:cNvSpPr/>
            <p:nvPr/>
          </p:nvSpPr>
          <p:spPr>
            <a:xfrm>
              <a:off x="5546907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7" name="object 377"/>
            <p:cNvSpPr/>
            <p:nvPr/>
          </p:nvSpPr>
          <p:spPr>
            <a:xfrm>
              <a:off x="560115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8" name="object 378"/>
            <p:cNvSpPr/>
            <p:nvPr/>
          </p:nvSpPr>
          <p:spPr>
            <a:xfrm>
              <a:off x="5655402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9" name="object 379"/>
            <p:cNvSpPr/>
            <p:nvPr/>
          </p:nvSpPr>
          <p:spPr>
            <a:xfrm>
              <a:off x="570964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0" name="object 380"/>
            <p:cNvSpPr/>
            <p:nvPr/>
          </p:nvSpPr>
          <p:spPr>
            <a:xfrm>
              <a:off x="5763896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1" name="object 381"/>
            <p:cNvSpPr/>
            <p:nvPr/>
          </p:nvSpPr>
          <p:spPr>
            <a:xfrm>
              <a:off x="581814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2" name="object 382"/>
            <p:cNvSpPr txBox="1"/>
            <p:nvPr/>
          </p:nvSpPr>
          <p:spPr>
            <a:xfrm>
              <a:off x="3195914" y="6457058"/>
              <a:ext cx="279026" cy="186707"/>
            </a:xfrm>
            <a:prstGeom prst="rect">
              <a:avLst/>
            </a:prstGeom>
          </p:spPr>
          <p:txBody>
            <a:bodyPr vert="horz" wrap="square" lIns="0" tIns="10085" rIns="0" bIns="0" rtlCol="0">
              <a:spAutoFit/>
            </a:bodyPr>
            <a:lstStyle/>
            <a:p>
              <a:pPr marL="11206">
                <a:spcBef>
                  <a:spcPts val="79"/>
                </a:spcBef>
              </a:pPr>
              <a:r>
                <a:rPr sz="1147" spc="-128" dirty="0">
                  <a:solidFill>
                    <a:srgbClr val="252423"/>
                  </a:solidFill>
                  <a:latin typeface="Arial Narrow"/>
                  <a:cs typeface="Arial Narrow"/>
                </a:rPr>
                <a:t>Y</a:t>
              </a:r>
              <a:r>
                <a:rPr sz="1147" spc="49" dirty="0">
                  <a:solidFill>
                    <a:srgbClr val="252423"/>
                  </a:solidFill>
                  <a:latin typeface="Arial Narrow"/>
                  <a:cs typeface="Arial Narrow"/>
                </a:rPr>
                <a:t>ear</a:t>
              </a:r>
              <a:endParaRPr sz="1147" dirty="0">
                <a:latin typeface="Arial Narrow"/>
                <a:cs typeface="Arial Narrow"/>
              </a:endParaRPr>
            </a:p>
          </p:txBody>
        </p:sp>
        <p:sp>
          <p:nvSpPr>
            <p:cNvPr id="383" name="object 383"/>
            <p:cNvSpPr txBox="1"/>
            <p:nvPr/>
          </p:nvSpPr>
          <p:spPr>
            <a:xfrm>
              <a:off x="352545" y="4603938"/>
              <a:ext cx="153888" cy="1204632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1204"/>
                </a:lnSpc>
              </a:pPr>
              <a:r>
                <a:rPr sz="1147" spc="31" dirty="0">
                  <a:solidFill>
                    <a:srgbClr val="252423"/>
                  </a:solidFill>
                  <a:latin typeface="Arial Narrow"/>
                  <a:cs typeface="Arial Narrow"/>
                </a:rPr>
                <a:t>Average Word</a:t>
              </a:r>
              <a:r>
                <a:rPr sz="1147" spc="-75" dirty="0">
                  <a:solidFill>
                    <a:srgbClr val="252423"/>
                  </a:solidFill>
                  <a:latin typeface="Arial Narrow"/>
                  <a:cs typeface="Arial Narrow"/>
                </a:rPr>
                <a:t> </a:t>
              </a:r>
              <a:r>
                <a:rPr sz="1147" spc="26" dirty="0">
                  <a:solidFill>
                    <a:srgbClr val="252423"/>
                  </a:solidFill>
                  <a:latin typeface="Arial Narrow"/>
                  <a:cs typeface="Arial Narrow"/>
                </a:rPr>
                <a:t>Count</a:t>
              </a:r>
              <a:endParaRPr sz="1147" dirty="0">
                <a:latin typeface="Arial Narrow"/>
                <a:cs typeface="Arial Narrow"/>
              </a:endParaRPr>
            </a:p>
          </p:txBody>
        </p:sp>
        <p:sp>
          <p:nvSpPr>
            <p:cNvPr id="384" name="object 384"/>
            <p:cNvSpPr txBox="1"/>
            <p:nvPr/>
          </p:nvSpPr>
          <p:spPr>
            <a:xfrm>
              <a:off x="1668695" y="6306931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5" name="object 385"/>
            <p:cNvSpPr txBox="1"/>
            <p:nvPr/>
          </p:nvSpPr>
          <p:spPr>
            <a:xfrm>
              <a:off x="2767537" y="6306931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6" name="object 386"/>
            <p:cNvSpPr txBox="1"/>
            <p:nvPr/>
          </p:nvSpPr>
          <p:spPr>
            <a:xfrm>
              <a:off x="3866379" y="6306931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7" name="object 387"/>
            <p:cNvSpPr txBox="1"/>
            <p:nvPr/>
          </p:nvSpPr>
          <p:spPr>
            <a:xfrm>
              <a:off x="4965220" y="6306931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8" name="object 388"/>
            <p:cNvSpPr txBox="1"/>
            <p:nvPr/>
          </p:nvSpPr>
          <p:spPr>
            <a:xfrm>
              <a:off x="843304" y="4839089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14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9" name="object 389"/>
            <p:cNvSpPr txBox="1"/>
            <p:nvPr/>
          </p:nvSpPr>
          <p:spPr>
            <a:xfrm>
              <a:off x="5683013" y="6016017"/>
              <a:ext cx="13951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37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90" name="object 390"/>
            <p:cNvSpPr txBox="1"/>
            <p:nvPr/>
          </p:nvSpPr>
          <p:spPr>
            <a:xfrm>
              <a:off x="2577012" y="4313049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3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91" name="object 391"/>
            <p:cNvSpPr txBox="1"/>
            <p:nvPr/>
          </p:nvSpPr>
          <p:spPr>
            <a:xfrm>
              <a:off x="3456086" y="4460934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189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92" name="object 392"/>
            <p:cNvSpPr txBox="1"/>
            <p:nvPr/>
          </p:nvSpPr>
          <p:spPr>
            <a:xfrm>
              <a:off x="1258401" y="5217316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13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93" name="object 393"/>
            <p:cNvSpPr txBox="1"/>
            <p:nvPr/>
          </p:nvSpPr>
          <p:spPr>
            <a:xfrm>
              <a:off x="3236317" y="4790918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18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94" name="object 394"/>
            <p:cNvSpPr txBox="1"/>
            <p:nvPr/>
          </p:nvSpPr>
          <p:spPr>
            <a:xfrm>
              <a:off x="4584170" y="5428392"/>
              <a:ext cx="13951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77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95" name="object 395"/>
            <p:cNvSpPr txBox="1"/>
            <p:nvPr/>
          </p:nvSpPr>
          <p:spPr>
            <a:xfrm>
              <a:off x="1917707" y="4377949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199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96" name="object 396"/>
            <p:cNvSpPr txBox="1"/>
            <p:nvPr/>
          </p:nvSpPr>
          <p:spPr>
            <a:xfrm>
              <a:off x="4115390" y="4767727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154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97" name="object 397"/>
            <p:cNvSpPr txBox="1"/>
            <p:nvPr/>
          </p:nvSpPr>
          <p:spPr>
            <a:xfrm>
              <a:off x="5243476" y="5732003"/>
              <a:ext cx="13951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2</a:t>
              </a:r>
              <a:endParaRPr sz="838" dirty="0">
                <a:latin typeface="Segoe UI"/>
                <a:cs typeface="Segoe UI"/>
              </a:endParaRPr>
            </a:p>
          </p:txBody>
        </p:sp>
      </p:grpSp>
      <p:sp>
        <p:nvSpPr>
          <p:cNvPr id="553" name="object 553"/>
          <p:cNvSpPr txBox="1"/>
          <p:nvPr/>
        </p:nvSpPr>
        <p:spPr>
          <a:xfrm>
            <a:off x="6314506" y="3701936"/>
            <a:ext cx="2568175" cy="675523"/>
          </a:xfrm>
          <a:prstGeom prst="rect">
            <a:avLst/>
          </a:prstGeom>
        </p:spPr>
        <p:txBody>
          <a:bodyPr vert="horz" wrap="square" lIns="0" tIns="97490" rIns="0" bIns="0" rtlCol="0">
            <a:spAutoFit/>
          </a:bodyPr>
          <a:lstStyle/>
          <a:p>
            <a:pPr marL="11206">
              <a:spcBef>
                <a:spcPts val="767"/>
              </a:spcBef>
            </a:pPr>
            <a:r>
              <a:rPr sz="1324" b="1" spc="40" dirty="0">
                <a:solidFill>
                  <a:srgbClr val="252423"/>
                </a:solidFill>
                <a:latin typeface="Arial Narrow"/>
                <a:cs typeface="Arial Narrow"/>
              </a:rPr>
              <a:t>Average </a:t>
            </a:r>
            <a:r>
              <a:rPr sz="1324" b="1" spc="44" dirty="0">
                <a:solidFill>
                  <a:srgbClr val="252423"/>
                </a:solidFill>
                <a:latin typeface="Arial Narrow"/>
                <a:cs typeface="Arial Narrow"/>
              </a:rPr>
              <a:t>Sentence </a:t>
            </a:r>
            <a:r>
              <a:rPr sz="1324" b="1" spc="40" dirty="0">
                <a:solidFill>
                  <a:srgbClr val="252423"/>
                </a:solidFill>
                <a:latin typeface="Arial Narrow"/>
                <a:cs typeface="Arial Narrow"/>
              </a:rPr>
              <a:t>Count </a:t>
            </a:r>
            <a:r>
              <a:rPr sz="1324" b="1" spc="71" dirty="0">
                <a:solidFill>
                  <a:srgbClr val="252423"/>
                </a:solidFill>
                <a:latin typeface="Arial Narrow"/>
                <a:cs typeface="Arial Narrow"/>
              </a:rPr>
              <a:t>per</a:t>
            </a:r>
            <a:r>
              <a:rPr sz="1324" b="1" spc="-128" dirty="0">
                <a:solidFill>
                  <a:srgbClr val="252423"/>
                </a:solidFill>
                <a:latin typeface="Arial Narrow"/>
                <a:cs typeface="Arial Narrow"/>
              </a:rPr>
              <a:t> </a:t>
            </a:r>
            <a:r>
              <a:rPr sz="1324" b="1" spc="13" dirty="0">
                <a:solidFill>
                  <a:srgbClr val="252423"/>
                </a:solidFill>
                <a:latin typeface="Arial Narrow"/>
                <a:cs typeface="Arial Narrow"/>
              </a:rPr>
              <a:t>Year</a:t>
            </a:r>
            <a:endParaRPr sz="1324" b="1" dirty="0">
              <a:latin typeface="Arial Narrow"/>
              <a:cs typeface="Arial Narrow"/>
            </a:endParaRPr>
          </a:p>
          <a:p>
            <a:pPr marL="212923">
              <a:spcBef>
                <a:spcPts val="449"/>
              </a:spcBef>
            </a:pPr>
            <a:r>
              <a:rPr sz="838" spc="4" dirty="0">
                <a:solidFill>
                  <a:srgbClr val="605D5C"/>
                </a:solidFill>
                <a:latin typeface="Segoe UI"/>
                <a:cs typeface="Segoe UI"/>
              </a:rPr>
              <a:t>8</a:t>
            </a:r>
            <a:endParaRPr sz="838" dirty="0">
              <a:latin typeface="Segoe UI"/>
              <a:cs typeface="Segoe UI"/>
            </a:endParaRPr>
          </a:p>
          <a:p>
            <a:pPr marL="2223926">
              <a:spcBef>
                <a:spcPts val="494"/>
              </a:spcBef>
            </a:pPr>
            <a:r>
              <a:rPr sz="838" spc="4" dirty="0">
                <a:solidFill>
                  <a:srgbClr val="605D5C"/>
                </a:solidFill>
                <a:latin typeface="Segoe UI"/>
                <a:cs typeface="Segoe UI"/>
              </a:rPr>
              <a:t>7</a:t>
            </a:r>
            <a:endParaRPr sz="838" dirty="0">
              <a:latin typeface="Segoe UI"/>
              <a:cs typeface="Segoe UI"/>
            </a:endParaRPr>
          </a:p>
        </p:txBody>
      </p:sp>
      <p:grpSp>
        <p:nvGrpSpPr>
          <p:cNvPr id="666" name="Group 665">
            <a:extLst>
              <a:ext uri="{FF2B5EF4-FFF2-40B4-BE49-F238E27FC236}">
                <a16:creationId xmlns:a16="http://schemas.microsoft.com/office/drawing/2014/main" id="{F3DD50AC-0662-4CA7-945F-6C00640210F9}"/>
              </a:ext>
            </a:extLst>
          </p:cNvPr>
          <p:cNvGrpSpPr/>
          <p:nvPr/>
        </p:nvGrpSpPr>
        <p:grpSpPr>
          <a:xfrm>
            <a:off x="6319319" y="4125660"/>
            <a:ext cx="5466083" cy="2518105"/>
            <a:chOff x="6319319" y="4125660"/>
            <a:chExt cx="5466083" cy="2518105"/>
          </a:xfrm>
        </p:grpSpPr>
        <p:sp>
          <p:nvSpPr>
            <p:cNvPr id="410" name="object 410"/>
            <p:cNvSpPr/>
            <p:nvPr/>
          </p:nvSpPr>
          <p:spPr>
            <a:xfrm>
              <a:off x="6676626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1" name="object 411"/>
            <p:cNvSpPr/>
            <p:nvPr/>
          </p:nvSpPr>
          <p:spPr>
            <a:xfrm>
              <a:off x="6730872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2" name="object 412"/>
            <p:cNvSpPr/>
            <p:nvPr/>
          </p:nvSpPr>
          <p:spPr>
            <a:xfrm>
              <a:off x="678512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3" name="object 413"/>
            <p:cNvSpPr/>
            <p:nvPr/>
          </p:nvSpPr>
          <p:spPr>
            <a:xfrm>
              <a:off x="6839367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4" name="object 414"/>
            <p:cNvSpPr/>
            <p:nvPr/>
          </p:nvSpPr>
          <p:spPr>
            <a:xfrm>
              <a:off x="689361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5" name="object 415"/>
            <p:cNvSpPr/>
            <p:nvPr/>
          </p:nvSpPr>
          <p:spPr>
            <a:xfrm>
              <a:off x="6947862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6" name="object 416"/>
            <p:cNvSpPr/>
            <p:nvPr/>
          </p:nvSpPr>
          <p:spPr>
            <a:xfrm>
              <a:off x="700211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7" name="object 417"/>
            <p:cNvSpPr/>
            <p:nvPr/>
          </p:nvSpPr>
          <p:spPr>
            <a:xfrm>
              <a:off x="7056357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8" name="object 418"/>
            <p:cNvSpPr/>
            <p:nvPr/>
          </p:nvSpPr>
          <p:spPr>
            <a:xfrm>
              <a:off x="711060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9" name="object 419"/>
            <p:cNvSpPr/>
            <p:nvPr/>
          </p:nvSpPr>
          <p:spPr>
            <a:xfrm>
              <a:off x="7164851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0" name="object 420"/>
            <p:cNvSpPr/>
            <p:nvPr/>
          </p:nvSpPr>
          <p:spPr>
            <a:xfrm>
              <a:off x="721909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1" name="object 421"/>
            <p:cNvSpPr/>
            <p:nvPr/>
          </p:nvSpPr>
          <p:spPr>
            <a:xfrm>
              <a:off x="7273346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2" name="object 422"/>
            <p:cNvSpPr/>
            <p:nvPr/>
          </p:nvSpPr>
          <p:spPr>
            <a:xfrm>
              <a:off x="732759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3" name="object 423"/>
            <p:cNvSpPr/>
            <p:nvPr/>
          </p:nvSpPr>
          <p:spPr>
            <a:xfrm>
              <a:off x="7381841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4" name="object 424"/>
            <p:cNvSpPr/>
            <p:nvPr/>
          </p:nvSpPr>
          <p:spPr>
            <a:xfrm>
              <a:off x="743608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5" name="object 425"/>
            <p:cNvSpPr/>
            <p:nvPr/>
          </p:nvSpPr>
          <p:spPr>
            <a:xfrm>
              <a:off x="749033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6" name="object 426"/>
            <p:cNvSpPr/>
            <p:nvPr/>
          </p:nvSpPr>
          <p:spPr>
            <a:xfrm>
              <a:off x="7544582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7" name="object 427"/>
            <p:cNvSpPr/>
            <p:nvPr/>
          </p:nvSpPr>
          <p:spPr>
            <a:xfrm>
              <a:off x="759883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8" name="object 428"/>
            <p:cNvSpPr/>
            <p:nvPr/>
          </p:nvSpPr>
          <p:spPr>
            <a:xfrm>
              <a:off x="7653077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9" name="object 429"/>
            <p:cNvSpPr/>
            <p:nvPr/>
          </p:nvSpPr>
          <p:spPr>
            <a:xfrm>
              <a:off x="770732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0" name="object 430"/>
            <p:cNvSpPr/>
            <p:nvPr/>
          </p:nvSpPr>
          <p:spPr>
            <a:xfrm>
              <a:off x="7761572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1" name="object 431"/>
            <p:cNvSpPr/>
            <p:nvPr/>
          </p:nvSpPr>
          <p:spPr>
            <a:xfrm>
              <a:off x="781582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2" name="object 432"/>
            <p:cNvSpPr/>
            <p:nvPr/>
          </p:nvSpPr>
          <p:spPr>
            <a:xfrm>
              <a:off x="7870067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3" name="object 433"/>
            <p:cNvSpPr/>
            <p:nvPr/>
          </p:nvSpPr>
          <p:spPr>
            <a:xfrm>
              <a:off x="792431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4" name="object 434"/>
            <p:cNvSpPr/>
            <p:nvPr/>
          </p:nvSpPr>
          <p:spPr>
            <a:xfrm>
              <a:off x="7978561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5" name="object 435"/>
            <p:cNvSpPr/>
            <p:nvPr/>
          </p:nvSpPr>
          <p:spPr>
            <a:xfrm>
              <a:off x="803280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6" name="object 436"/>
            <p:cNvSpPr/>
            <p:nvPr/>
          </p:nvSpPr>
          <p:spPr>
            <a:xfrm>
              <a:off x="8087056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7" name="object 437"/>
            <p:cNvSpPr/>
            <p:nvPr/>
          </p:nvSpPr>
          <p:spPr>
            <a:xfrm>
              <a:off x="814130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8" name="object 438"/>
            <p:cNvSpPr/>
            <p:nvPr/>
          </p:nvSpPr>
          <p:spPr>
            <a:xfrm>
              <a:off x="8195551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9" name="object 439"/>
            <p:cNvSpPr/>
            <p:nvPr/>
          </p:nvSpPr>
          <p:spPr>
            <a:xfrm>
              <a:off x="824979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40" name="object 440"/>
            <p:cNvSpPr/>
            <p:nvPr/>
          </p:nvSpPr>
          <p:spPr>
            <a:xfrm>
              <a:off x="830404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41" name="object 441"/>
            <p:cNvSpPr/>
            <p:nvPr/>
          </p:nvSpPr>
          <p:spPr>
            <a:xfrm>
              <a:off x="835829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42" name="object 442"/>
            <p:cNvSpPr/>
            <p:nvPr/>
          </p:nvSpPr>
          <p:spPr>
            <a:xfrm>
              <a:off x="841254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43" name="object 443"/>
            <p:cNvSpPr/>
            <p:nvPr/>
          </p:nvSpPr>
          <p:spPr>
            <a:xfrm>
              <a:off x="846678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44" name="object 444"/>
            <p:cNvSpPr/>
            <p:nvPr/>
          </p:nvSpPr>
          <p:spPr>
            <a:xfrm>
              <a:off x="852103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45" name="object 445"/>
            <p:cNvSpPr/>
            <p:nvPr/>
          </p:nvSpPr>
          <p:spPr>
            <a:xfrm>
              <a:off x="857528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46" name="object 446"/>
            <p:cNvSpPr/>
            <p:nvPr/>
          </p:nvSpPr>
          <p:spPr>
            <a:xfrm>
              <a:off x="862953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47" name="object 447"/>
            <p:cNvSpPr/>
            <p:nvPr/>
          </p:nvSpPr>
          <p:spPr>
            <a:xfrm>
              <a:off x="868377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48" name="object 448"/>
            <p:cNvSpPr/>
            <p:nvPr/>
          </p:nvSpPr>
          <p:spPr>
            <a:xfrm>
              <a:off x="873802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49" name="object 449"/>
            <p:cNvSpPr/>
            <p:nvPr/>
          </p:nvSpPr>
          <p:spPr>
            <a:xfrm>
              <a:off x="8792272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50" name="object 450"/>
            <p:cNvSpPr/>
            <p:nvPr/>
          </p:nvSpPr>
          <p:spPr>
            <a:xfrm>
              <a:off x="884652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51" name="object 451"/>
            <p:cNvSpPr/>
            <p:nvPr/>
          </p:nvSpPr>
          <p:spPr>
            <a:xfrm>
              <a:off x="8900767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52" name="object 452"/>
            <p:cNvSpPr/>
            <p:nvPr/>
          </p:nvSpPr>
          <p:spPr>
            <a:xfrm>
              <a:off x="895501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53" name="object 453"/>
            <p:cNvSpPr/>
            <p:nvPr/>
          </p:nvSpPr>
          <p:spPr>
            <a:xfrm>
              <a:off x="9009262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54" name="object 454"/>
            <p:cNvSpPr/>
            <p:nvPr/>
          </p:nvSpPr>
          <p:spPr>
            <a:xfrm>
              <a:off x="906350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55" name="object 455"/>
            <p:cNvSpPr/>
            <p:nvPr/>
          </p:nvSpPr>
          <p:spPr>
            <a:xfrm>
              <a:off x="9117756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56" name="object 456"/>
            <p:cNvSpPr/>
            <p:nvPr/>
          </p:nvSpPr>
          <p:spPr>
            <a:xfrm>
              <a:off x="917200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57" name="object 457"/>
            <p:cNvSpPr/>
            <p:nvPr/>
          </p:nvSpPr>
          <p:spPr>
            <a:xfrm>
              <a:off x="9226251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58" name="object 458"/>
            <p:cNvSpPr/>
            <p:nvPr/>
          </p:nvSpPr>
          <p:spPr>
            <a:xfrm>
              <a:off x="928049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59" name="object 459"/>
            <p:cNvSpPr/>
            <p:nvPr/>
          </p:nvSpPr>
          <p:spPr>
            <a:xfrm>
              <a:off x="9334746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60" name="object 460"/>
            <p:cNvSpPr/>
            <p:nvPr/>
          </p:nvSpPr>
          <p:spPr>
            <a:xfrm>
              <a:off x="938899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61" name="object 461"/>
            <p:cNvSpPr/>
            <p:nvPr/>
          </p:nvSpPr>
          <p:spPr>
            <a:xfrm>
              <a:off x="944324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62" name="object 462"/>
            <p:cNvSpPr/>
            <p:nvPr/>
          </p:nvSpPr>
          <p:spPr>
            <a:xfrm>
              <a:off x="949748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63" name="object 463"/>
            <p:cNvSpPr/>
            <p:nvPr/>
          </p:nvSpPr>
          <p:spPr>
            <a:xfrm>
              <a:off x="955173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64" name="object 464"/>
            <p:cNvSpPr/>
            <p:nvPr/>
          </p:nvSpPr>
          <p:spPr>
            <a:xfrm>
              <a:off x="960598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65" name="object 465"/>
            <p:cNvSpPr/>
            <p:nvPr/>
          </p:nvSpPr>
          <p:spPr>
            <a:xfrm>
              <a:off x="966023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66" name="object 466"/>
            <p:cNvSpPr/>
            <p:nvPr/>
          </p:nvSpPr>
          <p:spPr>
            <a:xfrm>
              <a:off x="971447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67" name="object 467"/>
            <p:cNvSpPr/>
            <p:nvPr/>
          </p:nvSpPr>
          <p:spPr>
            <a:xfrm>
              <a:off x="976872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68" name="object 468"/>
            <p:cNvSpPr/>
            <p:nvPr/>
          </p:nvSpPr>
          <p:spPr>
            <a:xfrm>
              <a:off x="9822972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69" name="object 469"/>
            <p:cNvSpPr/>
            <p:nvPr/>
          </p:nvSpPr>
          <p:spPr>
            <a:xfrm>
              <a:off x="987721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70" name="object 470"/>
            <p:cNvSpPr/>
            <p:nvPr/>
          </p:nvSpPr>
          <p:spPr>
            <a:xfrm>
              <a:off x="9931466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71" name="object 471"/>
            <p:cNvSpPr/>
            <p:nvPr/>
          </p:nvSpPr>
          <p:spPr>
            <a:xfrm>
              <a:off x="998571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72" name="object 472"/>
            <p:cNvSpPr/>
            <p:nvPr/>
          </p:nvSpPr>
          <p:spPr>
            <a:xfrm>
              <a:off x="10039961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73" name="object 473"/>
            <p:cNvSpPr/>
            <p:nvPr/>
          </p:nvSpPr>
          <p:spPr>
            <a:xfrm>
              <a:off x="1009420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74" name="object 474"/>
            <p:cNvSpPr/>
            <p:nvPr/>
          </p:nvSpPr>
          <p:spPr>
            <a:xfrm>
              <a:off x="10148456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75" name="object 475"/>
            <p:cNvSpPr/>
            <p:nvPr/>
          </p:nvSpPr>
          <p:spPr>
            <a:xfrm>
              <a:off x="1020270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76" name="object 476"/>
            <p:cNvSpPr/>
            <p:nvPr/>
          </p:nvSpPr>
          <p:spPr>
            <a:xfrm>
              <a:off x="1025695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77" name="object 477"/>
            <p:cNvSpPr/>
            <p:nvPr/>
          </p:nvSpPr>
          <p:spPr>
            <a:xfrm>
              <a:off x="1031119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78" name="object 478"/>
            <p:cNvSpPr/>
            <p:nvPr/>
          </p:nvSpPr>
          <p:spPr>
            <a:xfrm>
              <a:off x="1036544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79" name="object 479"/>
            <p:cNvSpPr/>
            <p:nvPr/>
          </p:nvSpPr>
          <p:spPr>
            <a:xfrm>
              <a:off x="1041969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80" name="object 480"/>
            <p:cNvSpPr/>
            <p:nvPr/>
          </p:nvSpPr>
          <p:spPr>
            <a:xfrm>
              <a:off x="1047394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81" name="object 481"/>
            <p:cNvSpPr/>
            <p:nvPr/>
          </p:nvSpPr>
          <p:spPr>
            <a:xfrm>
              <a:off x="1052818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82" name="object 482"/>
            <p:cNvSpPr/>
            <p:nvPr/>
          </p:nvSpPr>
          <p:spPr>
            <a:xfrm>
              <a:off x="1058243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83" name="object 483"/>
            <p:cNvSpPr/>
            <p:nvPr/>
          </p:nvSpPr>
          <p:spPr>
            <a:xfrm>
              <a:off x="10636682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84" name="object 484"/>
            <p:cNvSpPr/>
            <p:nvPr/>
          </p:nvSpPr>
          <p:spPr>
            <a:xfrm>
              <a:off x="1069092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85" name="object 485"/>
            <p:cNvSpPr/>
            <p:nvPr/>
          </p:nvSpPr>
          <p:spPr>
            <a:xfrm>
              <a:off x="10745177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86" name="object 486"/>
            <p:cNvSpPr/>
            <p:nvPr/>
          </p:nvSpPr>
          <p:spPr>
            <a:xfrm>
              <a:off x="10799424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87" name="object 487"/>
            <p:cNvSpPr/>
            <p:nvPr/>
          </p:nvSpPr>
          <p:spPr>
            <a:xfrm>
              <a:off x="10853672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88" name="object 488"/>
            <p:cNvSpPr/>
            <p:nvPr/>
          </p:nvSpPr>
          <p:spPr>
            <a:xfrm>
              <a:off x="10907919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89" name="object 489"/>
            <p:cNvSpPr/>
            <p:nvPr/>
          </p:nvSpPr>
          <p:spPr>
            <a:xfrm>
              <a:off x="10962166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90" name="object 490"/>
            <p:cNvSpPr/>
            <p:nvPr/>
          </p:nvSpPr>
          <p:spPr>
            <a:xfrm>
              <a:off x="1101641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91" name="object 491"/>
            <p:cNvSpPr/>
            <p:nvPr/>
          </p:nvSpPr>
          <p:spPr>
            <a:xfrm>
              <a:off x="1107066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92" name="object 492"/>
            <p:cNvSpPr/>
            <p:nvPr/>
          </p:nvSpPr>
          <p:spPr>
            <a:xfrm>
              <a:off x="1112490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93" name="object 493"/>
            <p:cNvSpPr/>
            <p:nvPr/>
          </p:nvSpPr>
          <p:spPr>
            <a:xfrm>
              <a:off x="1117915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94" name="object 494"/>
            <p:cNvSpPr/>
            <p:nvPr/>
          </p:nvSpPr>
          <p:spPr>
            <a:xfrm>
              <a:off x="1123340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95" name="object 495"/>
            <p:cNvSpPr/>
            <p:nvPr/>
          </p:nvSpPr>
          <p:spPr>
            <a:xfrm>
              <a:off x="1128765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96" name="object 496"/>
            <p:cNvSpPr/>
            <p:nvPr/>
          </p:nvSpPr>
          <p:spPr>
            <a:xfrm>
              <a:off x="1134189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97" name="object 497"/>
            <p:cNvSpPr/>
            <p:nvPr/>
          </p:nvSpPr>
          <p:spPr>
            <a:xfrm>
              <a:off x="1139614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98" name="object 498"/>
            <p:cNvSpPr/>
            <p:nvPr/>
          </p:nvSpPr>
          <p:spPr>
            <a:xfrm>
              <a:off x="1145039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99" name="object 499"/>
            <p:cNvSpPr/>
            <p:nvPr/>
          </p:nvSpPr>
          <p:spPr>
            <a:xfrm>
              <a:off x="1150464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00" name="object 500"/>
            <p:cNvSpPr/>
            <p:nvPr/>
          </p:nvSpPr>
          <p:spPr>
            <a:xfrm>
              <a:off x="11558888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01" name="object 501"/>
            <p:cNvSpPr/>
            <p:nvPr/>
          </p:nvSpPr>
          <p:spPr>
            <a:xfrm>
              <a:off x="11613135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02" name="object 502"/>
            <p:cNvSpPr/>
            <p:nvPr/>
          </p:nvSpPr>
          <p:spPr>
            <a:xfrm>
              <a:off x="11667383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03" name="object 503"/>
            <p:cNvSpPr/>
            <p:nvPr/>
          </p:nvSpPr>
          <p:spPr>
            <a:xfrm>
              <a:off x="11721630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04" name="object 504"/>
            <p:cNvSpPr/>
            <p:nvPr/>
          </p:nvSpPr>
          <p:spPr>
            <a:xfrm>
              <a:off x="11775877" y="627746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05" name="object 505"/>
            <p:cNvSpPr txBox="1"/>
            <p:nvPr/>
          </p:nvSpPr>
          <p:spPr>
            <a:xfrm>
              <a:off x="6516522" y="6197021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506" name="object 506"/>
            <p:cNvSpPr/>
            <p:nvPr/>
          </p:nvSpPr>
          <p:spPr>
            <a:xfrm>
              <a:off x="6676626" y="556019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507" name="object 507"/>
            <p:cNvGrpSpPr/>
            <p:nvPr/>
          </p:nvGrpSpPr>
          <p:grpSpPr>
            <a:xfrm>
              <a:off x="6730871" y="4414135"/>
              <a:ext cx="5002306" cy="1655669"/>
              <a:chOff x="7272721" y="5002686"/>
              <a:chExt cx="5669280" cy="1876425"/>
            </a:xfrm>
          </p:grpSpPr>
          <p:sp>
            <p:nvSpPr>
              <p:cNvPr id="508" name="object 508"/>
              <p:cNvSpPr/>
              <p:nvPr/>
            </p:nvSpPr>
            <p:spPr>
              <a:xfrm>
                <a:off x="7272718" y="6301561"/>
                <a:ext cx="431419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4314190" h="1079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48"/>
                    </a:lnTo>
                    <a:lnTo>
                      <a:pt x="10248" y="10248"/>
                    </a:lnTo>
                    <a:lnTo>
                      <a:pt x="10248" y="0"/>
                    </a:lnTo>
                    <a:close/>
                  </a:path>
                  <a:path w="4314190" h="10795">
                    <a:moveTo>
                      <a:pt x="71729" y="0"/>
                    </a:moveTo>
                    <a:lnTo>
                      <a:pt x="61480" y="0"/>
                    </a:lnTo>
                    <a:lnTo>
                      <a:pt x="61480" y="10248"/>
                    </a:lnTo>
                    <a:lnTo>
                      <a:pt x="71729" y="10248"/>
                    </a:lnTo>
                    <a:lnTo>
                      <a:pt x="71729" y="0"/>
                    </a:lnTo>
                    <a:close/>
                  </a:path>
                  <a:path w="4314190" h="10795">
                    <a:moveTo>
                      <a:pt x="133210" y="0"/>
                    </a:moveTo>
                    <a:lnTo>
                      <a:pt x="122961" y="0"/>
                    </a:lnTo>
                    <a:lnTo>
                      <a:pt x="122961" y="10248"/>
                    </a:lnTo>
                    <a:lnTo>
                      <a:pt x="133210" y="10248"/>
                    </a:lnTo>
                    <a:lnTo>
                      <a:pt x="133210" y="0"/>
                    </a:lnTo>
                    <a:close/>
                  </a:path>
                  <a:path w="4314190" h="10795">
                    <a:moveTo>
                      <a:pt x="194691" y="0"/>
                    </a:moveTo>
                    <a:lnTo>
                      <a:pt x="184442" y="0"/>
                    </a:lnTo>
                    <a:lnTo>
                      <a:pt x="184442" y="10248"/>
                    </a:lnTo>
                    <a:lnTo>
                      <a:pt x="194691" y="10248"/>
                    </a:lnTo>
                    <a:lnTo>
                      <a:pt x="194691" y="0"/>
                    </a:lnTo>
                    <a:close/>
                  </a:path>
                  <a:path w="4314190" h="10795">
                    <a:moveTo>
                      <a:pt x="256171" y="0"/>
                    </a:moveTo>
                    <a:lnTo>
                      <a:pt x="245922" y="0"/>
                    </a:lnTo>
                    <a:lnTo>
                      <a:pt x="245922" y="10248"/>
                    </a:lnTo>
                    <a:lnTo>
                      <a:pt x="256171" y="10248"/>
                    </a:lnTo>
                    <a:lnTo>
                      <a:pt x="256171" y="0"/>
                    </a:lnTo>
                    <a:close/>
                  </a:path>
                  <a:path w="4314190" h="10795">
                    <a:moveTo>
                      <a:pt x="317639" y="0"/>
                    </a:moveTo>
                    <a:lnTo>
                      <a:pt x="307403" y="0"/>
                    </a:lnTo>
                    <a:lnTo>
                      <a:pt x="307403" y="10248"/>
                    </a:lnTo>
                    <a:lnTo>
                      <a:pt x="317639" y="10248"/>
                    </a:lnTo>
                    <a:lnTo>
                      <a:pt x="317639" y="0"/>
                    </a:lnTo>
                    <a:close/>
                  </a:path>
                  <a:path w="4314190" h="10795">
                    <a:moveTo>
                      <a:pt x="379120" y="0"/>
                    </a:moveTo>
                    <a:lnTo>
                      <a:pt x="368884" y="0"/>
                    </a:lnTo>
                    <a:lnTo>
                      <a:pt x="368884" y="10248"/>
                    </a:lnTo>
                    <a:lnTo>
                      <a:pt x="379120" y="10248"/>
                    </a:lnTo>
                    <a:lnTo>
                      <a:pt x="379120" y="0"/>
                    </a:lnTo>
                    <a:close/>
                  </a:path>
                  <a:path w="4314190" h="10795">
                    <a:moveTo>
                      <a:pt x="440601" y="0"/>
                    </a:moveTo>
                    <a:lnTo>
                      <a:pt x="430364" y="0"/>
                    </a:lnTo>
                    <a:lnTo>
                      <a:pt x="430364" y="10248"/>
                    </a:lnTo>
                    <a:lnTo>
                      <a:pt x="440601" y="10248"/>
                    </a:lnTo>
                    <a:lnTo>
                      <a:pt x="440601" y="0"/>
                    </a:lnTo>
                    <a:close/>
                  </a:path>
                  <a:path w="4314190" h="10795">
                    <a:moveTo>
                      <a:pt x="502081" y="0"/>
                    </a:moveTo>
                    <a:lnTo>
                      <a:pt x="491845" y="0"/>
                    </a:lnTo>
                    <a:lnTo>
                      <a:pt x="491845" y="10248"/>
                    </a:lnTo>
                    <a:lnTo>
                      <a:pt x="502081" y="10248"/>
                    </a:lnTo>
                    <a:lnTo>
                      <a:pt x="502081" y="0"/>
                    </a:lnTo>
                    <a:close/>
                  </a:path>
                  <a:path w="4314190" h="10795">
                    <a:moveTo>
                      <a:pt x="563562" y="0"/>
                    </a:moveTo>
                    <a:lnTo>
                      <a:pt x="553326" y="0"/>
                    </a:lnTo>
                    <a:lnTo>
                      <a:pt x="553326" y="10248"/>
                    </a:lnTo>
                    <a:lnTo>
                      <a:pt x="563562" y="10248"/>
                    </a:lnTo>
                    <a:lnTo>
                      <a:pt x="563562" y="0"/>
                    </a:lnTo>
                    <a:close/>
                  </a:path>
                  <a:path w="4314190" h="10795">
                    <a:moveTo>
                      <a:pt x="625043" y="0"/>
                    </a:moveTo>
                    <a:lnTo>
                      <a:pt x="614807" y="0"/>
                    </a:lnTo>
                    <a:lnTo>
                      <a:pt x="614807" y="10248"/>
                    </a:lnTo>
                    <a:lnTo>
                      <a:pt x="625043" y="10248"/>
                    </a:lnTo>
                    <a:lnTo>
                      <a:pt x="625043" y="0"/>
                    </a:lnTo>
                    <a:close/>
                  </a:path>
                  <a:path w="4314190" h="10795">
                    <a:moveTo>
                      <a:pt x="686523" y="0"/>
                    </a:moveTo>
                    <a:lnTo>
                      <a:pt x="676275" y="0"/>
                    </a:lnTo>
                    <a:lnTo>
                      <a:pt x="676275" y="10248"/>
                    </a:lnTo>
                    <a:lnTo>
                      <a:pt x="686523" y="10248"/>
                    </a:lnTo>
                    <a:lnTo>
                      <a:pt x="686523" y="0"/>
                    </a:lnTo>
                    <a:close/>
                  </a:path>
                  <a:path w="4314190" h="10795">
                    <a:moveTo>
                      <a:pt x="748004" y="0"/>
                    </a:moveTo>
                    <a:lnTo>
                      <a:pt x="737755" y="0"/>
                    </a:lnTo>
                    <a:lnTo>
                      <a:pt x="737755" y="10248"/>
                    </a:lnTo>
                    <a:lnTo>
                      <a:pt x="748004" y="10248"/>
                    </a:lnTo>
                    <a:lnTo>
                      <a:pt x="748004" y="0"/>
                    </a:lnTo>
                    <a:close/>
                  </a:path>
                  <a:path w="4314190" h="10795">
                    <a:moveTo>
                      <a:pt x="809485" y="0"/>
                    </a:moveTo>
                    <a:lnTo>
                      <a:pt x="799236" y="0"/>
                    </a:lnTo>
                    <a:lnTo>
                      <a:pt x="799236" y="10248"/>
                    </a:lnTo>
                    <a:lnTo>
                      <a:pt x="809485" y="10248"/>
                    </a:lnTo>
                    <a:lnTo>
                      <a:pt x="809485" y="0"/>
                    </a:lnTo>
                    <a:close/>
                  </a:path>
                  <a:path w="4314190" h="10795">
                    <a:moveTo>
                      <a:pt x="870966" y="0"/>
                    </a:moveTo>
                    <a:lnTo>
                      <a:pt x="860717" y="0"/>
                    </a:lnTo>
                    <a:lnTo>
                      <a:pt x="860717" y="10248"/>
                    </a:lnTo>
                    <a:lnTo>
                      <a:pt x="870966" y="10248"/>
                    </a:lnTo>
                    <a:lnTo>
                      <a:pt x="870966" y="0"/>
                    </a:lnTo>
                    <a:close/>
                  </a:path>
                  <a:path w="4314190" h="10795">
                    <a:moveTo>
                      <a:pt x="932446" y="0"/>
                    </a:moveTo>
                    <a:lnTo>
                      <a:pt x="922197" y="0"/>
                    </a:lnTo>
                    <a:lnTo>
                      <a:pt x="922197" y="10248"/>
                    </a:lnTo>
                    <a:lnTo>
                      <a:pt x="932446" y="10248"/>
                    </a:lnTo>
                    <a:lnTo>
                      <a:pt x="932446" y="0"/>
                    </a:lnTo>
                    <a:close/>
                  </a:path>
                  <a:path w="4314190" h="10795">
                    <a:moveTo>
                      <a:pt x="993927" y="0"/>
                    </a:moveTo>
                    <a:lnTo>
                      <a:pt x="983678" y="0"/>
                    </a:lnTo>
                    <a:lnTo>
                      <a:pt x="983678" y="10248"/>
                    </a:lnTo>
                    <a:lnTo>
                      <a:pt x="993927" y="10248"/>
                    </a:lnTo>
                    <a:lnTo>
                      <a:pt x="993927" y="0"/>
                    </a:lnTo>
                    <a:close/>
                  </a:path>
                  <a:path w="4314190" h="10795">
                    <a:moveTo>
                      <a:pt x="1055408" y="0"/>
                    </a:moveTo>
                    <a:lnTo>
                      <a:pt x="1045159" y="0"/>
                    </a:lnTo>
                    <a:lnTo>
                      <a:pt x="1045159" y="10248"/>
                    </a:lnTo>
                    <a:lnTo>
                      <a:pt x="1055408" y="10248"/>
                    </a:lnTo>
                    <a:lnTo>
                      <a:pt x="1055408" y="0"/>
                    </a:lnTo>
                    <a:close/>
                  </a:path>
                  <a:path w="4314190" h="10795">
                    <a:moveTo>
                      <a:pt x="1116888" y="0"/>
                    </a:moveTo>
                    <a:lnTo>
                      <a:pt x="1106639" y="0"/>
                    </a:lnTo>
                    <a:lnTo>
                      <a:pt x="1106639" y="10248"/>
                    </a:lnTo>
                    <a:lnTo>
                      <a:pt x="1116888" y="10248"/>
                    </a:lnTo>
                    <a:lnTo>
                      <a:pt x="1116888" y="0"/>
                    </a:lnTo>
                    <a:close/>
                  </a:path>
                  <a:path w="4314190" h="10795">
                    <a:moveTo>
                      <a:pt x="1178369" y="0"/>
                    </a:moveTo>
                    <a:lnTo>
                      <a:pt x="1168120" y="0"/>
                    </a:lnTo>
                    <a:lnTo>
                      <a:pt x="1168120" y="10248"/>
                    </a:lnTo>
                    <a:lnTo>
                      <a:pt x="1178369" y="10248"/>
                    </a:lnTo>
                    <a:lnTo>
                      <a:pt x="1178369" y="0"/>
                    </a:lnTo>
                    <a:close/>
                  </a:path>
                  <a:path w="4314190" h="10795">
                    <a:moveTo>
                      <a:pt x="1239850" y="0"/>
                    </a:moveTo>
                    <a:lnTo>
                      <a:pt x="1229601" y="0"/>
                    </a:lnTo>
                    <a:lnTo>
                      <a:pt x="1229601" y="10248"/>
                    </a:lnTo>
                    <a:lnTo>
                      <a:pt x="1239850" y="10248"/>
                    </a:lnTo>
                    <a:lnTo>
                      <a:pt x="1239850" y="0"/>
                    </a:lnTo>
                    <a:close/>
                  </a:path>
                  <a:path w="4314190" h="10795">
                    <a:moveTo>
                      <a:pt x="1301330" y="0"/>
                    </a:moveTo>
                    <a:lnTo>
                      <a:pt x="1291082" y="0"/>
                    </a:lnTo>
                    <a:lnTo>
                      <a:pt x="1291082" y="10248"/>
                    </a:lnTo>
                    <a:lnTo>
                      <a:pt x="1301330" y="10248"/>
                    </a:lnTo>
                    <a:lnTo>
                      <a:pt x="1301330" y="0"/>
                    </a:lnTo>
                    <a:close/>
                  </a:path>
                  <a:path w="4314190" h="10795">
                    <a:moveTo>
                      <a:pt x="1362811" y="0"/>
                    </a:moveTo>
                    <a:lnTo>
                      <a:pt x="1352562" y="0"/>
                    </a:lnTo>
                    <a:lnTo>
                      <a:pt x="1352562" y="10248"/>
                    </a:lnTo>
                    <a:lnTo>
                      <a:pt x="1362811" y="10248"/>
                    </a:lnTo>
                    <a:lnTo>
                      <a:pt x="1362811" y="0"/>
                    </a:lnTo>
                    <a:close/>
                  </a:path>
                  <a:path w="4314190" h="10795">
                    <a:moveTo>
                      <a:pt x="1424292" y="0"/>
                    </a:moveTo>
                    <a:lnTo>
                      <a:pt x="1414043" y="0"/>
                    </a:lnTo>
                    <a:lnTo>
                      <a:pt x="1414043" y="10248"/>
                    </a:lnTo>
                    <a:lnTo>
                      <a:pt x="1424292" y="10248"/>
                    </a:lnTo>
                    <a:lnTo>
                      <a:pt x="1424292" y="0"/>
                    </a:lnTo>
                    <a:close/>
                  </a:path>
                  <a:path w="4314190" h="10795">
                    <a:moveTo>
                      <a:pt x="1485773" y="0"/>
                    </a:moveTo>
                    <a:lnTo>
                      <a:pt x="1475524" y="0"/>
                    </a:lnTo>
                    <a:lnTo>
                      <a:pt x="1475524" y="10248"/>
                    </a:lnTo>
                    <a:lnTo>
                      <a:pt x="1485773" y="10248"/>
                    </a:lnTo>
                    <a:lnTo>
                      <a:pt x="1485773" y="0"/>
                    </a:lnTo>
                    <a:close/>
                  </a:path>
                  <a:path w="4314190" h="10795">
                    <a:moveTo>
                      <a:pt x="1547253" y="0"/>
                    </a:moveTo>
                    <a:lnTo>
                      <a:pt x="1537004" y="0"/>
                    </a:lnTo>
                    <a:lnTo>
                      <a:pt x="1537004" y="10248"/>
                    </a:lnTo>
                    <a:lnTo>
                      <a:pt x="1547253" y="10248"/>
                    </a:lnTo>
                    <a:lnTo>
                      <a:pt x="1547253" y="0"/>
                    </a:lnTo>
                    <a:close/>
                  </a:path>
                  <a:path w="4314190" h="10795">
                    <a:moveTo>
                      <a:pt x="1608734" y="0"/>
                    </a:moveTo>
                    <a:lnTo>
                      <a:pt x="1598485" y="0"/>
                    </a:lnTo>
                    <a:lnTo>
                      <a:pt x="1598485" y="10248"/>
                    </a:lnTo>
                    <a:lnTo>
                      <a:pt x="1608734" y="10248"/>
                    </a:lnTo>
                    <a:lnTo>
                      <a:pt x="1608734" y="0"/>
                    </a:lnTo>
                    <a:close/>
                  </a:path>
                  <a:path w="4314190" h="10795">
                    <a:moveTo>
                      <a:pt x="1670215" y="0"/>
                    </a:moveTo>
                    <a:lnTo>
                      <a:pt x="1659966" y="0"/>
                    </a:lnTo>
                    <a:lnTo>
                      <a:pt x="1659966" y="10248"/>
                    </a:lnTo>
                    <a:lnTo>
                      <a:pt x="1670215" y="10248"/>
                    </a:lnTo>
                    <a:lnTo>
                      <a:pt x="1670215" y="0"/>
                    </a:lnTo>
                    <a:close/>
                  </a:path>
                  <a:path w="4314190" h="10795">
                    <a:moveTo>
                      <a:pt x="1731695" y="0"/>
                    </a:moveTo>
                    <a:lnTo>
                      <a:pt x="1721446" y="0"/>
                    </a:lnTo>
                    <a:lnTo>
                      <a:pt x="1721446" y="10248"/>
                    </a:lnTo>
                    <a:lnTo>
                      <a:pt x="1731695" y="10248"/>
                    </a:lnTo>
                    <a:lnTo>
                      <a:pt x="1731695" y="0"/>
                    </a:lnTo>
                    <a:close/>
                  </a:path>
                  <a:path w="4314190" h="10795">
                    <a:moveTo>
                      <a:pt x="1793176" y="0"/>
                    </a:moveTo>
                    <a:lnTo>
                      <a:pt x="1782927" y="0"/>
                    </a:lnTo>
                    <a:lnTo>
                      <a:pt x="1782927" y="10248"/>
                    </a:lnTo>
                    <a:lnTo>
                      <a:pt x="1793176" y="10248"/>
                    </a:lnTo>
                    <a:lnTo>
                      <a:pt x="1793176" y="0"/>
                    </a:lnTo>
                    <a:close/>
                  </a:path>
                  <a:path w="4314190" h="10795">
                    <a:moveTo>
                      <a:pt x="1854657" y="0"/>
                    </a:moveTo>
                    <a:lnTo>
                      <a:pt x="1844408" y="0"/>
                    </a:lnTo>
                    <a:lnTo>
                      <a:pt x="1844408" y="10248"/>
                    </a:lnTo>
                    <a:lnTo>
                      <a:pt x="1854657" y="10248"/>
                    </a:lnTo>
                    <a:lnTo>
                      <a:pt x="1854657" y="0"/>
                    </a:lnTo>
                    <a:close/>
                  </a:path>
                  <a:path w="4314190" h="10795">
                    <a:moveTo>
                      <a:pt x="1916137" y="0"/>
                    </a:moveTo>
                    <a:lnTo>
                      <a:pt x="1905889" y="0"/>
                    </a:lnTo>
                    <a:lnTo>
                      <a:pt x="1905889" y="10248"/>
                    </a:lnTo>
                    <a:lnTo>
                      <a:pt x="1916137" y="10248"/>
                    </a:lnTo>
                    <a:lnTo>
                      <a:pt x="1916137" y="0"/>
                    </a:lnTo>
                    <a:close/>
                  </a:path>
                  <a:path w="4314190" h="10795">
                    <a:moveTo>
                      <a:pt x="1977618" y="0"/>
                    </a:moveTo>
                    <a:lnTo>
                      <a:pt x="1967369" y="0"/>
                    </a:lnTo>
                    <a:lnTo>
                      <a:pt x="1967369" y="10248"/>
                    </a:lnTo>
                    <a:lnTo>
                      <a:pt x="1977618" y="10248"/>
                    </a:lnTo>
                    <a:lnTo>
                      <a:pt x="1977618" y="0"/>
                    </a:lnTo>
                    <a:close/>
                  </a:path>
                  <a:path w="4314190" h="10795">
                    <a:moveTo>
                      <a:pt x="2039099" y="0"/>
                    </a:moveTo>
                    <a:lnTo>
                      <a:pt x="2028850" y="0"/>
                    </a:lnTo>
                    <a:lnTo>
                      <a:pt x="2028850" y="10248"/>
                    </a:lnTo>
                    <a:lnTo>
                      <a:pt x="2039099" y="10248"/>
                    </a:lnTo>
                    <a:lnTo>
                      <a:pt x="2039099" y="0"/>
                    </a:lnTo>
                    <a:close/>
                  </a:path>
                  <a:path w="4314190" h="10795">
                    <a:moveTo>
                      <a:pt x="2100580" y="0"/>
                    </a:moveTo>
                    <a:lnTo>
                      <a:pt x="2090331" y="0"/>
                    </a:lnTo>
                    <a:lnTo>
                      <a:pt x="2090331" y="10248"/>
                    </a:lnTo>
                    <a:lnTo>
                      <a:pt x="2100580" y="10248"/>
                    </a:lnTo>
                    <a:lnTo>
                      <a:pt x="2100580" y="0"/>
                    </a:lnTo>
                    <a:close/>
                  </a:path>
                  <a:path w="4314190" h="10795">
                    <a:moveTo>
                      <a:pt x="2162060" y="0"/>
                    </a:moveTo>
                    <a:lnTo>
                      <a:pt x="2151811" y="0"/>
                    </a:lnTo>
                    <a:lnTo>
                      <a:pt x="2151811" y="10248"/>
                    </a:lnTo>
                    <a:lnTo>
                      <a:pt x="2162060" y="10248"/>
                    </a:lnTo>
                    <a:lnTo>
                      <a:pt x="2162060" y="0"/>
                    </a:lnTo>
                    <a:close/>
                  </a:path>
                  <a:path w="4314190" h="10795">
                    <a:moveTo>
                      <a:pt x="2223541" y="0"/>
                    </a:moveTo>
                    <a:lnTo>
                      <a:pt x="2213292" y="0"/>
                    </a:lnTo>
                    <a:lnTo>
                      <a:pt x="2213292" y="10248"/>
                    </a:lnTo>
                    <a:lnTo>
                      <a:pt x="2223541" y="10248"/>
                    </a:lnTo>
                    <a:lnTo>
                      <a:pt x="2223541" y="0"/>
                    </a:lnTo>
                    <a:close/>
                  </a:path>
                  <a:path w="4314190" h="10795">
                    <a:moveTo>
                      <a:pt x="2285022" y="0"/>
                    </a:moveTo>
                    <a:lnTo>
                      <a:pt x="2274773" y="0"/>
                    </a:lnTo>
                    <a:lnTo>
                      <a:pt x="2274773" y="10248"/>
                    </a:lnTo>
                    <a:lnTo>
                      <a:pt x="2285022" y="10248"/>
                    </a:lnTo>
                    <a:lnTo>
                      <a:pt x="2285022" y="0"/>
                    </a:lnTo>
                    <a:close/>
                  </a:path>
                  <a:path w="4314190" h="10795">
                    <a:moveTo>
                      <a:pt x="2346502" y="0"/>
                    </a:moveTo>
                    <a:lnTo>
                      <a:pt x="2336254" y="0"/>
                    </a:lnTo>
                    <a:lnTo>
                      <a:pt x="2336254" y="10248"/>
                    </a:lnTo>
                    <a:lnTo>
                      <a:pt x="2346502" y="10248"/>
                    </a:lnTo>
                    <a:lnTo>
                      <a:pt x="2346502" y="0"/>
                    </a:lnTo>
                    <a:close/>
                  </a:path>
                  <a:path w="4314190" h="10795">
                    <a:moveTo>
                      <a:pt x="2407983" y="0"/>
                    </a:moveTo>
                    <a:lnTo>
                      <a:pt x="2397734" y="0"/>
                    </a:lnTo>
                    <a:lnTo>
                      <a:pt x="2397734" y="10248"/>
                    </a:lnTo>
                    <a:lnTo>
                      <a:pt x="2407983" y="10248"/>
                    </a:lnTo>
                    <a:lnTo>
                      <a:pt x="2407983" y="0"/>
                    </a:lnTo>
                    <a:close/>
                  </a:path>
                  <a:path w="4314190" h="10795">
                    <a:moveTo>
                      <a:pt x="2469451" y="0"/>
                    </a:moveTo>
                    <a:lnTo>
                      <a:pt x="2459215" y="0"/>
                    </a:lnTo>
                    <a:lnTo>
                      <a:pt x="2459215" y="10248"/>
                    </a:lnTo>
                    <a:lnTo>
                      <a:pt x="2469451" y="10248"/>
                    </a:lnTo>
                    <a:lnTo>
                      <a:pt x="2469451" y="0"/>
                    </a:lnTo>
                    <a:close/>
                  </a:path>
                  <a:path w="4314190" h="10795">
                    <a:moveTo>
                      <a:pt x="2530932" y="0"/>
                    </a:moveTo>
                    <a:lnTo>
                      <a:pt x="2520696" y="0"/>
                    </a:lnTo>
                    <a:lnTo>
                      <a:pt x="2520696" y="10248"/>
                    </a:lnTo>
                    <a:lnTo>
                      <a:pt x="2530932" y="10248"/>
                    </a:lnTo>
                    <a:lnTo>
                      <a:pt x="2530932" y="0"/>
                    </a:lnTo>
                    <a:close/>
                  </a:path>
                  <a:path w="4314190" h="10795">
                    <a:moveTo>
                      <a:pt x="2592413" y="0"/>
                    </a:moveTo>
                    <a:lnTo>
                      <a:pt x="2582176" y="0"/>
                    </a:lnTo>
                    <a:lnTo>
                      <a:pt x="2582176" y="10248"/>
                    </a:lnTo>
                    <a:lnTo>
                      <a:pt x="2592413" y="10248"/>
                    </a:lnTo>
                    <a:lnTo>
                      <a:pt x="2592413" y="0"/>
                    </a:lnTo>
                    <a:close/>
                  </a:path>
                  <a:path w="4314190" h="10795">
                    <a:moveTo>
                      <a:pt x="2653893" y="0"/>
                    </a:moveTo>
                    <a:lnTo>
                      <a:pt x="2643657" y="0"/>
                    </a:lnTo>
                    <a:lnTo>
                      <a:pt x="2643657" y="10248"/>
                    </a:lnTo>
                    <a:lnTo>
                      <a:pt x="2653893" y="10248"/>
                    </a:lnTo>
                    <a:lnTo>
                      <a:pt x="2653893" y="0"/>
                    </a:lnTo>
                    <a:close/>
                  </a:path>
                  <a:path w="4314190" h="10795">
                    <a:moveTo>
                      <a:pt x="2715374" y="0"/>
                    </a:moveTo>
                    <a:lnTo>
                      <a:pt x="2705138" y="0"/>
                    </a:lnTo>
                    <a:lnTo>
                      <a:pt x="2705138" y="10248"/>
                    </a:lnTo>
                    <a:lnTo>
                      <a:pt x="2715374" y="10248"/>
                    </a:lnTo>
                    <a:lnTo>
                      <a:pt x="2715374" y="0"/>
                    </a:lnTo>
                    <a:close/>
                  </a:path>
                  <a:path w="4314190" h="10795">
                    <a:moveTo>
                      <a:pt x="2776855" y="0"/>
                    </a:moveTo>
                    <a:lnTo>
                      <a:pt x="2766618" y="0"/>
                    </a:lnTo>
                    <a:lnTo>
                      <a:pt x="2766618" y="10248"/>
                    </a:lnTo>
                    <a:lnTo>
                      <a:pt x="2776855" y="10248"/>
                    </a:lnTo>
                    <a:lnTo>
                      <a:pt x="2776855" y="0"/>
                    </a:lnTo>
                    <a:close/>
                  </a:path>
                  <a:path w="4314190" h="10795">
                    <a:moveTo>
                      <a:pt x="2838335" y="0"/>
                    </a:moveTo>
                    <a:lnTo>
                      <a:pt x="2828086" y="0"/>
                    </a:lnTo>
                    <a:lnTo>
                      <a:pt x="2828086" y="10248"/>
                    </a:lnTo>
                    <a:lnTo>
                      <a:pt x="2838335" y="10248"/>
                    </a:lnTo>
                    <a:lnTo>
                      <a:pt x="2838335" y="0"/>
                    </a:lnTo>
                    <a:close/>
                  </a:path>
                  <a:path w="4314190" h="10795">
                    <a:moveTo>
                      <a:pt x="2899816" y="0"/>
                    </a:moveTo>
                    <a:lnTo>
                      <a:pt x="2889567" y="0"/>
                    </a:lnTo>
                    <a:lnTo>
                      <a:pt x="2889567" y="10248"/>
                    </a:lnTo>
                    <a:lnTo>
                      <a:pt x="2899816" y="10248"/>
                    </a:lnTo>
                    <a:lnTo>
                      <a:pt x="2899816" y="0"/>
                    </a:lnTo>
                    <a:close/>
                  </a:path>
                  <a:path w="4314190" h="10795">
                    <a:moveTo>
                      <a:pt x="2961297" y="0"/>
                    </a:moveTo>
                    <a:lnTo>
                      <a:pt x="2951048" y="0"/>
                    </a:lnTo>
                    <a:lnTo>
                      <a:pt x="2951048" y="10248"/>
                    </a:lnTo>
                    <a:lnTo>
                      <a:pt x="2961297" y="10248"/>
                    </a:lnTo>
                    <a:lnTo>
                      <a:pt x="2961297" y="0"/>
                    </a:lnTo>
                    <a:close/>
                  </a:path>
                  <a:path w="4314190" h="10795">
                    <a:moveTo>
                      <a:pt x="3022777" y="0"/>
                    </a:moveTo>
                    <a:lnTo>
                      <a:pt x="3012529" y="0"/>
                    </a:lnTo>
                    <a:lnTo>
                      <a:pt x="3012529" y="10248"/>
                    </a:lnTo>
                    <a:lnTo>
                      <a:pt x="3022777" y="10248"/>
                    </a:lnTo>
                    <a:lnTo>
                      <a:pt x="3022777" y="0"/>
                    </a:lnTo>
                    <a:close/>
                  </a:path>
                  <a:path w="4314190" h="10795">
                    <a:moveTo>
                      <a:pt x="3084258" y="0"/>
                    </a:moveTo>
                    <a:lnTo>
                      <a:pt x="3074009" y="0"/>
                    </a:lnTo>
                    <a:lnTo>
                      <a:pt x="3074009" y="10248"/>
                    </a:lnTo>
                    <a:lnTo>
                      <a:pt x="3084258" y="10248"/>
                    </a:lnTo>
                    <a:lnTo>
                      <a:pt x="3084258" y="0"/>
                    </a:lnTo>
                    <a:close/>
                  </a:path>
                  <a:path w="4314190" h="10795">
                    <a:moveTo>
                      <a:pt x="3145739" y="0"/>
                    </a:moveTo>
                    <a:lnTo>
                      <a:pt x="3135490" y="0"/>
                    </a:lnTo>
                    <a:lnTo>
                      <a:pt x="3135490" y="10248"/>
                    </a:lnTo>
                    <a:lnTo>
                      <a:pt x="3145739" y="10248"/>
                    </a:lnTo>
                    <a:lnTo>
                      <a:pt x="3145739" y="0"/>
                    </a:lnTo>
                    <a:close/>
                  </a:path>
                  <a:path w="4314190" h="10795">
                    <a:moveTo>
                      <a:pt x="3207220" y="0"/>
                    </a:moveTo>
                    <a:lnTo>
                      <a:pt x="3196971" y="0"/>
                    </a:lnTo>
                    <a:lnTo>
                      <a:pt x="3196971" y="10248"/>
                    </a:lnTo>
                    <a:lnTo>
                      <a:pt x="3207220" y="10248"/>
                    </a:lnTo>
                    <a:lnTo>
                      <a:pt x="3207220" y="0"/>
                    </a:lnTo>
                    <a:close/>
                  </a:path>
                  <a:path w="4314190" h="10795">
                    <a:moveTo>
                      <a:pt x="3268700" y="0"/>
                    </a:moveTo>
                    <a:lnTo>
                      <a:pt x="3258451" y="0"/>
                    </a:lnTo>
                    <a:lnTo>
                      <a:pt x="3258451" y="10248"/>
                    </a:lnTo>
                    <a:lnTo>
                      <a:pt x="3268700" y="10248"/>
                    </a:lnTo>
                    <a:lnTo>
                      <a:pt x="3268700" y="0"/>
                    </a:lnTo>
                    <a:close/>
                  </a:path>
                  <a:path w="4314190" h="10795">
                    <a:moveTo>
                      <a:pt x="3330181" y="0"/>
                    </a:moveTo>
                    <a:lnTo>
                      <a:pt x="3319932" y="0"/>
                    </a:lnTo>
                    <a:lnTo>
                      <a:pt x="3319932" y="10248"/>
                    </a:lnTo>
                    <a:lnTo>
                      <a:pt x="3330181" y="10248"/>
                    </a:lnTo>
                    <a:lnTo>
                      <a:pt x="3330181" y="0"/>
                    </a:lnTo>
                    <a:close/>
                  </a:path>
                  <a:path w="4314190" h="10795">
                    <a:moveTo>
                      <a:pt x="3391662" y="0"/>
                    </a:moveTo>
                    <a:lnTo>
                      <a:pt x="3381413" y="0"/>
                    </a:lnTo>
                    <a:lnTo>
                      <a:pt x="3381413" y="10248"/>
                    </a:lnTo>
                    <a:lnTo>
                      <a:pt x="3391662" y="10248"/>
                    </a:lnTo>
                    <a:lnTo>
                      <a:pt x="3391662" y="0"/>
                    </a:lnTo>
                    <a:close/>
                  </a:path>
                  <a:path w="4314190" h="10795">
                    <a:moveTo>
                      <a:pt x="3453142" y="0"/>
                    </a:moveTo>
                    <a:lnTo>
                      <a:pt x="3442893" y="0"/>
                    </a:lnTo>
                    <a:lnTo>
                      <a:pt x="3442893" y="10248"/>
                    </a:lnTo>
                    <a:lnTo>
                      <a:pt x="3453142" y="10248"/>
                    </a:lnTo>
                    <a:lnTo>
                      <a:pt x="3453142" y="0"/>
                    </a:lnTo>
                    <a:close/>
                  </a:path>
                  <a:path w="4314190" h="10795">
                    <a:moveTo>
                      <a:pt x="3514623" y="0"/>
                    </a:moveTo>
                    <a:lnTo>
                      <a:pt x="3504374" y="0"/>
                    </a:lnTo>
                    <a:lnTo>
                      <a:pt x="3504374" y="10248"/>
                    </a:lnTo>
                    <a:lnTo>
                      <a:pt x="3514623" y="10248"/>
                    </a:lnTo>
                    <a:lnTo>
                      <a:pt x="3514623" y="0"/>
                    </a:lnTo>
                    <a:close/>
                  </a:path>
                  <a:path w="4314190" h="10795">
                    <a:moveTo>
                      <a:pt x="3576104" y="0"/>
                    </a:moveTo>
                    <a:lnTo>
                      <a:pt x="3565855" y="0"/>
                    </a:lnTo>
                    <a:lnTo>
                      <a:pt x="3565855" y="10248"/>
                    </a:lnTo>
                    <a:lnTo>
                      <a:pt x="3576104" y="10248"/>
                    </a:lnTo>
                    <a:lnTo>
                      <a:pt x="3576104" y="0"/>
                    </a:lnTo>
                    <a:close/>
                  </a:path>
                  <a:path w="4314190" h="10795">
                    <a:moveTo>
                      <a:pt x="3637584" y="0"/>
                    </a:moveTo>
                    <a:lnTo>
                      <a:pt x="3627336" y="0"/>
                    </a:lnTo>
                    <a:lnTo>
                      <a:pt x="3627336" y="10248"/>
                    </a:lnTo>
                    <a:lnTo>
                      <a:pt x="3637584" y="10248"/>
                    </a:lnTo>
                    <a:lnTo>
                      <a:pt x="3637584" y="0"/>
                    </a:lnTo>
                    <a:close/>
                  </a:path>
                  <a:path w="4314190" h="10795">
                    <a:moveTo>
                      <a:pt x="3699065" y="0"/>
                    </a:moveTo>
                    <a:lnTo>
                      <a:pt x="3688816" y="0"/>
                    </a:lnTo>
                    <a:lnTo>
                      <a:pt x="3688816" y="10248"/>
                    </a:lnTo>
                    <a:lnTo>
                      <a:pt x="3699065" y="10248"/>
                    </a:lnTo>
                    <a:lnTo>
                      <a:pt x="3699065" y="0"/>
                    </a:lnTo>
                    <a:close/>
                  </a:path>
                  <a:path w="4314190" h="10795">
                    <a:moveTo>
                      <a:pt x="3760546" y="0"/>
                    </a:moveTo>
                    <a:lnTo>
                      <a:pt x="3750297" y="0"/>
                    </a:lnTo>
                    <a:lnTo>
                      <a:pt x="3750297" y="10248"/>
                    </a:lnTo>
                    <a:lnTo>
                      <a:pt x="3760546" y="10248"/>
                    </a:lnTo>
                    <a:lnTo>
                      <a:pt x="3760546" y="0"/>
                    </a:lnTo>
                    <a:close/>
                  </a:path>
                  <a:path w="4314190" h="10795">
                    <a:moveTo>
                      <a:pt x="3822027" y="0"/>
                    </a:moveTo>
                    <a:lnTo>
                      <a:pt x="3811778" y="0"/>
                    </a:lnTo>
                    <a:lnTo>
                      <a:pt x="3811778" y="10248"/>
                    </a:lnTo>
                    <a:lnTo>
                      <a:pt x="3822027" y="10248"/>
                    </a:lnTo>
                    <a:lnTo>
                      <a:pt x="3822027" y="0"/>
                    </a:lnTo>
                    <a:close/>
                  </a:path>
                  <a:path w="4314190" h="10795">
                    <a:moveTo>
                      <a:pt x="3883507" y="0"/>
                    </a:moveTo>
                    <a:lnTo>
                      <a:pt x="3873258" y="0"/>
                    </a:lnTo>
                    <a:lnTo>
                      <a:pt x="3873258" y="10248"/>
                    </a:lnTo>
                    <a:lnTo>
                      <a:pt x="3883507" y="10248"/>
                    </a:lnTo>
                    <a:lnTo>
                      <a:pt x="3883507" y="0"/>
                    </a:lnTo>
                    <a:close/>
                  </a:path>
                  <a:path w="4314190" h="10795">
                    <a:moveTo>
                      <a:pt x="3944988" y="0"/>
                    </a:moveTo>
                    <a:lnTo>
                      <a:pt x="3934739" y="0"/>
                    </a:lnTo>
                    <a:lnTo>
                      <a:pt x="3934739" y="10248"/>
                    </a:lnTo>
                    <a:lnTo>
                      <a:pt x="3944988" y="10248"/>
                    </a:lnTo>
                    <a:lnTo>
                      <a:pt x="3944988" y="0"/>
                    </a:lnTo>
                    <a:close/>
                  </a:path>
                  <a:path w="4314190" h="10795">
                    <a:moveTo>
                      <a:pt x="4006469" y="0"/>
                    </a:moveTo>
                    <a:lnTo>
                      <a:pt x="3996220" y="0"/>
                    </a:lnTo>
                    <a:lnTo>
                      <a:pt x="3996220" y="10248"/>
                    </a:lnTo>
                    <a:lnTo>
                      <a:pt x="4006469" y="10248"/>
                    </a:lnTo>
                    <a:lnTo>
                      <a:pt x="4006469" y="0"/>
                    </a:lnTo>
                    <a:close/>
                  </a:path>
                  <a:path w="4314190" h="10795">
                    <a:moveTo>
                      <a:pt x="4067949" y="0"/>
                    </a:moveTo>
                    <a:lnTo>
                      <a:pt x="4057700" y="0"/>
                    </a:lnTo>
                    <a:lnTo>
                      <a:pt x="4057700" y="10248"/>
                    </a:lnTo>
                    <a:lnTo>
                      <a:pt x="4067949" y="10248"/>
                    </a:lnTo>
                    <a:lnTo>
                      <a:pt x="4067949" y="0"/>
                    </a:lnTo>
                    <a:close/>
                  </a:path>
                  <a:path w="4314190" h="10795">
                    <a:moveTo>
                      <a:pt x="4129430" y="0"/>
                    </a:moveTo>
                    <a:lnTo>
                      <a:pt x="4119181" y="0"/>
                    </a:lnTo>
                    <a:lnTo>
                      <a:pt x="4119181" y="10248"/>
                    </a:lnTo>
                    <a:lnTo>
                      <a:pt x="4129430" y="10248"/>
                    </a:lnTo>
                    <a:lnTo>
                      <a:pt x="4129430" y="0"/>
                    </a:lnTo>
                    <a:close/>
                  </a:path>
                  <a:path w="4314190" h="10795">
                    <a:moveTo>
                      <a:pt x="4190911" y="0"/>
                    </a:moveTo>
                    <a:lnTo>
                      <a:pt x="4180662" y="0"/>
                    </a:lnTo>
                    <a:lnTo>
                      <a:pt x="4180662" y="10248"/>
                    </a:lnTo>
                    <a:lnTo>
                      <a:pt x="4190911" y="10248"/>
                    </a:lnTo>
                    <a:lnTo>
                      <a:pt x="4190911" y="0"/>
                    </a:lnTo>
                    <a:close/>
                  </a:path>
                  <a:path w="4314190" h="10795">
                    <a:moveTo>
                      <a:pt x="4252392" y="0"/>
                    </a:moveTo>
                    <a:lnTo>
                      <a:pt x="4242143" y="0"/>
                    </a:lnTo>
                    <a:lnTo>
                      <a:pt x="4242143" y="10248"/>
                    </a:lnTo>
                    <a:lnTo>
                      <a:pt x="4252392" y="10248"/>
                    </a:lnTo>
                    <a:lnTo>
                      <a:pt x="4252392" y="0"/>
                    </a:lnTo>
                    <a:close/>
                  </a:path>
                  <a:path w="4314190" h="10795">
                    <a:moveTo>
                      <a:pt x="4313872" y="0"/>
                    </a:moveTo>
                    <a:lnTo>
                      <a:pt x="4303623" y="0"/>
                    </a:lnTo>
                    <a:lnTo>
                      <a:pt x="4303623" y="10248"/>
                    </a:lnTo>
                    <a:lnTo>
                      <a:pt x="4313872" y="10248"/>
                    </a:lnTo>
                    <a:lnTo>
                      <a:pt x="4313872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509" name="object 509"/>
              <p:cNvSpPr/>
              <p:nvPr/>
            </p:nvSpPr>
            <p:spPr>
              <a:xfrm>
                <a:off x="7272718" y="5488660"/>
                <a:ext cx="5666740" cy="823594"/>
              </a:xfrm>
              <a:custGeom>
                <a:avLst/>
                <a:gdLst/>
                <a:ahLst/>
                <a:cxnLst/>
                <a:rect l="l" t="t" r="r" b="b"/>
                <a:pathLst>
                  <a:path w="5666740" h="82359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5666740" h="823595">
                    <a:moveTo>
                      <a:pt x="71729" y="0"/>
                    </a:moveTo>
                    <a:lnTo>
                      <a:pt x="61480" y="0"/>
                    </a:lnTo>
                    <a:lnTo>
                      <a:pt x="61480" y="10236"/>
                    </a:lnTo>
                    <a:lnTo>
                      <a:pt x="71729" y="10236"/>
                    </a:lnTo>
                    <a:lnTo>
                      <a:pt x="71729" y="0"/>
                    </a:lnTo>
                    <a:close/>
                  </a:path>
                  <a:path w="5666740" h="823595">
                    <a:moveTo>
                      <a:pt x="133210" y="0"/>
                    </a:moveTo>
                    <a:lnTo>
                      <a:pt x="122961" y="0"/>
                    </a:lnTo>
                    <a:lnTo>
                      <a:pt x="122961" y="10236"/>
                    </a:lnTo>
                    <a:lnTo>
                      <a:pt x="133210" y="10236"/>
                    </a:lnTo>
                    <a:lnTo>
                      <a:pt x="133210" y="0"/>
                    </a:lnTo>
                    <a:close/>
                  </a:path>
                  <a:path w="5666740" h="823595">
                    <a:moveTo>
                      <a:pt x="194691" y="0"/>
                    </a:moveTo>
                    <a:lnTo>
                      <a:pt x="184442" y="0"/>
                    </a:lnTo>
                    <a:lnTo>
                      <a:pt x="184442" y="10236"/>
                    </a:lnTo>
                    <a:lnTo>
                      <a:pt x="194691" y="10236"/>
                    </a:lnTo>
                    <a:lnTo>
                      <a:pt x="194691" y="0"/>
                    </a:lnTo>
                    <a:close/>
                  </a:path>
                  <a:path w="5666740" h="823595">
                    <a:moveTo>
                      <a:pt x="256171" y="0"/>
                    </a:moveTo>
                    <a:lnTo>
                      <a:pt x="245922" y="0"/>
                    </a:lnTo>
                    <a:lnTo>
                      <a:pt x="245922" y="10236"/>
                    </a:lnTo>
                    <a:lnTo>
                      <a:pt x="256171" y="10236"/>
                    </a:lnTo>
                    <a:lnTo>
                      <a:pt x="256171" y="0"/>
                    </a:lnTo>
                    <a:close/>
                  </a:path>
                  <a:path w="5666740" h="823595">
                    <a:moveTo>
                      <a:pt x="317639" y="0"/>
                    </a:moveTo>
                    <a:lnTo>
                      <a:pt x="307403" y="0"/>
                    </a:lnTo>
                    <a:lnTo>
                      <a:pt x="307403" y="10236"/>
                    </a:lnTo>
                    <a:lnTo>
                      <a:pt x="317639" y="10236"/>
                    </a:lnTo>
                    <a:lnTo>
                      <a:pt x="317639" y="0"/>
                    </a:lnTo>
                    <a:close/>
                  </a:path>
                  <a:path w="5666740" h="823595">
                    <a:moveTo>
                      <a:pt x="379120" y="0"/>
                    </a:moveTo>
                    <a:lnTo>
                      <a:pt x="368884" y="0"/>
                    </a:lnTo>
                    <a:lnTo>
                      <a:pt x="368884" y="10236"/>
                    </a:lnTo>
                    <a:lnTo>
                      <a:pt x="379120" y="10236"/>
                    </a:lnTo>
                    <a:lnTo>
                      <a:pt x="379120" y="0"/>
                    </a:lnTo>
                    <a:close/>
                  </a:path>
                  <a:path w="5666740" h="823595">
                    <a:moveTo>
                      <a:pt x="440601" y="0"/>
                    </a:moveTo>
                    <a:lnTo>
                      <a:pt x="430364" y="0"/>
                    </a:lnTo>
                    <a:lnTo>
                      <a:pt x="430364" y="10236"/>
                    </a:lnTo>
                    <a:lnTo>
                      <a:pt x="440601" y="10236"/>
                    </a:lnTo>
                    <a:lnTo>
                      <a:pt x="440601" y="0"/>
                    </a:lnTo>
                    <a:close/>
                  </a:path>
                  <a:path w="5666740" h="823595">
                    <a:moveTo>
                      <a:pt x="502081" y="0"/>
                    </a:moveTo>
                    <a:lnTo>
                      <a:pt x="491845" y="0"/>
                    </a:lnTo>
                    <a:lnTo>
                      <a:pt x="491845" y="10236"/>
                    </a:lnTo>
                    <a:lnTo>
                      <a:pt x="502081" y="10236"/>
                    </a:lnTo>
                    <a:lnTo>
                      <a:pt x="502081" y="0"/>
                    </a:lnTo>
                    <a:close/>
                  </a:path>
                  <a:path w="5666740" h="823595">
                    <a:moveTo>
                      <a:pt x="563562" y="0"/>
                    </a:moveTo>
                    <a:lnTo>
                      <a:pt x="553326" y="0"/>
                    </a:lnTo>
                    <a:lnTo>
                      <a:pt x="553326" y="10236"/>
                    </a:lnTo>
                    <a:lnTo>
                      <a:pt x="563562" y="10236"/>
                    </a:lnTo>
                    <a:lnTo>
                      <a:pt x="563562" y="0"/>
                    </a:lnTo>
                    <a:close/>
                  </a:path>
                  <a:path w="5666740" h="823595">
                    <a:moveTo>
                      <a:pt x="625043" y="0"/>
                    </a:moveTo>
                    <a:lnTo>
                      <a:pt x="614807" y="0"/>
                    </a:lnTo>
                    <a:lnTo>
                      <a:pt x="614807" y="10236"/>
                    </a:lnTo>
                    <a:lnTo>
                      <a:pt x="625043" y="10236"/>
                    </a:lnTo>
                    <a:lnTo>
                      <a:pt x="625043" y="0"/>
                    </a:lnTo>
                    <a:close/>
                  </a:path>
                  <a:path w="5666740" h="823595">
                    <a:moveTo>
                      <a:pt x="686523" y="0"/>
                    </a:moveTo>
                    <a:lnTo>
                      <a:pt x="676275" y="0"/>
                    </a:lnTo>
                    <a:lnTo>
                      <a:pt x="676275" y="10236"/>
                    </a:lnTo>
                    <a:lnTo>
                      <a:pt x="686523" y="10236"/>
                    </a:lnTo>
                    <a:lnTo>
                      <a:pt x="686523" y="0"/>
                    </a:lnTo>
                    <a:close/>
                  </a:path>
                  <a:path w="5666740" h="823595">
                    <a:moveTo>
                      <a:pt x="748004" y="0"/>
                    </a:moveTo>
                    <a:lnTo>
                      <a:pt x="737755" y="0"/>
                    </a:lnTo>
                    <a:lnTo>
                      <a:pt x="737755" y="10236"/>
                    </a:lnTo>
                    <a:lnTo>
                      <a:pt x="748004" y="10236"/>
                    </a:lnTo>
                    <a:lnTo>
                      <a:pt x="748004" y="0"/>
                    </a:lnTo>
                    <a:close/>
                  </a:path>
                  <a:path w="5666740" h="823595">
                    <a:moveTo>
                      <a:pt x="809485" y="0"/>
                    </a:moveTo>
                    <a:lnTo>
                      <a:pt x="799236" y="0"/>
                    </a:lnTo>
                    <a:lnTo>
                      <a:pt x="799236" y="10236"/>
                    </a:lnTo>
                    <a:lnTo>
                      <a:pt x="809485" y="10236"/>
                    </a:lnTo>
                    <a:lnTo>
                      <a:pt x="809485" y="0"/>
                    </a:lnTo>
                    <a:close/>
                  </a:path>
                  <a:path w="5666740" h="823595">
                    <a:moveTo>
                      <a:pt x="870966" y="0"/>
                    </a:moveTo>
                    <a:lnTo>
                      <a:pt x="860717" y="0"/>
                    </a:lnTo>
                    <a:lnTo>
                      <a:pt x="860717" y="10236"/>
                    </a:lnTo>
                    <a:lnTo>
                      <a:pt x="870966" y="10236"/>
                    </a:lnTo>
                    <a:lnTo>
                      <a:pt x="870966" y="0"/>
                    </a:lnTo>
                    <a:close/>
                  </a:path>
                  <a:path w="5666740" h="823595">
                    <a:moveTo>
                      <a:pt x="932446" y="0"/>
                    </a:moveTo>
                    <a:lnTo>
                      <a:pt x="922197" y="0"/>
                    </a:lnTo>
                    <a:lnTo>
                      <a:pt x="922197" y="10236"/>
                    </a:lnTo>
                    <a:lnTo>
                      <a:pt x="932446" y="10236"/>
                    </a:lnTo>
                    <a:lnTo>
                      <a:pt x="932446" y="0"/>
                    </a:lnTo>
                    <a:close/>
                  </a:path>
                  <a:path w="5666740" h="823595">
                    <a:moveTo>
                      <a:pt x="993927" y="0"/>
                    </a:moveTo>
                    <a:lnTo>
                      <a:pt x="983678" y="0"/>
                    </a:lnTo>
                    <a:lnTo>
                      <a:pt x="983678" y="10236"/>
                    </a:lnTo>
                    <a:lnTo>
                      <a:pt x="993927" y="10236"/>
                    </a:lnTo>
                    <a:lnTo>
                      <a:pt x="993927" y="0"/>
                    </a:lnTo>
                    <a:close/>
                  </a:path>
                  <a:path w="5666740" h="823595">
                    <a:moveTo>
                      <a:pt x="1055408" y="0"/>
                    </a:moveTo>
                    <a:lnTo>
                      <a:pt x="1045159" y="0"/>
                    </a:lnTo>
                    <a:lnTo>
                      <a:pt x="1045159" y="10236"/>
                    </a:lnTo>
                    <a:lnTo>
                      <a:pt x="1055408" y="10236"/>
                    </a:lnTo>
                    <a:lnTo>
                      <a:pt x="1055408" y="0"/>
                    </a:lnTo>
                    <a:close/>
                  </a:path>
                  <a:path w="5666740" h="823595">
                    <a:moveTo>
                      <a:pt x="1116888" y="0"/>
                    </a:moveTo>
                    <a:lnTo>
                      <a:pt x="1106639" y="0"/>
                    </a:lnTo>
                    <a:lnTo>
                      <a:pt x="1106639" y="10236"/>
                    </a:lnTo>
                    <a:lnTo>
                      <a:pt x="1116888" y="10236"/>
                    </a:lnTo>
                    <a:lnTo>
                      <a:pt x="1116888" y="0"/>
                    </a:lnTo>
                    <a:close/>
                  </a:path>
                  <a:path w="5666740" h="823595">
                    <a:moveTo>
                      <a:pt x="1178369" y="0"/>
                    </a:moveTo>
                    <a:lnTo>
                      <a:pt x="1168120" y="0"/>
                    </a:lnTo>
                    <a:lnTo>
                      <a:pt x="1168120" y="10236"/>
                    </a:lnTo>
                    <a:lnTo>
                      <a:pt x="1178369" y="10236"/>
                    </a:lnTo>
                    <a:lnTo>
                      <a:pt x="1178369" y="0"/>
                    </a:lnTo>
                    <a:close/>
                  </a:path>
                  <a:path w="5666740" h="823595">
                    <a:moveTo>
                      <a:pt x="1239850" y="0"/>
                    </a:moveTo>
                    <a:lnTo>
                      <a:pt x="1229601" y="0"/>
                    </a:lnTo>
                    <a:lnTo>
                      <a:pt x="1229601" y="10236"/>
                    </a:lnTo>
                    <a:lnTo>
                      <a:pt x="1239850" y="10236"/>
                    </a:lnTo>
                    <a:lnTo>
                      <a:pt x="1239850" y="0"/>
                    </a:lnTo>
                    <a:close/>
                  </a:path>
                  <a:path w="5666740" h="823595">
                    <a:moveTo>
                      <a:pt x="1301330" y="0"/>
                    </a:moveTo>
                    <a:lnTo>
                      <a:pt x="1291082" y="0"/>
                    </a:lnTo>
                    <a:lnTo>
                      <a:pt x="1291082" y="10236"/>
                    </a:lnTo>
                    <a:lnTo>
                      <a:pt x="1301330" y="10236"/>
                    </a:lnTo>
                    <a:lnTo>
                      <a:pt x="1301330" y="0"/>
                    </a:lnTo>
                    <a:close/>
                  </a:path>
                  <a:path w="5666740" h="823595">
                    <a:moveTo>
                      <a:pt x="1362811" y="0"/>
                    </a:moveTo>
                    <a:lnTo>
                      <a:pt x="1352562" y="0"/>
                    </a:lnTo>
                    <a:lnTo>
                      <a:pt x="1352562" y="10236"/>
                    </a:lnTo>
                    <a:lnTo>
                      <a:pt x="1362811" y="10236"/>
                    </a:lnTo>
                    <a:lnTo>
                      <a:pt x="1362811" y="0"/>
                    </a:lnTo>
                    <a:close/>
                  </a:path>
                  <a:path w="5666740" h="823595">
                    <a:moveTo>
                      <a:pt x="1424292" y="0"/>
                    </a:moveTo>
                    <a:lnTo>
                      <a:pt x="1414043" y="0"/>
                    </a:lnTo>
                    <a:lnTo>
                      <a:pt x="1414043" y="10236"/>
                    </a:lnTo>
                    <a:lnTo>
                      <a:pt x="1424292" y="10236"/>
                    </a:lnTo>
                    <a:lnTo>
                      <a:pt x="1424292" y="0"/>
                    </a:lnTo>
                    <a:close/>
                  </a:path>
                  <a:path w="5666740" h="823595">
                    <a:moveTo>
                      <a:pt x="1485773" y="0"/>
                    </a:moveTo>
                    <a:lnTo>
                      <a:pt x="1475524" y="0"/>
                    </a:lnTo>
                    <a:lnTo>
                      <a:pt x="1475524" y="10236"/>
                    </a:lnTo>
                    <a:lnTo>
                      <a:pt x="1485773" y="10236"/>
                    </a:lnTo>
                    <a:lnTo>
                      <a:pt x="1485773" y="0"/>
                    </a:lnTo>
                    <a:close/>
                  </a:path>
                  <a:path w="5666740" h="823595">
                    <a:moveTo>
                      <a:pt x="1547253" y="0"/>
                    </a:moveTo>
                    <a:lnTo>
                      <a:pt x="1537004" y="0"/>
                    </a:lnTo>
                    <a:lnTo>
                      <a:pt x="1537004" y="10236"/>
                    </a:lnTo>
                    <a:lnTo>
                      <a:pt x="1547253" y="10236"/>
                    </a:lnTo>
                    <a:lnTo>
                      <a:pt x="1547253" y="0"/>
                    </a:lnTo>
                    <a:close/>
                  </a:path>
                  <a:path w="5666740" h="823595">
                    <a:moveTo>
                      <a:pt x="1608734" y="0"/>
                    </a:moveTo>
                    <a:lnTo>
                      <a:pt x="1598485" y="0"/>
                    </a:lnTo>
                    <a:lnTo>
                      <a:pt x="1598485" y="10236"/>
                    </a:lnTo>
                    <a:lnTo>
                      <a:pt x="1608734" y="10236"/>
                    </a:lnTo>
                    <a:lnTo>
                      <a:pt x="1608734" y="0"/>
                    </a:lnTo>
                    <a:close/>
                  </a:path>
                  <a:path w="5666740" h="823595">
                    <a:moveTo>
                      <a:pt x="1670215" y="0"/>
                    </a:moveTo>
                    <a:lnTo>
                      <a:pt x="1659966" y="0"/>
                    </a:lnTo>
                    <a:lnTo>
                      <a:pt x="1659966" y="10236"/>
                    </a:lnTo>
                    <a:lnTo>
                      <a:pt x="1670215" y="10236"/>
                    </a:lnTo>
                    <a:lnTo>
                      <a:pt x="1670215" y="0"/>
                    </a:lnTo>
                    <a:close/>
                  </a:path>
                  <a:path w="5666740" h="823595">
                    <a:moveTo>
                      <a:pt x="1731695" y="0"/>
                    </a:moveTo>
                    <a:lnTo>
                      <a:pt x="1721446" y="0"/>
                    </a:lnTo>
                    <a:lnTo>
                      <a:pt x="1721446" y="10236"/>
                    </a:lnTo>
                    <a:lnTo>
                      <a:pt x="1731695" y="10236"/>
                    </a:lnTo>
                    <a:lnTo>
                      <a:pt x="1731695" y="0"/>
                    </a:lnTo>
                    <a:close/>
                  </a:path>
                  <a:path w="5666740" h="823595">
                    <a:moveTo>
                      <a:pt x="1793176" y="0"/>
                    </a:moveTo>
                    <a:lnTo>
                      <a:pt x="1782927" y="0"/>
                    </a:lnTo>
                    <a:lnTo>
                      <a:pt x="1782927" y="10236"/>
                    </a:lnTo>
                    <a:lnTo>
                      <a:pt x="1793176" y="10236"/>
                    </a:lnTo>
                    <a:lnTo>
                      <a:pt x="1793176" y="0"/>
                    </a:lnTo>
                    <a:close/>
                  </a:path>
                  <a:path w="5666740" h="823595">
                    <a:moveTo>
                      <a:pt x="1854657" y="0"/>
                    </a:moveTo>
                    <a:lnTo>
                      <a:pt x="1844408" y="0"/>
                    </a:lnTo>
                    <a:lnTo>
                      <a:pt x="1844408" y="10236"/>
                    </a:lnTo>
                    <a:lnTo>
                      <a:pt x="1854657" y="10236"/>
                    </a:lnTo>
                    <a:lnTo>
                      <a:pt x="1854657" y="0"/>
                    </a:lnTo>
                    <a:close/>
                  </a:path>
                  <a:path w="5666740" h="823595">
                    <a:moveTo>
                      <a:pt x="1916137" y="0"/>
                    </a:moveTo>
                    <a:lnTo>
                      <a:pt x="1905889" y="0"/>
                    </a:lnTo>
                    <a:lnTo>
                      <a:pt x="1905889" y="10236"/>
                    </a:lnTo>
                    <a:lnTo>
                      <a:pt x="1916137" y="10236"/>
                    </a:lnTo>
                    <a:lnTo>
                      <a:pt x="1916137" y="0"/>
                    </a:lnTo>
                    <a:close/>
                  </a:path>
                  <a:path w="5666740" h="823595">
                    <a:moveTo>
                      <a:pt x="1977618" y="0"/>
                    </a:moveTo>
                    <a:lnTo>
                      <a:pt x="1967369" y="0"/>
                    </a:lnTo>
                    <a:lnTo>
                      <a:pt x="1967369" y="10236"/>
                    </a:lnTo>
                    <a:lnTo>
                      <a:pt x="1977618" y="10236"/>
                    </a:lnTo>
                    <a:lnTo>
                      <a:pt x="1977618" y="0"/>
                    </a:lnTo>
                    <a:close/>
                  </a:path>
                  <a:path w="5666740" h="823595">
                    <a:moveTo>
                      <a:pt x="2039099" y="0"/>
                    </a:moveTo>
                    <a:lnTo>
                      <a:pt x="2028850" y="0"/>
                    </a:lnTo>
                    <a:lnTo>
                      <a:pt x="2028850" y="10236"/>
                    </a:lnTo>
                    <a:lnTo>
                      <a:pt x="2039099" y="10236"/>
                    </a:lnTo>
                    <a:lnTo>
                      <a:pt x="2039099" y="0"/>
                    </a:lnTo>
                    <a:close/>
                  </a:path>
                  <a:path w="5666740" h="823595">
                    <a:moveTo>
                      <a:pt x="2100580" y="0"/>
                    </a:moveTo>
                    <a:lnTo>
                      <a:pt x="2090331" y="0"/>
                    </a:lnTo>
                    <a:lnTo>
                      <a:pt x="2090331" y="10236"/>
                    </a:lnTo>
                    <a:lnTo>
                      <a:pt x="2100580" y="10236"/>
                    </a:lnTo>
                    <a:lnTo>
                      <a:pt x="2100580" y="0"/>
                    </a:lnTo>
                    <a:close/>
                  </a:path>
                  <a:path w="5666740" h="823595">
                    <a:moveTo>
                      <a:pt x="2162060" y="0"/>
                    </a:moveTo>
                    <a:lnTo>
                      <a:pt x="2151811" y="0"/>
                    </a:lnTo>
                    <a:lnTo>
                      <a:pt x="2151811" y="10236"/>
                    </a:lnTo>
                    <a:lnTo>
                      <a:pt x="2162060" y="10236"/>
                    </a:lnTo>
                    <a:lnTo>
                      <a:pt x="2162060" y="0"/>
                    </a:lnTo>
                    <a:close/>
                  </a:path>
                  <a:path w="5666740" h="823595">
                    <a:moveTo>
                      <a:pt x="2223541" y="0"/>
                    </a:moveTo>
                    <a:lnTo>
                      <a:pt x="2213292" y="0"/>
                    </a:lnTo>
                    <a:lnTo>
                      <a:pt x="2213292" y="10236"/>
                    </a:lnTo>
                    <a:lnTo>
                      <a:pt x="2223541" y="10236"/>
                    </a:lnTo>
                    <a:lnTo>
                      <a:pt x="2223541" y="0"/>
                    </a:lnTo>
                    <a:close/>
                  </a:path>
                  <a:path w="5666740" h="823595">
                    <a:moveTo>
                      <a:pt x="2285022" y="0"/>
                    </a:moveTo>
                    <a:lnTo>
                      <a:pt x="2274773" y="0"/>
                    </a:lnTo>
                    <a:lnTo>
                      <a:pt x="2274773" y="10236"/>
                    </a:lnTo>
                    <a:lnTo>
                      <a:pt x="2285022" y="10236"/>
                    </a:lnTo>
                    <a:lnTo>
                      <a:pt x="2285022" y="0"/>
                    </a:lnTo>
                    <a:close/>
                  </a:path>
                  <a:path w="5666740" h="823595">
                    <a:moveTo>
                      <a:pt x="2346502" y="0"/>
                    </a:moveTo>
                    <a:lnTo>
                      <a:pt x="2336254" y="0"/>
                    </a:lnTo>
                    <a:lnTo>
                      <a:pt x="2336254" y="10236"/>
                    </a:lnTo>
                    <a:lnTo>
                      <a:pt x="2346502" y="10236"/>
                    </a:lnTo>
                    <a:lnTo>
                      <a:pt x="2346502" y="0"/>
                    </a:lnTo>
                    <a:close/>
                  </a:path>
                  <a:path w="5666740" h="823595">
                    <a:moveTo>
                      <a:pt x="2407983" y="0"/>
                    </a:moveTo>
                    <a:lnTo>
                      <a:pt x="2397734" y="0"/>
                    </a:lnTo>
                    <a:lnTo>
                      <a:pt x="2397734" y="10236"/>
                    </a:lnTo>
                    <a:lnTo>
                      <a:pt x="2407983" y="10236"/>
                    </a:lnTo>
                    <a:lnTo>
                      <a:pt x="2407983" y="0"/>
                    </a:lnTo>
                    <a:close/>
                  </a:path>
                  <a:path w="5666740" h="823595">
                    <a:moveTo>
                      <a:pt x="2469451" y="0"/>
                    </a:moveTo>
                    <a:lnTo>
                      <a:pt x="2459215" y="0"/>
                    </a:lnTo>
                    <a:lnTo>
                      <a:pt x="2459215" y="10236"/>
                    </a:lnTo>
                    <a:lnTo>
                      <a:pt x="2469451" y="10236"/>
                    </a:lnTo>
                    <a:lnTo>
                      <a:pt x="2469451" y="0"/>
                    </a:lnTo>
                    <a:close/>
                  </a:path>
                  <a:path w="5666740" h="823595">
                    <a:moveTo>
                      <a:pt x="2530932" y="0"/>
                    </a:moveTo>
                    <a:lnTo>
                      <a:pt x="2520696" y="0"/>
                    </a:lnTo>
                    <a:lnTo>
                      <a:pt x="2520696" y="10236"/>
                    </a:lnTo>
                    <a:lnTo>
                      <a:pt x="2530932" y="10236"/>
                    </a:lnTo>
                    <a:lnTo>
                      <a:pt x="2530932" y="0"/>
                    </a:lnTo>
                    <a:close/>
                  </a:path>
                  <a:path w="5666740" h="823595">
                    <a:moveTo>
                      <a:pt x="2592413" y="0"/>
                    </a:moveTo>
                    <a:lnTo>
                      <a:pt x="2582176" y="0"/>
                    </a:lnTo>
                    <a:lnTo>
                      <a:pt x="2582176" y="10236"/>
                    </a:lnTo>
                    <a:lnTo>
                      <a:pt x="2592413" y="10236"/>
                    </a:lnTo>
                    <a:lnTo>
                      <a:pt x="2592413" y="0"/>
                    </a:lnTo>
                    <a:close/>
                  </a:path>
                  <a:path w="5666740" h="823595">
                    <a:moveTo>
                      <a:pt x="2653893" y="0"/>
                    </a:moveTo>
                    <a:lnTo>
                      <a:pt x="2643657" y="0"/>
                    </a:lnTo>
                    <a:lnTo>
                      <a:pt x="2643657" y="10236"/>
                    </a:lnTo>
                    <a:lnTo>
                      <a:pt x="2653893" y="10236"/>
                    </a:lnTo>
                    <a:lnTo>
                      <a:pt x="2653893" y="0"/>
                    </a:lnTo>
                    <a:close/>
                  </a:path>
                  <a:path w="5666740" h="823595">
                    <a:moveTo>
                      <a:pt x="2715374" y="0"/>
                    </a:moveTo>
                    <a:lnTo>
                      <a:pt x="2705138" y="0"/>
                    </a:lnTo>
                    <a:lnTo>
                      <a:pt x="2705138" y="10236"/>
                    </a:lnTo>
                    <a:lnTo>
                      <a:pt x="2715374" y="10236"/>
                    </a:lnTo>
                    <a:lnTo>
                      <a:pt x="2715374" y="0"/>
                    </a:lnTo>
                    <a:close/>
                  </a:path>
                  <a:path w="5666740" h="823595">
                    <a:moveTo>
                      <a:pt x="2776855" y="0"/>
                    </a:moveTo>
                    <a:lnTo>
                      <a:pt x="2766618" y="0"/>
                    </a:lnTo>
                    <a:lnTo>
                      <a:pt x="2766618" y="10236"/>
                    </a:lnTo>
                    <a:lnTo>
                      <a:pt x="2776855" y="10236"/>
                    </a:lnTo>
                    <a:lnTo>
                      <a:pt x="2776855" y="0"/>
                    </a:lnTo>
                    <a:close/>
                  </a:path>
                  <a:path w="5666740" h="823595">
                    <a:moveTo>
                      <a:pt x="2838335" y="0"/>
                    </a:moveTo>
                    <a:lnTo>
                      <a:pt x="2828086" y="0"/>
                    </a:lnTo>
                    <a:lnTo>
                      <a:pt x="2828086" y="10236"/>
                    </a:lnTo>
                    <a:lnTo>
                      <a:pt x="2838335" y="10236"/>
                    </a:lnTo>
                    <a:lnTo>
                      <a:pt x="2838335" y="0"/>
                    </a:lnTo>
                    <a:close/>
                  </a:path>
                  <a:path w="5666740" h="823595">
                    <a:moveTo>
                      <a:pt x="2899816" y="0"/>
                    </a:moveTo>
                    <a:lnTo>
                      <a:pt x="2889567" y="0"/>
                    </a:lnTo>
                    <a:lnTo>
                      <a:pt x="2889567" y="10236"/>
                    </a:lnTo>
                    <a:lnTo>
                      <a:pt x="2899816" y="10236"/>
                    </a:lnTo>
                    <a:lnTo>
                      <a:pt x="2899816" y="0"/>
                    </a:lnTo>
                    <a:close/>
                  </a:path>
                  <a:path w="5666740" h="823595">
                    <a:moveTo>
                      <a:pt x="4313872" y="812901"/>
                    </a:moveTo>
                    <a:lnTo>
                      <a:pt x="4303623" y="812901"/>
                    </a:lnTo>
                    <a:lnTo>
                      <a:pt x="4303623" y="823150"/>
                    </a:lnTo>
                    <a:lnTo>
                      <a:pt x="4313872" y="823150"/>
                    </a:lnTo>
                    <a:lnTo>
                      <a:pt x="4313872" y="812901"/>
                    </a:lnTo>
                    <a:close/>
                  </a:path>
                  <a:path w="5666740" h="823595">
                    <a:moveTo>
                      <a:pt x="4375353" y="812901"/>
                    </a:moveTo>
                    <a:lnTo>
                      <a:pt x="4365104" y="812901"/>
                    </a:lnTo>
                    <a:lnTo>
                      <a:pt x="4365104" y="823150"/>
                    </a:lnTo>
                    <a:lnTo>
                      <a:pt x="4375353" y="823150"/>
                    </a:lnTo>
                    <a:lnTo>
                      <a:pt x="4375353" y="812901"/>
                    </a:lnTo>
                    <a:close/>
                  </a:path>
                  <a:path w="5666740" h="823595">
                    <a:moveTo>
                      <a:pt x="4436834" y="812901"/>
                    </a:moveTo>
                    <a:lnTo>
                      <a:pt x="4426585" y="812901"/>
                    </a:lnTo>
                    <a:lnTo>
                      <a:pt x="4426585" y="823150"/>
                    </a:lnTo>
                    <a:lnTo>
                      <a:pt x="4436834" y="823150"/>
                    </a:lnTo>
                    <a:lnTo>
                      <a:pt x="4436834" y="812901"/>
                    </a:lnTo>
                    <a:close/>
                  </a:path>
                  <a:path w="5666740" h="823595">
                    <a:moveTo>
                      <a:pt x="4498314" y="812901"/>
                    </a:moveTo>
                    <a:lnTo>
                      <a:pt x="4488065" y="812901"/>
                    </a:lnTo>
                    <a:lnTo>
                      <a:pt x="4488065" y="823150"/>
                    </a:lnTo>
                    <a:lnTo>
                      <a:pt x="4498314" y="823150"/>
                    </a:lnTo>
                    <a:lnTo>
                      <a:pt x="4498314" y="812901"/>
                    </a:lnTo>
                    <a:close/>
                  </a:path>
                  <a:path w="5666740" h="823595">
                    <a:moveTo>
                      <a:pt x="4559795" y="812901"/>
                    </a:moveTo>
                    <a:lnTo>
                      <a:pt x="4549546" y="812901"/>
                    </a:lnTo>
                    <a:lnTo>
                      <a:pt x="4549546" y="823150"/>
                    </a:lnTo>
                    <a:lnTo>
                      <a:pt x="4559795" y="823150"/>
                    </a:lnTo>
                    <a:lnTo>
                      <a:pt x="4559795" y="812901"/>
                    </a:lnTo>
                    <a:close/>
                  </a:path>
                  <a:path w="5666740" h="823595">
                    <a:moveTo>
                      <a:pt x="4621263" y="812901"/>
                    </a:moveTo>
                    <a:lnTo>
                      <a:pt x="4611027" y="812901"/>
                    </a:lnTo>
                    <a:lnTo>
                      <a:pt x="4611027" y="823150"/>
                    </a:lnTo>
                    <a:lnTo>
                      <a:pt x="4621263" y="823150"/>
                    </a:lnTo>
                    <a:lnTo>
                      <a:pt x="4621263" y="812901"/>
                    </a:lnTo>
                    <a:close/>
                  </a:path>
                  <a:path w="5666740" h="823595">
                    <a:moveTo>
                      <a:pt x="4682744" y="812901"/>
                    </a:moveTo>
                    <a:lnTo>
                      <a:pt x="4672508" y="812901"/>
                    </a:lnTo>
                    <a:lnTo>
                      <a:pt x="4672508" y="823150"/>
                    </a:lnTo>
                    <a:lnTo>
                      <a:pt x="4682744" y="823150"/>
                    </a:lnTo>
                    <a:lnTo>
                      <a:pt x="4682744" y="812901"/>
                    </a:lnTo>
                    <a:close/>
                  </a:path>
                  <a:path w="5666740" h="823595">
                    <a:moveTo>
                      <a:pt x="4744224" y="812901"/>
                    </a:moveTo>
                    <a:lnTo>
                      <a:pt x="4733988" y="812901"/>
                    </a:lnTo>
                    <a:lnTo>
                      <a:pt x="4733988" y="823150"/>
                    </a:lnTo>
                    <a:lnTo>
                      <a:pt x="4744224" y="823150"/>
                    </a:lnTo>
                    <a:lnTo>
                      <a:pt x="4744224" y="812901"/>
                    </a:lnTo>
                    <a:close/>
                  </a:path>
                  <a:path w="5666740" h="823595">
                    <a:moveTo>
                      <a:pt x="4805705" y="812901"/>
                    </a:moveTo>
                    <a:lnTo>
                      <a:pt x="4795469" y="812901"/>
                    </a:lnTo>
                    <a:lnTo>
                      <a:pt x="4795469" y="823150"/>
                    </a:lnTo>
                    <a:lnTo>
                      <a:pt x="4805705" y="823150"/>
                    </a:lnTo>
                    <a:lnTo>
                      <a:pt x="4805705" y="812901"/>
                    </a:lnTo>
                    <a:close/>
                  </a:path>
                  <a:path w="5666740" h="823595">
                    <a:moveTo>
                      <a:pt x="4867186" y="812901"/>
                    </a:moveTo>
                    <a:lnTo>
                      <a:pt x="4856950" y="812901"/>
                    </a:lnTo>
                    <a:lnTo>
                      <a:pt x="4856950" y="823150"/>
                    </a:lnTo>
                    <a:lnTo>
                      <a:pt x="4867186" y="823150"/>
                    </a:lnTo>
                    <a:lnTo>
                      <a:pt x="4867186" y="812901"/>
                    </a:lnTo>
                    <a:close/>
                  </a:path>
                  <a:path w="5666740" h="823595">
                    <a:moveTo>
                      <a:pt x="4928667" y="812901"/>
                    </a:moveTo>
                    <a:lnTo>
                      <a:pt x="4918430" y="812901"/>
                    </a:lnTo>
                    <a:lnTo>
                      <a:pt x="4918430" y="823150"/>
                    </a:lnTo>
                    <a:lnTo>
                      <a:pt x="4928667" y="823150"/>
                    </a:lnTo>
                    <a:lnTo>
                      <a:pt x="4928667" y="812901"/>
                    </a:lnTo>
                    <a:close/>
                  </a:path>
                  <a:path w="5666740" h="823595">
                    <a:moveTo>
                      <a:pt x="4990147" y="812901"/>
                    </a:moveTo>
                    <a:lnTo>
                      <a:pt x="4979898" y="812901"/>
                    </a:lnTo>
                    <a:lnTo>
                      <a:pt x="4979898" y="823150"/>
                    </a:lnTo>
                    <a:lnTo>
                      <a:pt x="4990147" y="823150"/>
                    </a:lnTo>
                    <a:lnTo>
                      <a:pt x="4990147" y="812901"/>
                    </a:lnTo>
                    <a:close/>
                  </a:path>
                  <a:path w="5666740" h="823595">
                    <a:moveTo>
                      <a:pt x="5051628" y="812901"/>
                    </a:moveTo>
                    <a:lnTo>
                      <a:pt x="5041379" y="812901"/>
                    </a:lnTo>
                    <a:lnTo>
                      <a:pt x="5041379" y="823150"/>
                    </a:lnTo>
                    <a:lnTo>
                      <a:pt x="5051628" y="823150"/>
                    </a:lnTo>
                    <a:lnTo>
                      <a:pt x="5051628" y="812901"/>
                    </a:lnTo>
                    <a:close/>
                  </a:path>
                  <a:path w="5666740" h="823595">
                    <a:moveTo>
                      <a:pt x="5113109" y="812901"/>
                    </a:moveTo>
                    <a:lnTo>
                      <a:pt x="5102860" y="812901"/>
                    </a:lnTo>
                    <a:lnTo>
                      <a:pt x="5102860" y="823150"/>
                    </a:lnTo>
                    <a:lnTo>
                      <a:pt x="5113109" y="823150"/>
                    </a:lnTo>
                    <a:lnTo>
                      <a:pt x="5113109" y="812901"/>
                    </a:lnTo>
                    <a:close/>
                  </a:path>
                  <a:path w="5666740" h="823595">
                    <a:moveTo>
                      <a:pt x="5174589" y="812901"/>
                    </a:moveTo>
                    <a:lnTo>
                      <a:pt x="5164340" y="812901"/>
                    </a:lnTo>
                    <a:lnTo>
                      <a:pt x="5164340" y="823150"/>
                    </a:lnTo>
                    <a:lnTo>
                      <a:pt x="5174589" y="823150"/>
                    </a:lnTo>
                    <a:lnTo>
                      <a:pt x="5174589" y="812901"/>
                    </a:lnTo>
                    <a:close/>
                  </a:path>
                  <a:path w="5666740" h="823595">
                    <a:moveTo>
                      <a:pt x="5236070" y="812901"/>
                    </a:moveTo>
                    <a:lnTo>
                      <a:pt x="5225821" y="812901"/>
                    </a:lnTo>
                    <a:lnTo>
                      <a:pt x="5225821" y="823150"/>
                    </a:lnTo>
                    <a:lnTo>
                      <a:pt x="5236070" y="823150"/>
                    </a:lnTo>
                    <a:lnTo>
                      <a:pt x="5236070" y="812901"/>
                    </a:lnTo>
                    <a:close/>
                  </a:path>
                  <a:path w="5666740" h="823595">
                    <a:moveTo>
                      <a:pt x="5297551" y="812901"/>
                    </a:moveTo>
                    <a:lnTo>
                      <a:pt x="5287302" y="812901"/>
                    </a:lnTo>
                    <a:lnTo>
                      <a:pt x="5287302" y="823150"/>
                    </a:lnTo>
                    <a:lnTo>
                      <a:pt x="5297551" y="823150"/>
                    </a:lnTo>
                    <a:lnTo>
                      <a:pt x="5297551" y="812901"/>
                    </a:lnTo>
                    <a:close/>
                  </a:path>
                  <a:path w="5666740" h="823595">
                    <a:moveTo>
                      <a:pt x="5359031" y="812901"/>
                    </a:moveTo>
                    <a:lnTo>
                      <a:pt x="5348783" y="812901"/>
                    </a:lnTo>
                    <a:lnTo>
                      <a:pt x="5348783" y="823150"/>
                    </a:lnTo>
                    <a:lnTo>
                      <a:pt x="5359031" y="823150"/>
                    </a:lnTo>
                    <a:lnTo>
                      <a:pt x="5359031" y="812901"/>
                    </a:lnTo>
                    <a:close/>
                  </a:path>
                  <a:path w="5666740" h="823595">
                    <a:moveTo>
                      <a:pt x="5420512" y="812901"/>
                    </a:moveTo>
                    <a:lnTo>
                      <a:pt x="5410263" y="812901"/>
                    </a:lnTo>
                    <a:lnTo>
                      <a:pt x="5410263" y="823150"/>
                    </a:lnTo>
                    <a:lnTo>
                      <a:pt x="5420512" y="823150"/>
                    </a:lnTo>
                    <a:lnTo>
                      <a:pt x="5420512" y="812901"/>
                    </a:lnTo>
                    <a:close/>
                  </a:path>
                  <a:path w="5666740" h="823595">
                    <a:moveTo>
                      <a:pt x="5481993" y="812901"/>
                    </a:moveTo>
                    <a:lnTo>
                      <a:pt x="5471744" y="812901"/>
                    </a:lnTo>
                    <a:lnTo>
                      <a:pt x="5471744" y="823150"/>
                    </a:lnTo>
                    <a:lnTo>
                      <a:pt x="5481993" y="823150"/>
                    </a:lnTo>
                    <a:lnTo>
                      <a:pt x="5481993" y="812901"/>
                    </a:lnTo>
                    <a:close/>
                  </a:path>
                  <a:path w="5666740" h="823595">
                    <a:moveTo>
                      <a:pt x="5543474" y="812901"/>
                    </a:moveTo>
                    <a:lnTo>
                      <a:pt x="5533225" y="812901"/>
                    </a:lnTo>
                    <a:lnTo>
                      <a:pt x="5533225" y="823150"/>
                    </a:lnTo>
                    <a:lnTo>
                      <a:pt x="5543474" y="823150"/>
                    </a:lnTo>
                    <a:lnTo>
                      <a:pt x="5543474" y="812901"/>
                    </a:lnTo>
                    <a:close/>
                  </a:path>
                  <a:path w="5666740" h="823595">
                    <a:moveTo>
                      <a:pt x="5604954" y="812901"/>
                    </a:moveTo>
                    <a:lnTo>
                      <a:pt x="5594705" y="812901"/>
                    </a:lnTo>
                    <a:lnTo>
                      <a:pt x="5594705" y="823150"/>
                    </a:lnTo>
                    <a:lnTo>
                      <a:pt x="5604954" y="823150"/>
                    </a:lnTo>
                    <a:lnTo>
                      <a:pt x="5604954" y="812901"/>
                    </a:lnTo>
                    <a:close/>
                  </a:path>
                  <a:path w="5666740" h="823595">
                    <a:moveTo>
                      <a:pt x="5666435" y="812901"/>
                    </a:moveTo>
                    <a:lnTo>
                      <a:pt x="5656186" y="812901"/>
                    </a:lnTo>
                    <a:lnTo>
                      <a:pt x="5656186" y="823150"/>
                    </a:lnTo>
                    <a:lnTo>
                      <a:pt x="5666435" y="823150"/>
                    </a:lnTo>
                    <a:lnTo>
                      <a:pt x="5666435" y="812901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510" name="object 510"/>
              <p:cNvSpPr/>
              <p:nvPr/>
            </p:nvSpPr>
            <p:spPr>
              <a:xfrm>
                <a:off x="10162286" y="5488660"/>
                <a:ext cx="277749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2777490" h="1079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777490" h="10795">
                    <a:moveTo>
                      <a:pt x="71729" y="0"/>
                    </a:moveTo>
                    <a:lnTo>
                      <a:pt x="61480" y="0"/>
                    </a:lnTo>
                    <a:lnTo>
                      <a:pt x="61480" y="10236"/>
                    </a:lnTo>
                    <a:lnTo>
                      <a:pt x="71729" y="10236"/>
                    </a:lnTo>
                    <a:lnTo>
                      <a:pt x="71729" y="0"/>
                    </a:lnTo>
                    <a:close/>
                  </a:path>
                  <a:path w="2777490" h="10795">
                    <a:moveTo>
                      <a:pt x="133210" y="0"/>
                    </a:moveTo>
                    <a:lnTo>
                      <a:pt x="122961" y="0"/>
                    </a:lnTo>
                    <a:lnTo>
                      <a:pt x="122961" y="10236"/>
                    </a:lnTo>
                    <a:lnTo>
                      <a:pt x="133210" y="10236"/>
                    </a:lnTo>
                    <a:lnTo>
                      <a:pt x="133210" y="0"/>
                    </a:lnTo>
                    <a:close/>
                  </a:path>
                  <a:path w="2777490" h="10795">
                    <a:moveTo>
                      <a:pt x="194691" y="0"/>
                    </a:moveTo>
                    <a:lnTo>
                      <a:pt x="184442" y="0"/>
                    </a:lnTo>
                    <a:lnTo>
                      <a:pt x="184442" y="10236"/>
                    </a:lnTo>
                    <a:lnTo>
                      <a:pt x="194691" y="10236"/>
                    </a:lnTo>
                    <a:lnTo>
                      <a:pt x="194691" y="0"/>
                    </a:lnTo>
                    <a:close/>
                  </a:path>
                  <a:path w="2777490" h="10795">
                    <a:moveTo>
                      <a:pt x="256171" y="0"/>
                    </a:moveTo>
                    <a:lnTo>
                      <a:pt x="245922" y="0"/>
                    </a:lnTo>
                    <a:lnTo>
                      <a:pt x="245922" y="10236"/>
                    </a:lnTo>
                    <a:lnTo>
                      <a:pt x="256171" y="10236"/>
                    </a:lnTo>
                    <a:lnTo>
                      <a:pt x="256171" y="0"/>
                    </a:lnTo>
                    <a:close/>
                  </a:path>
                  <a:path w="2777490" h="10795">
                    <a:moveTo>
                      <a:pt x="317652" y="0"/>
                    </a:moveTo>
                    <a:lnTo>
                      <a:pt x="307403" y="0"/>
                    </a:lnTo>
                    <a:lnTo>
                      <a:pt x="307403" y="10236"/>
                    </a:lnTo>
                    <a:lnTo>
                      <a:pt x="317652" y="10236"/>
                    </a:lnTo>
                    <a:lnTo>
                      <a:pt x="317652" y="0"/>
                    </a:lnTo>
                    <a:close/>
                  </a:path>
                  <a:path w="2777490" h="10795">
                    <a:moveTo>
                      <a:pt x="379133" y="0"/>
                    </a:moveTo>
                    <a:lnTo>
                      <a:pt x="368884" y="0"/>
                    </a:lnTo>
                    <a:lnTo>
                      <a:pt x="368884" y="10236"/>
                    </a:lnTo>
                    <a:lnTo>
                      <a:pt x="379133" y="10236"/>
                    </a:lnTo>
                    <a:lnTo>
                      <a:pt x="379133" y="0"/>
                    </a:lnTo>
                    <a:close/>
                  </a:path>
                  <a:path w="2777490" h="10795">
                    <a:moveTo>
                      <a:pt x="440613" y="0"/>
                    </a:moveTo>
                    <a:lnTo>
                      <a:pt x="430364" y="0"/>
                    </a:lnTo>
                    <a:lnTo>
                      <a:pt x="430364" y="10236"/>
                    </a:lnTo>
                    <a:lnTo>
                      <a:pt x="440613" y="10236"/>
                    </a:lnTo>
                    <a:lnTo>
                      <a:pt x="440613" y="0"/>
                    </a:lnTo>
                    <a:close/>
                  </a:path>
                  <a:path w="2777490" h="10795">
                    <a:moveTo>
                      <a:pt x="502094" y="0"/>
                    </a:moveTo>
                    <a:lnTo>
                      <a:pt x="491845" y="0"/>
                    </a:lnTo>
                    <a:lnTo>
                      <a:pt x="491845" y="10236"/>
                    </a:lnTo>
                    <a:lnTo>
                      <a:pt x="502094" y="10236"/>
                    </a:lnTo>
                    <a:lnTo>
                      <a:pt x="502094" y="0"/>
                    </a:lnTo>
                    <a:close/>
                  </a:path>
                  <a:path w="2777490" h="10795">
                    <a:moveTo>
                      <a:pt x="563575" y="0"/>
                    </a:moveTo>
                    <a:lnTo>
                      <a:pt x="553326" y="0"/>
                    </a:lnTo>
                    <a:lnTo>
                      <a:pt x="553326" y="10236"/>
                    </a:lnTo>
                    <a:lnTo>
                      <a:pt x="563575" y="10236"/>
                    </a:lnTo>
                    <a:lnTo>
                      <a:pt x="563575" y="0"/>
                    </a:lnTo>
                    <a:close/>
                  </a:path>
                  <a:path w="2777490" h="10795">
                    <a:moveTo>
                      <a:pt x="625055" y="0"/>
                    </a:moveTo>
                    <a:lnTo>
                      <a:pt x="614807" y="0"/>
                    </a:lnTo>
                    <a:lnTo>
                      <a:pt x="614807" y="10236"/>
                    </a:lnTo>
                    <a:lnTo>
                      <a:pt x="625055" y="10236"/>
                    </a:lnTo>
                    <a:lnTo>
                      <a:pt x="625055" y="0"/>
                    </a:lnTo>
                    <a:close/>
                  </a:path>
                  <a:path w="2777490" h="10795">
                    <a:moveTo>
                      <a:pt x="686536" y="0"/>
                    </a:moveTo>
                    <a:lnTo>
                      <a:pt x="676287" y="0"/>
                    </a:lnTo>
                    <a:lnTo>
                      <a:pt x="676287" y="10236"/>
                    </a:lnTo>
                    <a:lnTo>
                      <a:pt x="686536" y="10236"/>
                    </a:lnTo>
                    <a:lnTo>
                      <a:pt x="686536" y="0"/>
                    </a:lnTo>
                    <a:close/>
                  </a:path>
                  <a:path w="2777490" h="10795">
                    <a:moveTo>
                      <a:pt x="748017" y="0"/>
                    </a:moveTo>
                    <a:lnTo>
                      <a:pt x="737768" y="0"/>
                    </a:lnTo>
                    <a:lnTo>
                      <a:pt x="737768" y="10236"/>
                    </a:lnTo>
                    <a:lnTo>
                      <a:pt x="748017" y="10236"/>
                    </a:lnTo>
                    <a:lnTo>
                      <a:pt x="748017" y="0"/>
                    </a:lnTo>
                    <a:close/>
                  </a:path>
                  <a:path w="2777490" h="10795">
                    <a:moveTo>
                      <a:pt x="809498" y="0"/>
                    </a:moveTo>
                    <a:lnTo>
                      <a:pt x="799249" y="0"/>
                    </a:lnTo>
                    <a:lnTo>
                      <a:pt x="799249" y="10236"/>
                    </a:lnTo>
                    <a:lnTo>
                      <a:pt x="809498" y="10236"/>
                    </a:lnTo>
                    <a:lnTo>
                      <a:pt x="809498" y="0"/>
                    </a:lnTo>
                    <a:close/>
                  </a:path>
                  <a:path w="2777490" h="10795">
                    <a:moveTo>
                      <a:pt x="870978" y="0"/>
                    </a:moveTo>
                    <a:lnTo>
                      <a:pt x="860729" y="0"/>
                    </a:lnTo>
                    <a:lnTo>
                      <a:pt x="860729" y="10236"/>
                    </a:lnTo>
                    <a:lnTo>
                      <a:pt x="870978" y="10236"/>
                    </a:lnTo>
                    <a:lnTo>
                      <a:pt x="870978" y="0"/>
                    </a:lnTo>
                    <a:close/>
                  </a:path>
                  <a:path w="2777490" h="10795">
                    <a:moveTo>
                      <a:pt x="932459" y="0"/>
                    </a:moveTo>
                    <a:lnTo>
                      <a:pt x="922210" y="0"/>
                    </a:lnTo>
                    <a:lnTo>
                      <a:pt x="922210" y="10236"/>
                    </a:lnTo>
                    <a:lnTo>
                      <a:pt x="932459" y="10236"/>
                    </a:lnTo>
                    <a:lnTo>
                      <a:pt x="932459" y="0"/>
                    </a:lnTo>
                    <a:close/>
                  </a:path>
                  <a:path w="2777490" h="10795">
                    <a:moveTo>
                      <a:pt x="993940" y="0"/>
                    </a:moveTo>
                    <a:lnTo>
                      <a:pt x="983691" y="0"/>
                    </a:lnTo>
                    <a:lnTo>
                      <a:pt x="983691" y="10236"/>
                    </a:lnTo>
                    <a:lnTo>
                      <a:pt x="993940" y="10236"/>
                    </a:lnTo>
                    <a:lnTo>
                      <a:pt x="993940" y="0"/>
                    </a:lnTo>
                    <a:close/>
                  </a:path>
                  <a:path w="2777490" h="10795">
                    <a:moveTo>
                      <a:pt x="1055420" y="0"/>
                    </a:moveTo>
                    <a:lnTo>
                      <a:pt x="1045171" y="0"/>
                    </a:lnTo>
                    <a:lnTo>
                      <a:pt x="1045171" y="10236"/>
                    </a:lnTo>
                    <a:lnTo>
                      <a:pt x="1055420" y="10236"/>
                    </a:lnTo>
                    <a:lnTo>
                      <a:pt x="1055420" y="0"/>
                    </a:lnTo>
                    <a:close/>
                  </a:path>
                  <a:path w="2777490" h="10795">
                    <a:moveTo>
                      <a:pt x="1116901" y="0"/>
                    </a:moveTo>
                    <a:lnTo>
                      <a:pt x="1106652" y="0"/>
                    </a:lnTo>
                    <a:lnTo>
                      <a:pt x="1106652" y="10236"/>
                    </a:lnTo>
                    <a:lnTo>
                      <a:pt x="1116901" y="10236"/>
                    </a:lnTo>
                    <a:lnTo>
                      <a:pt x="1116901" y="0"/>
                    </a:lnTo>
                    <a:close/>
                  </a:path>
                  <a:path w="2777490" h="10795">
                    <a:moveTo>
                      <a:pt x="1178382" y="0"/>
                    </a:moveTo>
                    <a:lnTo>
                      <a:pt x="1168133" y="0"/>
                    </a:lnTo>
                    <a:lnTo>
                      <a:pt x="1168133" y="10236"/>
                    </a:lnTo>
                    <a:lnTo>
                      <a:pt x="1178382" y="10236"/>
                    </a:lnTo>
                    <a:lnTo>
                      <a:pt x="1178382" y="0"/>
                    </a:lnTo>
                    <a:close/>
                  </a:path>
                  <a:path w="2777490" h="10795">
                    <a:moveTo>
                      <a:pt x="1239862" y="0"/>
                    </a:moveTo>
                    <a:lnTo>
                      <a:pt x="1229614" y="0"/>
                    </a:lnTo>
                    <a:lnTo>
                      <a:pt x="1229614" y="10236"/>
                    </a:lnTo>
                    <a:lnTo>
                      <a:pt x="1239862" y="10236"/>
                    </a:lnTo>
                    <a:lnTo>
                      <a:pt x="1239862" y="0"/>
                    </a:lnTo>
                    <a:close/>
                  </a:path>
                  <a:path w="2777490" h="10795">
                    <a:moveTo>
                      <a:pt x="1301343" y="0"/>
                    </a:moveTo>
                    <a:lnTo>
                      <a:pt x="1291094" y="0"/>
                    </a:lnTo>
                    <a:lnTo>
                      <a:pt x="1291094" y="10236"/>
                    </a:lnTo>
                    <a:lnTo>
                      <a:pt x="1301343" y="10236"/>
                    </a:lnTo>
                    <a:lnTo>
                      <a:pt x="1301343" y="0"/>
                    </a:lnTo>
                    <a:close/>
                  </a:path>
                  <a:path w="2777490" h="10795">
                    <a:moveTo>
                      <a:pt x="1362824" y="0"/>
                    </a:moveTo>
                    <a:lnTo>
                      <a:pt x="1352575" y="0"/>
                    </a:lnTo>
                    <a:lnTo>
                      <a:pt x="1352575" y="10236"/>
                    </a:lnTo>
                    <a:lnTo>
                      <a:pt x="1362824" y="10236"/>
                    </a:lnTo>
                    <a:lnTo>
                      <a:pt x="1362824" y="0"/>
                    </a:lnTo>
                    <a:close/>
                  </a:path>
                  <a:path w="2777490" h="10795">
                    <a:moveTo>
                      <a:pt x="1424305" y="0"/>
                    </a:moveTo>
                    <a:lnTo>
                      <a:pt x="1414056" y="0"/>
                    </a:lnTo>
                    <a:lnTo>
                      <a:pt x="1414056" y="10236"/>
                    </a:lnTo>
                    <a:lnTo>
                      <a:pt x="1424305" y="10236"/>
                    </a:lnTo>
                    <a:lnTo>
                      <a:pt x="1424305" y="0"/>
                    </a:lnTo>
                    <a:close/>
                  </a:path>
                  <a:path w="2777490" h="10795">
                    <a:moveTo>
                      <a:pt x="1485785" y="0"/>
                    </a:moveTo>
                    <a:lnTo>
                      <a:pt x="1475536" y="0"/>
                    </a:lnTo>
                    <a:lnTo>
                      <a:pt x="1475536" y="10236"/>
                    </a:lnTo>
                    <a:lnTo>
                      <a:pt x="1485785" y="10236"/>
                    </a:lnTo>
                    <a:lnTo>
                      <a:pt x="1485785" y="0"/>
                    </a:lnTo>
                    <a:close/>
                  </a:path>
                  <a:path w="2777490" h="10795">
                    <a:moveTo>
                      <a:pt x="1547266" y="0"/>
                    </a:moveTo>
                    <a:lnTo>
                      <a:pt x="1537017" y="0"/>
                    </a:lnTo>
                    <a:lnTo>
                      <a:pt x="1537017" y="10236"/>
                    </a:lnTo>
                    <a:lnTo>
                      <a:pt x="1547266" y="10236"/>
                    </a:lnTo>
                    <a:lnTo>
                      <a:pt x="1547266" y="0"/>
                    </a:lnTo>
                    <a:close/>
                  </a:path>
                  <a:path w="2777490" h="10795">
                    <a:moveTo>
                      <a:pt x="1608747" y="0"/>
                    </a:moveTo>
                    <a:lnTo>
                      <a:pt x="1598498" y="0"/>
                    </a:lnTo>
                    <a:lnTo>
                      <a:pt x="1598498" y="10236"/>
                    </a:lnTo>
                    <a:lnTo>
                      <a:pt x="1608747" y="10236"/>
                    </a:lnTo>
                    <a:lnTo>
                      <a:pt x="1608747" y="0"/>
                    </a:lnTo>
                    <a:close/>
                  </a:path>
                  <a:path w="2777490" h="10795">
                    <a:moveTo>
                      <a:pt x="1670227" y="0"/>
                    </a:moveTo>
                    <a:lnTo>
                      <a:pt x="1659978" y="0"/>
                    </a:lnTo>
                    <a:lnTo>
                      <a:pt x="1659978" y="10236"/>
                    </a:lnTo>
                    <a:lnTo>
                      <a:pt x="1670227" y="10236"/>
                    </a:lnTo>
                    <a:lnTo>
                      <a:pt x="1670227" y="0"/>
                    </a:lnTo>
                    <a:close/>
                  </a:path>
                  <a:path w="2777490" h="10795">
                    <a:moveTo>
                      <a:pt x="1731695" y="0"/>
                    </a:moveTo>
                    <a:lnTo>
                      <a:pt x="1721459" y="0"/>
                    </a:lnTo>
                    <a:lnTo>
                      <a:pt x="1721459" y="10236"/>
                    </a:lnTo>
                    <a:lnTo>
                      <a:pt x="1731695" y="10236"/>
                    </a:lnTo>
                    <a:lnTo>
                      <a:pt x="1731695" y="0"/>
                    </a:lnTo>
                    <a:close/>
                  </a:path>
                  <a:path w="2777490" h="10795">
                    <a:moveTo>
                      <a:pt x="1793176" y="0"/>
                    </a:moveTo>
                    <a:lnTo>
                      <a:pt x="1782940" y="0"/>
                    </a:lnTo>
                    <a:lnTo>
                      <a:pt x="1782940" y="10236"/>
                    </a:lnTo>
                    <a:lnTo>
                      <a:pt x="1793176" y="10236"/>
                    </a:lnTo>
                    <a:lnTo>
                      <a:pt x="1793176" y="0"/>
                    </a:lnTo>
                    <a:close/>
                  </a:path>
                  <a:path w="2777490" h="10795">
                    <a:moveTo>
                      <a:pt x="1854657" y="0"/>
                    </a:moveTo>
                    <a:lnTo>
                      <a:pt x="1844421" y="0"/>
                    </a:lnTo>
                    <a:lnTo>
                      <a:pt x="1844421" y="10236"/>
                    </a:lnTo>
                    <a:lnTo>
                      <a:pt x="1854657" y="10236"/>
                    </a:lnTo>
                    <a:lnTo>
                      <a:pt x="1854657" y="0"/>
                    </a:lnTo>
                    <a:close/>
                  </a:path>
                  <a:path w="2777490" h="10795">
                    <a:moveTo>
                      <a:pt x="1916137" y="0"/>
                    </a:moveTo>
                    <a:lnTo>
                      <a:pt x="1905901" y="0"/>
                    </a:lnTo>
                    <a:lnTo>
                      <a:pt x="1905901" y="10236"/>
                    </a:lnTo>
                    <a:lnTo>
                      <a:pt x="1916137" y="10236"/>
                    </a:lnTo>
                    <a:lnTo>
                      <a:pt x="1916137" y="0"/>
                    </a:lnTo>
                    <a:close/>
                  </a:path>
                  <a:path w="2777490" h="10795">
                    <a:moveTo>
                      <a:pt x="1977618" y="0"/>
                    </a:moveTo>
                    <a:lnTo>
                      <a:pt x="1967382" y="0"/>
                    </a:lnTo>
                    <a:lnTo>
                      <a:pt x="1967382" y="10236"/>
                    </a:lnTo>
                    <a:lnTo>
                      <a:pt x="1977618" y="10236"/>
                    </a:lnTo>
                    <a:lnTo>
                      <a:pt x="1977618" y="0"/>
                    </a:lnTo>
                    <a:close/>
                  </a:path>
                  <a:path w="2777490" h="10795">
                    <a:moveTo>
                      <a:pt x="2039099" y="0"/>
                    </a:moveTo>
                    <a:lnTo>
                      <a:pt x="2028863" y="0"/>
                    </a:lnTo>
                    <a:lnTo>
                      <a:pt x="2028863" y="10236"/>
                    </a:lnTo>
                    <a:lnTo>
                      <a:pt x="2039099" y="10236"/>
                    </a:lnTo>
                    <a:lnTo>
                      <a:pt x="2039099" y="0"/>
                    </a:lnTo>
                    <a:close/>
                  </a:path>
                  <a:path w="2777490" h="10795">
                    <a:moveTo>
                      <a:pt x="2100580" y="0"/>
                    </a:moveTo>
                    <a:lnTo>
                      <a:pt x="2090331" y="0"/>
                    </a:lnTo>
                    <a:lnTo>
                      <a:pt x="2090331" y="10236"/>
                    </a:lnTo>
                    <a:lnTo>
                      <a:pt x="2100580" y="10236"/>
                    </a:lnTo>
                    <a:lnTo>
                      <a:pt x="2100580" y="0"/>
                    </a:lnTo>
                    <a:close/>
                  </a:path>
                  <a:path w="2777490" h="10795">
                    <a:moveTo>
                      <a:pt x="2162060" y="0"/>
                    </a:moveTo>
                    <a:lnTo>
                      <a:pt x="2151811" y="0"/>
                    </a:lnTo>
                    <a:lnTo>
                      <a:pt x="2151811" y="10236"/>
                    </a:lnTo>
                    <a:lnTo>
                      <a:pt x="2162060" y="10236"/>
                    </a:lnTo>
                    <a:lnTo>
                      <a:pt x="2162060" y="0"/>
                    </a:lnTo>
                    <a:close/>
                  </a:path>
                  <a:path w="2777490" h="10795">
                    <a:moveTo>
                      <a:pt x="2223541" y="0"/>
                    </a:moveTo>
                    <a:lnTo>
                      <a:pt x="2213292" y="0"/>
                    </a:lnTo>
                    <a:lnTo>
                      <a:pt x="2213292" y="10236"/>
                    </a:lnTo>
                    <a:lnTo>
                      <a:pt x="2223541" y="10236"/>
                    </a:lnTo>
                    <a:lnTo>
                      <a:pt x="2223541" y="0"/>
                    </a:lnTo>
                    <a:close/>
                  </a:path>
                  <a:path w="2777490" h="10795">
                    <a:moveTo>
                      <a:pt x="2285022" y="0"/>
                    </a:moveTo>
                    <a:lnTo>
                      <a:pt x="2274773" y="0"/>
                    </a:lnTo>
                    <a:lnTo>
                      <a:pt x="2274773" y="10236"/>
                    </a:lnTo>
                    <a:lnTo>
                      <a:pt x="2285022" y="10236"/>
                    </a:lnTo>
                    <a:lnTo>
                      <a:pt x="2285022" y="0"/>
                    </a:lnTo>
                    <a:close/>
                  </a:path>
                  <a:path w="2777490" h="10795">
                    <a:moveTo>
                      <a:pt x="2346502" y="0"/>
                    </a:moveTo>
                    <a:lnTo>
                      <a:pt x="2336254" y="0"/>
                    </a:lnTo>
                    <a:lnTo>
                      <a:pt x="2336254" y="10236"/>
                    </a:lnTo>
                    <a:lnTo>
                      <a:pt x="2346502" y="10236"/>
                    </a:lnTo>
                    <a:lnTo>
                      <a:pt x="2346502" y="0"/>
                    </a:lnTo>
                    <a:close/>
                  </a:path>
                  <a:path w="2777490" h="10795">
                    <a:moveTo>
                      <a:pt x="2407983" y="0"/>
                    </a:moveTo>
                    <a:lnTo>
                      <a:pt x="2397734" y="0"/>
                    </a:lnTo>
                    <a:lnTo>
                      <a:pt x="2397734" y="10236"/>
                    </a:lnTo>
                    <a:lnTo>
                      <a:pt x="2407983" y="10236"/>
                    </a:lnTo>
                    <a:lnTo>
                      <a:pt x="2407983" y="0"/>
                    </a:lnTo>
                    <a:close/>
                  </a:path>
                  <a:path w="2777490" h="10795">
                    <a:moveTo>
                      <a:pt x="2469464" y="0"/>
                    </a:moveTo>
                    <a:lnTo>
                      <a:pt x="2459215" y="0"/>
                    </a:lnTo>
                    <a:lnTo>
                      <a:pt x="2459215" y="10236"/>
                    </a:lnTo>
                    <a:lnTo>
                      <a:pt x="2469464" y="10236"/>
                    </a:lnTo>
                    <a:lnTo>
                      <a:pt x="2469464" y="0"/>
                    </a:lnTo>
                    <a:close/>
                  </a:path>
                  <a:path w="2777490" h="10795">
                    <a:moveTo>
                      <a:pt x="2530945" y="0"/>
                    </a:moveTo>
                    <a:lnTo>
                      <a:pt x="2520696" y="0"/>
                    </a:lnTo>
                    <a:lnTo>
                      <a:pt x="2520696" y="10236"/>
                    </a:lnTo>
                    <a:lnTo>
                      <a:pt x="2530945" y="10236"/>
                    </a:lnTo>
                    <a:lnTo>
                      <a:pt x="2530945" y="0"/>
                    </a:lnTo>
                    <a:close/>
                  </a:path>
                  <a:path w="2777490" h="10795">
                    <a:moveTo>
                      <a:pt x="2592425" y="0"/>
                    </a:moveTo>
                    <a:lnTo>
                      <a:pt x="2582176" y="0"/>
                    </a:lnTo>
                    <a:lnTo>
                      <a:pt x="2582176" y="10236"/>
                    </a:lnTo>
                    <a:lnTo>
                      <a:pt x="2592425" y="10236"/>
                    </a:lnTo>
                    <a:lnTo>
                      <a:pt x="2592425" y="0"/>
                    </a:lnTo>
                    <a:close/>
                  </a:path>
                  <a:path w="2777490" h="10795">
                    <a:moveTo>
                      <a:pt x="2653906" y="0"/>
                    </a:moveTo>
                    <a:lnTo>
                      <a:pt x="2643657" y="0"/>
                    </a:lnTo>
                    <a:lnTo>
                      <a:pt x="2643657" y="10236"/>
                    </a:lnTo>
                    <a:lnTo>
                      <a:pt x="2653906" y="10236"/>
                    </a:lnTo>
                    <a:lnTo>
                      <a:pt x="2653906" y="0"/>
                    </a:lnTo>
                    <a:close/>
                  </a:path>
                  <a:path w="2777490" h="10795">
                    <a:moveTo>
                      <a:pt x="2715387" y="0"/>
                    </a:moveTo>
                    <a:lnTo>
                      <a:pt x="2705138" y="0"/>
                    </a:lnTo>
                    <a:lnTo>
                      <a:pt x="2705138" y="10236"/>
                    </a:lnTo>
                    <a:lnTo>
                      <a:pt x="2715387" y="10236"/>
                    </a:lnTo>
                    <a:lnTo>
                      <a:pt x="2715387" y="0"/>
                    </a:lnTo>
                    <a:close/>
                  </a:path>
                  <a:path w="2777490" h="10795">
                    <a:moveTo>
                      <a:pt x="2776867" y="0"/>
                    </a:moveTo>
                    <a:lnTo>
                      <a:pt x="2766618" y="0"/>
                    </a:lnTo>
                    <a:lnTo>
                      <a:pt x="2766618" y="10236"/>
                    </a:lnTo>
                    <a:lnTo>
                      <a:pt x="2776867" y="10236"/>
                    </a:lnTo>
                    <a:lnTo>
                      <a:pt x="2776867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511" name="object 511"/>
              <p:cNvSpPr/>
              <p:nvPr/>
            </p:nvSpPr>
            <p:spPr>
              <a:xfrm>
                <a:off x="7313708" y="5018052"/>
                <a:ext cx="5612765" cy="1845945"/>
              </a:xfrm>
              <a:custGeom>
                <a:avLst/>
                <a:gdLst/>
                <a:ahLst/>
                <a:cxnLst/>
                <a:rect l="l" t="t" r="r" b="b"/>
                <a:pathLst>
                  <a:path w="5612765" h="1845945">
                    <a:moveTo>
                      <a:pt x="0" y="1830560"/>
                    </a:moveTo>
                    <a:lnTo>
                      <a:pt x="255125" y="1049594"/>
                    </a:lnTo>
                    <a:lnTo>
                      <a:pt x="510251" y="1095076"/>
                    </a:lnTo>
                    <a:lnTo>
                      <a:pt x="765377" y="971079"/>
                    </a:lnTo>
                    <a:lnTo>
                      <a:pt x="1020502" y="582435"/>
                    </a:lnTo>
                    <a:lnTo>
                      <a:pt x="1275628" y="390815"/>
                    </a:lnTo>
                    <a:lnTo>
                      <a:pt x="1530754" y="244475"/>
                    </a:lnTo>
                    <a:lnTo>
                      <a:pt x="1785879" y="138779"/>
                    </a:lnTo>
                    <a:lnTo>
                      <a:pt x="2041005" y="0"/>
                    </a:lnTo>
                    <a:lnTo>
                      <a:pt x="2296131" y="32398"/>
                    </a:lnTo>
                    <a:lnTo>
                      <a:pt x="2551257" y="136387"/>
                    </a:lnTo>
                    <a:lnTo>
                      <a:pt x="2806382" y="503139"/>
                    </a:lnTo>
                    <a:lnTo>
                      <a:pt x="3061508" y="389998"/>
                    </a:lnTo>
                    <a:lnTo>
                      <a:pt x="3316634" y="432967"/>
                    </a:lnTo>
                    <a:lnTo>
                      <a:pt x="3571759" y="549168"/>
                    </a:lnTo>
                    <a:lnTo>
                      <a:pt x="3826885" y="671298"/>
                    </a:lnTo>
                    <a:lnTo>
                      <a:pt x="4082011" y="948367"/>
                    </a:lnTo>
                    <a:lnTo>
                      <a:pt x="4337136" y="1396914"/>
                    </a:lnTo>
                    <a:lnTo>
                      <a:pt x="4592262" y="1658958"/>
                    </a:lnTo>
                    <a:lnTo>
                      <a:pt x="4847388" y="1830194"/>
                    </a:lnTo>
                    <a:lnTo>
                      <a:pt x="5102513" y="1822855"/>
                    </a:lnTo>
                    <a:lnTo>
                      <a:pt x="5357639" y="1839748"/>
                    </a:lnTo>
                    <a:lnTo>
                      <a:pt x="5612765" y="1845338"/>
                    </a:lnTo>
                  </a:path>
                </a:pathLst>
              </a:custGeom>
              <a:ln w="30732">
                <a:solidFill>
                  <a:srgbClr val="666666"/>
                </a:solidFill>
              </a:ln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512" name="object 512"/>
            <p:cNvSpPr/>
            <p:nvPr/>
          </p:nvSpPr>
          <p:spPr>
            <a:xfrm>
              <a:off x="11775877" y="556019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13" name="object 513"/>
            <p:cNvSpPr txBox="1"/>
            <p:nvPr/>
          </p:nvSpPr>
          <p:spPr>
            <a:xfrm>
              <a:off x="6516522" y="5479754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514" name="object 514"/>
            <p:cNvSpPr/>
            <p:nvPr/>
          </p:nvSpPr>
          <p:spPr>
            <a:xfrm>
              <a:off x="6676626" y="484292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15" name="object 515"/>
            <p:cNvSpPr/>
            <p:nvPr/>
          </p:nvSpPr>
          <p:spPr>
            <a:xfrm>
              <a:off x="11775877" y="484292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16" name="object 516"/>
            <p:cNvSpPr txBox="1"/>
            <p:nvPr/>
          </p:nvSpPr>
          <p:spPr>
            <a:xfrm>
              <a:off x="6516522" y="4762486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6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517" name="object 517"/>
            <p:cNvSpPr/>
            <p:nvPr/>
          </p:nvSpPr>
          <p:spPr>
            <a:xfrm>
              <a:off x="6676626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18" name="object 518"/>
            <p:cNvSpPr/>
            <p:nvPr/>
          </p:nvSpPr>
          <p:spPr>
            <a:xfrm>
              <a:off x="6730872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19" name="object 519"/>
            <p:cNvSpPr/>
            <p:nvPr/>
          </p:nvSpPr>
          <p:spPr>
            <a:xfrm>
              <a:off x="678512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20" name="object 520"/>
            <p:cNvSpPr/>
            <p:nvPr/>
          </p:nvSpPr>
          <p:spPr>
            <a:xfrm>
              <a:off x="6839367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21" name="object 521"/>
            <p:cNvSpPr/>
            <p:nvPr/>
          </p:nvSpPr>
          <p:spPr>
            <a:xfrm>
              <a:off x="689361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22" name="object 522"/>
            <p:cNvSpPr/>
            <p:nvPr/>
          </p:nvSpPr>
          <p:spPr>
            <a:xfrm>
              <a:off x="6947862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23" name="object 523"/>
            <p:cNvSpPr/>
            <p:nvPr/>
          </p:nvSpPr>
          <p:spPr>
            <a:xfrm>
              <a:off x="700211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24" name="object 524"/>
            <p:cNvSpPr/>
            <p:nvPr/>
          </p:nvSpPr>
          <p:spPr>
            <a:xfrm>
              <a:off x="7056357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25" name="object 525"/>
            <p:cNvSpPr/>
            <p:nvPr/>
          </p:nvSpPr>
          <p:spPr>
            <a:xfrm>
              <a:off x="711060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26" name="object 526"/>
            <p:cNvSpPr/>
            <p:nvPr/>
          </p:nvSpPr>
          <p:spPr>
            <a:xfrm>
              <a:off x="7164851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27" name="object 527"/>
            <p:cNvSpPr/>
            <p:nvPr/>
          </p:nvSpPr>
          <p:spPr>
            <a:xfrm>
              <a:off x="721909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28" name="object 528"/>
            <p:cNvSpPr/>
            <p:nvPr/>
          </p:nvSpPr>
          <p:spPr>
            <a:xfrm>
              <a:off x="7273346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29" name="object 529"/>
            <p:cNvSpPr/>
            <p:nvPr/>
          </p:nvSpPr>
          <p:spPr>
            <a:xfrm>
              <a:off x="732759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30" name="object 530"/>
            <p:cNvSpPr/>
            <p:nvPr/>
          </p:nvSpPr>
          <p:spPr>
            <a:xfrm>
              <a:off x="7381841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31" name="object 531"/>
            <p:cNvSpPr/>
            <p:nvPr/>
          </p:nvSpPr>
          <p:spPr>
            <a:xfrm>
              <a:off x="743608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32" name="object 532"/>
            <p:cNvSpPr/>
            <p:nvPr/>
          </p:nvSpPr>
          <p:spPr>
            <a:xfrm>
              <a:off x="749033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33" name="object 533"/>
            <p:cNvSpPr/>
            <p:nvPr/>
          </p:nvSpPr>
          <p:spPr>
            <a:xfrm>
              <a:off x="7544582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34" name="object 534"/>
            <p:cNvSpPr/>
            <p:nvPr/>
          </p:nvSpPr>
          <p:spPr>
            <a:xfrm>
              <a:off x="759883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35" name="object 535"/>
            <p:cNvSpPr/>
            <p:nvPr/>
          </p:nvSpPr>
          <p:spPr>
            <a:xfrm>
              <a:off x="7653077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36" name="object 536"/>
            <p:cNvSpPr/>
            <p:nvPr/>
          </p:nvSpPr>
          <p:spPr>
            <a:xfrm>
              <a:off x="770732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37" name="object 537"/>
            <p:cNvSpPr/>
            <p:nvPr/>
          </p:nvSpPr>
          <p:spPr>
            <a:xfrm>
              <a:off x="7761572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38" name="object 538"/>
            <p:cNvSpPr/>
            <p:nvPr/>
          </p:nvSpPr>
          <p:spPr>
            <a:xfrm>
              <a:off x="781582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39" name="object 539"/>
            <p:cNvSpPr/>
            <p:nvPr/>
          </p:nvSpPr>
          <p:spPr>
            <a:xfrm>
              <a:off x="7870067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40" name="object 540"/>
            <p:cNvSpPr/>
            <p:nvPr/>
          </p:nvSpPr>
          <p:spPr>
            <a:xfrm>
              <a:off x="792431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41" name="object 541"/>
            <p:cNvSpPr/>
            <p:nvPr/>
          </p:nvSpPr>
          <p:spPr>
            <a:xfrm>
              <a:off x="7978561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42" name="object 542"/>
            <p:cNvSpPr/>
            <p:nvPr/>
          </p:nvSpPr>
          <p:spPr>
            <a:xfrm>
              <a:off x="803280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43" name="object 543"/>
            <p:cNvSpPr/>
            <p:nvPr/>
          </p:nvSpPr>
          <p:spPr>
            <a:xfrm>
              <a:off x="8087056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44" name="object 544"/>
            <p:cNvSpPr/>
            <p:nvPr/>
          </p:nvSpPr>
          <p:spPr>
            <a:xfrm>
              <a:off x="814130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45" name="object 545"/>
            <p:cNvSpPr/>
            <p:nvPr/>
          </p:nvSpPr>
          <p:spPr>
            <a:xfrm>
              <a:off x="8195551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46" name="object 546"/>
            <p:cNvSpPr/>
            <p:nvPr/>
          </p:nvSpPr>
          <p:spPr>
            <a:xfrm>
              <a:off x="824979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47" name="object 547"/>
            <p:cNvSpPr/>
            <p:nvPr/>
          </p:nvSpPr>
          <p:spPr>
            <a:xfrm>
              <a:off x="830404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48" name="object 548"/>
            <p:cNvSpPr/>
            <p:nvPr/>
          </p:nvSpPr>
          <p:spPr>
            <a:xfrm>
              <a:off x="835829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49" name="object 549"/>
            <p:cNvSpPr/>
            <p:nvPr/>
          </p:nvSpPr>
          <p:spPr>
            <a:xfrm>
              <a:off x="841254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50" name="object 550"/>
            <p:cNvSpPr/>
            <p:nvPr/>
          </p:nvSpPr>
          <p:spPr>
            <a:xfrm>
              <a:off x="846678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51" name="object 551"/>
            <p:cNvSpPr/>
            <p:nvPr/>
          </p:nvSpPr>
          <p:spPr>
            <a:xfrm>
              <a:off x="852103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52" name="object 552"/>
            <p:cNvSpPr/>
            <p:nvPr/>
          </p:nvSpPr>
          <p:spPr>
            <a:xfrm>
              <a:off x="857528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54" name="object 554"/>
            <p:cNvSpPr/>
            <p:nvPr/>
          </p:nvSpPr>
          <p:spPr>
            <a:xfrm>
              <a:off x="862953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55" name="object 555"/>
            <p:cNvSpPr/>
            <p:nvPr/>
          </p:nvSpPr>
          <p:spPr>
            <a:xfrm>
              <a:off x="868377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56" name="object 556"/>
            <p:cNvSpPr/>
            <p:nvPr/>
          </p:nvSpPr>
          <p:spPr>
            <a:xfrm>
              <a:off x="873802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57" name="object 557"/>
            <p:cNvSpPr/>
            <p:nvPr/>
          </p:nvSpPr>
          <p:spPr>
            <a:xfrm>
              <a:off x="8792272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58" name="object 558"/>
            <p:cNvSpPr/>
            <p:nvPr/>
          </p:nvSpPr>
          <p:spPr>
            <a:xfrm>
              <a:off x="884652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59" name="object 559"/>
            <p:cNvSpPr/>
            <p:nvPr/>
          </p:nvSpPr>
          <p:spPr>
            <a:xfrm>
              <a:off x="8900767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60" name="object 560"/>
            <p:cNvSpPr/>
            <p:nvPr/>
          </p:nvSpPr>
          <p:spPr>
            <a:xfrm>
              <a:off x="895501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61" name="object 561"/>
            <p:cNvSpPr/>
            <p:nvPr/>
          </p:nvSpPr>
          <p:spPr>
            <a:xfrm>
              <a:off x="9009262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62" name="object 562"/>
            <p:cNvSpPr/>
            <p:nvPr/>
          </p:nvSpPr>
          <p:spPr>
            <a:xfrm>
              <a:off x="906350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63" name="object 563"/>
            <p:cNvSpPr/>
            <p:nvPr/>
          </p:nvSpPr>
          <p:spPr>
            <a:xfrm>
              <a:off x="9117756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64" name="object 564"/>
            <p:cNvSpPr/>
            <p:nvPr/>
          </p:nvSpPr>
          <p:spPr>
            <a:xfrm>
              <a:off x="917200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65" name="object 565"/>
            <p:cNvSpPr/>
            <p:nvPr/>
          </p:nvSpPr>
          <p:spPr>
            <a:xfrm>
              <a:off x="9226251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66" name="object 566"/>
            <p:cNvSpPr/>
            <p:nvPr/>
          </p:nvSpPr>
          <p:spPr>
            <a:xfrm>
              <a:off x="928049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67" name="object 567"/>
            <p:cNvSpPr/>
            <p:nvPr/>
          </p:nvSpPr>
          <p:spPr>
            <a:xfrm>
              <a:off x="9334746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68" name="object 568"/>
            <p:cNvSpPr/>
            <p:nvPr/>
          </p:nvSpPr>
          <p:spPr>
            <a:xfrm>
              <a:off x="938899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69" name="object 569"/>
            <p:cNvSpPr/>
            <p:nvPr/>
          </p:nvSpPr>
          <p:spPr>
            <a:xfrm>
              <a:off x="944324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70" name="object 570"/>
            <p:cNvSpPr/>
            <p:nvPr/>
          </p:nvSpPr>
          <p:spPr>
            <a:xfrm>
              <a:off x="949748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71" name="object 571"/>
            <p:cNvSpPr/>
            <p:nvPr/>
          </p:nvSpPr>
          <p:spPr>
            <a:xfrm>
              <a:off x="955173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72" name="object 572"/>
            <p:cNvSpPr/>
            <p:nvPr/>
          </p:nvSpPr>
          <p:spPr>
            <a:xfrm>
              <a:off x="960598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73" name="object 573"/>
            <p:cNvSpPr/>
            <p:nvPr/>
          </p:nvSpPr>
          <p:spPr>
            <a:xfrm>
              <a:off x="966023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74" name="object 574"/>
            <p:cNvSpPr/>
            <p:nvPr/>
          </p:nvSpPr>
          <p:spPr>
            <a:xfrm>
              <a:off x="971447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75" name="object 575"/>
            <p:cNvSpPr/>
            <p:nvPr/>
          </p:nvSpPr>
          <p:spPr>
            <a:xfrm>
              <a:off x="976872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76" name="object 576"/>
            <p:cNvSpPr/>
            <p:nvPr/>
          </p:nvSpPr>
          <p:spPr>
            <a:xfrm>
              <a:off x="9822972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77" name="object 577"/>
            <p:cNvSpPr/>
            <p:nvPr/>
          </p:nvSpPr>
          <p:spPr>
            <a:xfrm>
              <a:off x="987721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78" name="object 578"/>
            <p:cNvSpPr/>
            <p:nvPr/>
          </p:nvSpPr>
          <p:spPr>
            <a:xfrm>
              <a:off x="9931466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79" name="object 579"/>
            <p:cNvSpPr/>
            <p:nvPr/>
          </p:nvSpPr>
          <p:spPr>
            <a:xfrm>
              <a:off x="998571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80" name="object 580"/>
            <p:cNvSpPr/>
            <p:nvPr/>
          </p:nvSpPr>
          <p:spPr>
            <a:xfrm>
              <a:off x="10039961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81" name="object 581"/>
            <p:cNvSpPr/>
            <p:nvPr/>
          </p:nvSpPr>
          <p:spPr>
            <a:xfrm>
              <a:off x="1009420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82" name="object 582"/>
            <p:cNvSpPr/>
            <p:nvPr/>
          </p:nvSpPr>
          <p:spPr>
            <a:xfrm>
              <a:off x="10148456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83" name="object 583"/>
            <p:cNvSpPr/>
            <p:nvPr/>
          </p:nvSpPr>
          <p:spPr>
            <a:xfrm>
              <a:off x="1020270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84" name="object 584"/>
            <p:cNvSpPr/>
            <p:nvPr/>
          </p:nvSpPr>
          <p:spPr>
            <a:xfrm>
              <a:off x="1025695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85" name="object 585"/>
            <p:cNvSpPr/>
            <p:nvPr/>
          </p:nvSpPr>
          <p:spPr>
            <a:xfrm>
              <a:off x="1031119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86" name="object 586"/>
            <p:cNvSpPr/>
            <p:nvPr/>
          </p:nvSpPr>
          <p:spPr>
            <a:xfrm>
              <a:off x="1036544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87" name="object 587"/>
            <p:cNvSpPr/>
            <p:nvPr/>
          </p:nvSpPr>
          <p:spPr>
            <a:xfrm>
              <a:off x="1041969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88" name="object 588"/>
            <p:cNvSpPr/>
            <p:nvPr/>
          </p:nvSpPr>
          <p:spPr>
            <a:xfrm>
              <a:off x="1047394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89" name="object 589"/>
            <p:cNvSpPr/>
            <p:nvPr/>
          </p:nvSpPr>
          <p:spPr>
            <a:xfrm>
              <a:off x="1052818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90" name="object 590"/>
            <p:cNvSpPr/>
            <p:nvPr/>
          </p:nvSpPr>
          <p:spPr>
            <a:xfrm>
              <a:off x="1058243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91" name="object 591"/>
            <p:cNvSpPr/>
            <p:nvPr/>
          </p:nvSpPr>
          <p:spPr>
            <a:xfrm>
              <a:off x="10636682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92" name="object 592"/>
            <p:cNvSpPr/>
            <p:nvPr/>
          </p:nvSpPr>
          <p:spPr>
            <a:xfrm>
              <a:off x="1069092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93" name="object 593"/>
            <p:cNvSpPr/>
            <p:nvPr/>
          </p:nvSpPr>
          <p:spPr>
            <a:xfrm>
              <a:off x="10745177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94" name="object 594"/>
            <p:cNvSpPr/>
            <p:nvPr/>
          </p:nvSpPr>
          <p:spPr>
            <a:xfrm>
              <a:off x="10799424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95" name="object 595"/>
            <p:cNvSpPr/>
            <p:nvPr/>
          </p:nvSpPr>
          <p:spPr>
            <a:xfrm>
              <a:off x="10853672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96" name="object 596"/>
            <p:cNvSpPr/>
            <p:nvPr/>
          </p:nvSpPr>
          <p:spPr>
            <a:xfrm>
              <a:off x="10907919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97" name="object 597"/>
            <p:cNvSpPr/>
            <p:nvPr/>
          </p:nvSpPr>
          <p:spPr>
            <a:xfrm>
              <a:off x="10962166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98" name="object 598"/>
            <p:cNvSpPr/>
            <p:nvPr/>
          </p:nvSpPr>
          <p:spPr>
            <a:xfrm>
              <a:off x="1101641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99" name="object 599"/>
            <p:cNvSpPr/>
            <p:nvPr/>
          </p:nvSpPr>
          <p:spPr>
            <a:xfrm>
              <a:off x="1107066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00" name="object 600"/>
            <p:cNvSpPr/>
            <p:nvPr/>
          </p:nvSpPr>
          <p:spPr>
            <a:xfrm>
              <a:off x="1112490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01" name="object 601"/>
            <p:cNvSpPr/>
            <p:nvPr/>
          </p:nvSpPr>
          <p:spPr>
            <a:xfrm>
              <a:off x="1117915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02" name="object 602"/>
            <p:cNvSpPr/>
            <p:nvPr/>
          </p:nvSpPr>
          <p:spPr>
            <a:xfrm>
              <a:off x="1123340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03" name="object 603"/>
            <p:cNvSpPr/>
            <p:nvPr/>
          </p:nvSpPr>
          <p:spPr>
            <a:xfrm>
              <a:off x="1128765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04" name="object 604"/>
            <p:cNvSpPr/>
            <p:nvPr/>
          </p:nvSpPr>
          <p:spPr>
            <a:xfrm>
              <a:off x="1134189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05" name="object 605"/>
            <p:cNvSpPr/>
            <p:nvPr/>
          </p:nvSpPr>
          <p:spPr>
            <a:xfrm>
              <a:off x="1139614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06" name="object 606"/>
            <p:cNvSpPr/>
            <p:nvPr/>
          </p:nvSpPr>
          <p:spPr>
            <a:xfrm>
              <a:off x="1145039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07" name="object 607"/>
            <p:cNvSpPr/>
            <p:nvPr/>
          </p:nvSpPr>
          <p:spPr>
            <a:xfrm>
              <a:off x="1150464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08" name="object 608"/>
            <p:cNvSpPr/>
            <p:nvPr/>
          </p:nvSpPr>
          <p:spPr>
            <a:xfrm>
              <a:off x="11558888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09" name="object 609"/>
            <p:cNvSpPr/>
            <p:nvPr/>
          </p:nvSpPr>
          <p:spPr>
            <a:xfrm>
              <a:off x="11613135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10" name="object 610"/>
            <p:cNvSpPr/>
            <p:nvPr/>
          </p:nvSpPr>
          <p:spPr>
            <a:xfrm>
              <a:off x="11667383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11" name="object 611"/>
            <p:cNvSpPr/>
            <p:nvPr/>
          </p:nvSpPr>
          <p:spPr>
            <a:xfrm>
              <a:off x="11721630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12" name="object 612"/>
            <p:cNvSpPr/>
            <p:nvPr/>
          </p:nvSpPr>
          <p:spPr>
            <a:xfrm>
              <a:off x="11775877" y="412566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6" y="10243"/>
                  </a:moveTo>
                  <a:lnTo>
                    <a:pt x="0" y="10243"/>
                  </a:lnTo>
                  <a:lnTo>
                    <a:pt x="0" y="0"/>
                  </a:lnTo>
                  <a:lnTo>
                    <a:pt x="10246" y="0"/>
                  </a:lnTo>
                  <a:lnTo>
                    <a:pt x="10246" y="1024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13" name="object 613"/>
            <p:cNvSpPr txBox="1"/>
            <p:nvPr/>
          </p:nvSpPr>
          <p:spPr>
            <a:xfrm>
              <a:off x="9103920" y="6457058"/>
              <a:ext cx="279026" cy="186707"/>
            </a:xfrm>
            <a:prstGeom prst="rect">
              <a:avLst/>
            </a:prstGeom>
          </p:spPr>
          <p:txBody>
            <a:bodyPr vert="horz" wrap="square" lIns="0" tIns="10085" rIns="0" bIns="0" rtlCol="0">
              <a:spAutoFit/>
            </a:bodyPr>
            <a:lstStyle/>
            <a:p>
              <a:pPr marL="11206">
                <a:spcBef>
                  <a:spcPts val="79"/>
                </a:spcBef>
              </a:pPr>
              <a:r>
                <a:rPr sz="1147" spc="-128" dirty="0">
                  <a:solidFill>
                    <a:srgbClr val="252423"/>
                  </a:solidFill>
                  <a:latin typeface="Arial Narrow"/>
                  <a:cs typeface="Arial Narrow"/>
                </a:rPr>
                <a:t>Y</a:t>
              </a:r>
              <a:r>
                <a:rPr sz="1147" spc="49" dirty="0">
                  <a:solidFill>
                    <a:srgbClr val="252423"/>
                  </a:solidFill>
                  <a:latin typeface="Arial Narrow"/>
                  <a:cs typeface="Arial Narrow"/>
                </a:rPr>
                <a:t>ear</a:t>
              </a:r>
              <a:endParaRPr sz="1147" dirty="0">
                <a:latin typeface="Arial Narrow"/>
                <a:cs typeface="Arial Narrow"/>
              </a:endParaRPr>
            </a:p>
          </p:txBody>
        </p:sp>
        <p:sp>
          <p:nvSpPr>
            <p:cNvPr id="614" name="object 614"/>
            <p:cNvSpPr txBox="1"/>
            <p:nvPr/>
          </p:nvSpPr>
          <p:spPr>
            <a:xfrm>
              <a:off x="6319319" y="4485695"/>
              <a:ext cx="153888" cy="1441076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1204"/>
                </a:lnSpc>
              </a:pPr>
              <a:r>
                <a:rPr sz="1147" spc="31" dirty="0">
                  <a:solidFill>
                    <a:srgbClr val="252423"/>
                  </a:solidFill>
                  <a:latin typeface="Arial Narrow"/>
                  <a:cs typeface="Arial Narrow"/>
                </a:rPr>
                <a:t>Average Sentence</a:t>
              </a:r>
              <a:r>
                <a:rPr sz="1147" spc="-66" dirty="0">
                  <a:solidFill>
                    <a:srgbClr val="252423"/>
                  </a:solidFill>
                  <a:latin typeface="Arial Narrow"/>
                  <a:cs typeface="Arial Narrow"/>
                </a:rPr>
                <a:t> </a:t>
              </a:r>
              <a:r>
                <a:rPr sz="1147" spc="26" dirty="0">
                  <a:solidFill>
                    <a:srgbClr val="252423"/>
                  </a:solidFill>
                  <a:latin typeface="Arial Narrow"/>
                  <a:cs typeface="Arial Narrow"/>
                </a:rPr>
                <a:t>Count</a:t>
              </a:r>
              <a:endParaRPr sz="1147" dirty="0">
                <a:latin typeface="Arial Narrow"/>
                <a:cs typeface="Arial Narrow"/>
              </a:endParaRPr>
            </a:p>
          </p:txBody>
        </p:sp>
        <p:sp>
          <p:nvSpPr>
            <p:cNvPr id="615" name="object 615"/>
            <p:cNvSpPr txBox="1"/>
            <p:nvPr/>
          </p:nvSpPr>
          <p:spPr>
            <a:xfrm>
              <a:off x="7539303" y="6306931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16" name="object 616"/>
            <p:cNvSpPr txBox="1"/>
            <p:nvPr/>
          </p:nvSpPr>
          <p:spPr>
            <a:xfrm>
              <a:off x="8664858" y="6306931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17" name="object 617"/>
            <p:cNvSpPr txBox="1"/>
            <p:nvPr/>
          </p:nvSpPr>
          <p:spPr>
            <a:xfrm>
              <a:off x="9790413" y="6306931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18" name="object 618"/>
            <p:cNvSpPr txBox="1"/>
            <p:nvPr/>
          </p:nvSpPr>
          <p:spPr>
            <a:xfrm>
              <a:off x="10915968" y="6096542"/>
              <a:ext cx="256615" cy="360671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algn="ctr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3</a:t>
              </a:r>
              <a:endParaRPr sz="838" dirty="0">
                <a:latin typeface="Segoe UI"/>
                <a:cs typeface="Segoe UI"/>
              </a:endParaRPr>
            </a:p>
            <a:p>
              <a:pPr algn="ctr">
                <a:spcBef>
                  <a:spcPts val="653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19" name="object 619"/>
            <p:cNvSpPr txBox="1"/>
            <p:nvPr/>
          </p:nvSpPr>
          <p:spPr>
            <a:xfrm>
              <a:off x="6726589" y="6096864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3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20" name="object 620"/>
            <p:cNvSpPr txBox="1"/>
            <p:nvPr/>
          </p:nvSpPr>
          <p:spPr>
            <a:xfrm>
              <a:off x="11679029" y="6109905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3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21" name="object 621"/>
            <p:cNvSpPr txBox="1"/>
            <p:nvPr/>
          </p:nvSpPr>
          <p:spPr>
            <a:xfrm>
              <a:off x="9427919" y="4579830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6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22" name="object 622"/>
            <p:cNvSpPr txBox="1"/>
            <p:nvPr/>
          </p:nvSpPr>
          <p:spPr>
            <a:xfrm>
              <a:off x="7176811" y="5447909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4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23" name="object 623"/>
            <p:cNvSpPr txBox="1"/>
            <p:nvPr/>
          </p:nvSpPr>
          <p:spPr>
            <a:xfrm>
              <a:off x="6951699" y="5161827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24" name="object 624"/>
            <p:cNvSpPr txBox="1"/>
            <p:nvPr/>
          </p:nvSpPr>
          <p:spPr>
            <a:xfrm>
              <a:off x="9202809" y="4925611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6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25" name="object 625"/>
            <p:cNvSpPr txBox="1"/>
            <p:nvPr/>
          </p:nvSpPr>
          <p:spPr>
            <a:xfrm>
              <a:off x="11228808" y="5844117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3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26" name="object 626"/>
            <p:cNvSpPr txBox="1"/>
            <p:nvPr/>
          </p:nvSpPr>
          <p:spPr>
            <a:xfrm>
              <a:off x="10328364" y="5072510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5</a:t>
              </a:r>
              <a:endParaRPr sz="838" dirty="0">
                <a:latin typeface="Segoe UI"/>
                <a:cs typeface="Segoe UI"/>
              </a:endParaRPr>
            </a:p>
          </p:txBody>
        </p:sp>
      </p:grpSp>
      <p:grpSp>
        <p:nvGrpSpPr>
          <p:cNvPr id="638" name="Group 637">
            <a:extLst>
              <a:ext uri="{FF2B5EF4-FFF2-40B4-BE49-F238E27FC236}">
                <a16:creationId xmlns:a16="http://schemas.microsoft.com/office/drawing/2014/main" id="{28C78A6B-4D9A-4AFD-9E6F-E7F27F8CE2E6}"/>
              </a:ext>
            </a:extLst>
          </p:cNvPr>
          <p:cNvGrpSpPr/>
          <p:nvPr/>
        </p:nvGrpSpPr>
        <p:grpSpPr>
          <a:xfrm>
            <a:off x="7039730" y="135749"/>
            <a:ext cx="2364586" cy="639893"/>
            <a:chOff x="6391616" y="167677"/>
            <a:chExt cx="2364586" cy="639893"/>
          </a:xfrm>
        </p:grpSpPr>
        <p:sp>
          <p:nvSpPr>
            <p:cNvPr id="639" name="object 29">
              <a:extLst>
                <a:ext uri="{FF2B5EF4-FFF2-40B4-BE49-F238E27FC236}">
                  <a16:creationId xmlns:a16="http://schemas.microsoft.com/office/drawing/2014/main" id="{B64EBAAE-F7E6-4D4C-B377-25F3DF153EB9}"/>
                </a:ext>
              </a:extLst>
            </p:cNvPr>
            <p:cNvSpPr txBox="1"/>
            <p:nvPr/>
          </p:nvSpPr>
          <p:spPr>
            <a:xfrm>
              <a:off x="6413556" y="167677"/>
              <a:ext cx="1406244" cy="228455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1400" b="1" spc="9" dirty="0">
                  <a:solidFill>
                    <a:srgbClr val="252423"/>
                  </a:solidFill>
                  <a:cs typeface="Arial Black"/>
                </a:rPr>
                <a:t>Sentiment</a:t>
              </a:r>
              <a:endParaRPr sz="1400" b="1" dirty="0">
                <a:cs typeface="Arial Black"/>
              </a:endParaRPr>
            </a:p>
          </p:txBody>
        </p:sp>
        <p:grpSp>
          <p:nvGrpSpPr>
            <p:cNvPr id="640" name="Group 639">
              <a:extLst>
                <a:ext uri="{FF2B5EF4-FFF2-40B4-BE49-F238E27FC236}">
                  <a16:creationId xmlns:a16="http://schemas.microsoft.com/office/drawing/2014/main" id="{D75E4EE9-FB6C-4AE0-BAF2-7F5EF28CECFB}"/>
                </a:ext>
              </a:extLst>
            </p:cNvPr>
            <p:cNvGrpSpPr/>
            <p:nvPr/>
          </p:nvGrpSpPr>
          <p:grpSpPr>
            <a:xfrm>
              <a:off x="6391616" y="409039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647" name="Rectangle: Rounded Corners 646">
                <a:extLst>
                  <a:ext uri="{FF2B5EF4-FFF2-40B4-BE49-F238E27FC236}">
                    <a16:creationId xmlns:a16="http://schemas.microsoft.com/office/drawing/2014/main" id="{B56D9C0A-C7C6-4DD7-B359-B60EEDD364F7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solidFill>
                <a:srgbClr val="FFC00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48" name="Rectangle: Rounded Corners 4">
                <a:extLst>
                  <a:ext uri="{FF2B5EF4-FFF2-40B4-BE49-F238E27FC236}">
                    <a16:creationId xmlns:a16="http://schemas.microsoft.com/office/drawing/2014/main" id="{51AB2127-6118-4E44-A751-DB0373164790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Negative</a:t>
                </a:r>
              </a:p>
            </p:txBody>
          </p:sp>
        </p:grpSp>
        <p:grpSp>
          <p:nvGrpSpPr>
            <p:cNvPr id="641" name="Group 640">
              <a:extLst>
                <a:ext uri="{FF2B5EF4-FFF2-40B4-BE49-F238E27FC236}">
                  <a16:creationId xmlns:a16="http://schemas.microsoft.com/office/drawing/2014/main" id="{F3B6D79C-84DB-4921-B71F-B4A0F6F962C5}"/>
                </a:ext>
              </a:extLst>
            </p:cNvPr>
            <p:cNvGrpSpPr/>
            <p:nvPr/>
          </p:nvGrpSpPr>
          <p:grpSpPr>
            <a:xfrm>
              <a:off x="7189955" y="412283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645" name="Rectangle: Rounded Corners 644">
                <a:extLst>
                  <a:ext uri="{FF2B5EF4-FFF2-40B4-BE49-F238E27FC236}">
                    <a16:creationId xmlns:a16="http://schemas.microsoft.com/office/drawing/2014/main" id="{575519B0-64FF-4B3A-8D27-D6CFEE059F3B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46" name="Rectangle: Rounded Corners 4">
                <a:extLst>
                  <a:ext uri="{FF2B5EF4-FFF2-40B4-BE49-F238E27FC236}">
                    <a16:creationId xmlns:a16="http://schemas.microsoft.com/office/drawing/2014/main" id="{F9492316-02D5-4F95-90F2-461EACED60D3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Neutral</a:t>
                </a:r>
              </a:p>
            </p:txBody>
          </p:sp>
        </p:grpSp>
        <p:grpSp>
          <p:nvGrpSpPr>
            <p:cNvPr id="642" name="Group 641">
              <a:extLst>
                <a:ext uri="{FF2B5EF4-FFF2-40B4-BE49-F238E27FC236}">
                  <a16:creationId xmlns:a16="http://schemas.microsoft.com/office/drawing/2014/main" id="{50DF3687-83CE-4746-9D2F-167A605346C8}"/>
                </a:ext>
              </a:extLst>
            </p:cNvPr>
            <p:cNvGrpSpPr/>
            <p:nvPr/>
          </p:nvGrpSpPr>
          <p:grpSpPr>
            <a:xfrm>
              <a:off x="7988106" y="416488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643" name="Rectangle: Rounded Corners 642">
                <a:extLst>
                  <a:ext uri="{FF2B5EF4-FFF2-40B4-BE49-F238E27FC236}">
                    <a16:creationId xmlns:a16="http://schemas.microsoft.com/office/drawing/2014/main" id="{C6964ED8-628D-4BCB-A039-286CB0FB1C4B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44" name="Rectangle: Rounded Corners 4">
                <a:extLst>
                  <a:ext uri="{FF2B5EF4-FFF2-40B4-BE49-F238E27FC236}">
                    <a16:creationId xmlns:a16="http://schemas.microsoft.com/office/drawing/2014/main" id="{D9A89684-CB9B-46D9-AE62-1EDD52398BBE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Positive</a:t>
                </a:r>
              </a:p>
            </p:txBody>
          </p:sp>
        </p:grpSp>
      </p:grpSp>
      <p:grpSp>
        <p:nvGrpSpPr>
          <p:cNvPr id="649" name="Group 648">
            <a:extLst>
              <a:ext uri="{FF2B5EF4-FFF2-40B4-BE49-F238E27FC236}">
                <a16:creationId xmlns:a16="http://schemas.microsoft.com/office/drawing/2014/main" id="{2CDA40BD-15FA-47FB-8592-6AFBD6E888BF}"/>
              </a:ext>
            </a:extLst>
          </p:cNvPr>
          <p:cNvGrpSpPr/>
          <p:nvPr/>
        </p:nvGrpSpPr>
        <p:grpSpPr>
          <a:xfrm>
            <a:off x="9547893" y="140560"/>
            <a:ext cx="2373835" cy="651351"/>
            <a:chOff x="9138521" y="167673"/>
            <a:chExt cx="2373835" cy="651351"/>
          </a:xfrm>
        </p:grpSpPr>
        <p:sp>
          <p:nvSpPr>
            <p:cNvPr id="650" name="object 2">
              <a:extLst>
                <a:ext uri="{FF2B5EF4-FFF2-40B4-BE49-F238E27FC236}">
                  <a16:creationId xmlns:a16="http://schemas.microsoft.com/office/drawing/2014/main" id="{6A3E678E-C303-44B0-9391-6144F55FF58C}"/>
                </a:ext>
              </a:extLst>
            </p:cNvPr>
            <p:cNvSpPr txBox="1"/>
            <p:nvPr/>
          </p:nvSpPr>
          <p:spPr>
            <a:xfrm>
              <a:off x="9138521" y="167673"/>
              <a:ext cx="1553301" cy="228455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lang="en-US" sz="1400" b="1" dirty="0">
                  <a:solidFill>
                    <a:srgbClr val="252423"/>
                  </a:solidFill>
                  <a:cs typeface="Arial Black"/>
                </a:rPr>
                <a:t>Review Category</a:t>
              </a:r>
            </a:p>
          </p:txBody>
        </p:sp>
        <p:grpSp>
          <p:nvGrpSpPr>
            <p:cNvPr id="651" name="Group 650">
              <a:extLst>
                <a:ext uri="{FF2B5EF4-FFF2-40B4-BE49-F238E27FC236}">
                  <a16:creationId xmlns:a16="http://schemas.microsoft.com/office/drawing/2014/main" id="{5CAE53D5-60DF-467B-8003-D576891497E7}"/>
                </a:ext>
              </a:extLst>
            </p:cNvPr>
            <p:cNvGrpSpPr/>
            <p:nvPr/>
          </p:nvGrpSpPr>
          <p:grpSpPr>
            <a:xfrm>
              <a:off x="9147770" y="420493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658" name="Rectangle: Rounded Corners 657">
                <a:extLst>
                  <a:ext uri="{FF2B5EF4-FFF2-40B4-BE49-F238E27FC236}">
                    <a16:creationId xmlns:a16="http://schemas.microsoft.com/office/drawing/2014/main" id="{212504A8-C61B-4E91-9CEF-39ED671138F4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59" name="Rectangle: Rounded Corners 4">
                <a:extLst>
                  <a:ext uri="{FF2B5EF4-FFF2-40B4-BE49-F238E27FC236}">
                    <a16:creationId xmlns:a16="http://schemas.microsoft.com/office/drawing/2014/main" id="{5D1BF53F-FC53-4B64-8CB5-BFFA192DDD54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Books</a:t>
                </a:r>
              </a:p>
            </p:txBody>
          </p:sp>
        </p:grpSp>
        <p:grpSp>
          <p:nvGrpSpPr>
            <p:cNvPr id="652" name="Group 651">
              <a:extLst>
                <a:ext uri="{FF2B5EF4-FFF2-40B4-BE49-F238E27FC236}">
                  <a16:creationId xmlns:a16="http://schemas.microsoft.com/office/drawing/2014/main" id="{ABF07B11-0855-45BF-AB3A-705BA1D7D473}"/>
                </a:ext>
              </a:extLst>
            </p:cNvPr>
            <p:cNvGrpSpPr/>
            <p:nvPr/>
          </p:nvGrpSpPr>
          <p:grpSpPr>
            <a:xfrm>
              <a:off x="9946109" y="423737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656" name="Rectangle: Rounded Corners 655">
                <a:extLst>
                  <a:ext uri="{FF2B5EF4-FFF2-40B4-BE49-F238E27FC236}">
                    <a16:creationId xmlns:a16="http://schemas.microsoft.com/office/drawing/2014/main" id="{0FD0CC52-B740-4DD8-AEAF-FB4ABE1830F8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solidFill>
                <a:srgbClr val="FFC00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57" name="Rectangle: Rounded Corners 4">
                <a:extLst>
                  <a:ext uri="{FF2B5EF4-FFF2-40B4-BE49-F238E27FC236}">
                    <a16:creationId xmlns:a16="http://schemas.microsoft.com/office/drawing/2014/main" id="{373FF100-70AD-4EAC-BADB-02AD894D53B9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Home &amp; Kitchen</a:t>
                </a:r>
              </a:p>
            </p:txBody>
          </p:sp>
        </p:grpSp>
        <p:grpSp>
          <p:nvGrpSpPr>
            <p:cNvPr id="653" name="Group 652">
              <a:extLst>
                <a:ext uri="{FF2B5EF4-FFF2-40B4-BE49-F238E27FC236}">
                  <a16:creationId xmlns:a16="http://schemas.microsoft.com/office/drawing/2014/main" id="{62E78807-1087-41BD-A5C7-C511A2E4FF78}"/>
                </a:ext>
              </a:extLst>
            </p:cNvPr>
            <p:cNvGrpSpPr/>
            <p:nvPr/>
          </p:nvGrpSpPr>
          <p:grpSpPr>
            <a:xfrm>
              <a:off x="10744260" y="427942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654" name="Rectangle: Rounded Corners 653">
                <a:extLst>
                  <a:ext uri="{FF2B5EF4-FFF2-40B4-BE49-F238E27FC236}">
                    <a16:creationId xmlns:a16="http://schemas.microsoft.com/office/drawing/2014/main" id="{6F5611BE-87E7-42DF-B9B0-4A5BC52E2654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55" name="Rectangle: Rounded Corners 4">
                <a:extLst>
                  <a:ext uri="{FF2B5EF4-FFF2-40B4-BE49-F238E27FC236}">
                    <a16:creationId xmlns:a16="http://schemas.microsoft.com/office/drawing/2014/main" id="{62F54D4B-5C23-429F-AA2E-FA9DBC346060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Video games</a:t>
                </a:r>
              </a:p>
            </p:txBody>
          </p:sp>
        </p:grpSp>
      </p:grpSp>
      <p:grpSp>
        <p:nvGrpSpPr>
          <p:cNvPr id="668" name="Group 667">
            <a:extLst>
              <a:ext uri="{FF2B5EF4-FFF2-40B4-BE49-F238E27FC236}">
                <a16:creationId xmlns:a16="http://schemas.microsoft.com/office/drawing/2014/main" id="{33E8A9D8-93BF-490C-9AA7-8E4AD99F1102}"/>
              </a:ext>
            </a:extLst>
          </p:cNvPr>
          <p:cNvGrpSpPr/>
          <p:nvPr/>
        </p:nvGrpSpPr>
        <p:grpSpPr>
          <a:xfrm>
            <a:off x="278109" y="312649"/>
            <a:ext cx="6632188" cy="488016"/>
            <a:chOff x="278109" y="312649"/>
            <a:chExt cx="6632188" cy="488016"/>
          </a:xfrm>
        </p:grpSpPr>
        <p:sp>
          <p:nvSpPr>
            <p:cNvPr id="408" name="object 408"/>
            <p:cNvSpPr/>
            <p:nvPr/>
          </p:nvSpPr>
          <p:spPr>
            <a:xfrm>
              <a:off x="278109" y="312649"/>
              <a:ext cx="6479402" cy="488016"/>
            </a:xfrm>
            <a:custGeom>
              <a:avLst/>
              <a:gdLst/>
              <a:ahLst/>
              <a:cxnLst/>
              <a:rect l="l" t="t" r="r" b="b"/>
              <a:pathLst>
                <a:path w="6143625" h="553085">
                  <a:moveTo>
                    <a:pt x="6143624" y="552926"/>
                  </a:moveTo>
                  <a:lnTo>
                    <a:pt x="0" y="552926"/>
                  </a:lnTo>
                  <a:lnTo>
                    <a:pt x="0" y="0"/>
                  </a:lnTo>
                  <a:lnTo>
                    <a:pt x="6143624" y="0"/>
                  </a:lnTo>
                  <a:lnTo>
                    <a:pt x="6143624" y="552926"/>
                  </a:lnTo>
                  <a:close/>
                </a:path>
              </a:pathLst>
            </a:custGeom>
            <a:solidFill>
              <a:srgbClr val="FFB618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9" name="object 409"/>
            <p:cNvSpPr txBox="1"/>
            <p:nvPr/>
          </p:nvSpPr>
          <p:spPr>
            <a:xfrm>
              <a:off x="746126" y="364731"/>
              <a:ext cx="5160869" cy="273360"/>
            </a:xfrm>
            <a:prstGeom prst="rect">
              <a:avLst/>
            </a:prstGeom>
          </p:spPr>
          <p:txBody>
            <a:bodyPr vert="horz" wrap="square" lIns="0" tIns="15128" rIns="0" bIns="0" rtlCol="0">
              <a:spAutoFit/>
            </a:bodyPr>
            <a:lstStyle/>
            <a:p>
              <a:pPr marL="11206">
                <a:spcBef>
                  <a:spcPts val="119"/>
                </a:spcBef>
              </a:pPr>
              <a:r>
                <a:rPr sz="1677" b="1" i="1" spc="18" dirty="0">
                  <a:latin typeface="Segoe UI"/>
                  <a:cs typeface="Segoe UI"/>
                </a:rPr>
                <a:t>Do </a:t>
              </a:r>
              <a:r>
                <a:rPr sz="1677" b="1" i="1" spc="13" dirty="0">
                  <a:latin typeface="Segoe UI"/>
                  <a:cs typeface="Segoe UI"/>
                </a:rPr>
                <a:t>Customer Reviewing Habits </a:t>
              </a:r>
              <a:r>
                <a:rPr sz="1677" b="1" i="1" spc="18" dirty="0">
                  <a:latin typeface="Segoe UI"/>
                  <a:cs typeface="Segoe UI"/>
                </a:rPr>
                <a:t>Change </a:t>
              </a:r>
              <a:r>
                <a:rPr sz="1677" b="1" i="1" spc="13" dirty="0">
                  <a:latin typeface="Segoe UI"/>
                  <a:cs typeface="Segoe UI"/>
                </a:rPr>
                <a:t>over</a:t>
              </a:r>
              <a:r>
                <a:rPr sz="1677" b="1" i="1" spc="-22" dirty="0">
                  <a:latin typeface="Segoe UI"/>
                  <a:cs typeface="Segoe UI"/>
                </a:rPr>
                <a:t> </a:t>
              </a:r>
              <a:r>
                <a:rPr sz="1677" b="1" i="1" spc="13" dirty="0">
                  <a:latin typeface="Segoe UI"/>
                  <a:cs typeface="Segoe UI"/>
                </a:rPr>
                <a:t>Time?</a:t>
              </a:r>
              <a:endParaRPr sz="1677" dirty="0">
                <a:latin typeface="Segoe UI"/>
                <a:cs typeface="Segoe UI"/>
              </a:endParaRPr>
            </a:p>
          </p:txBody>
        </p:sp>
        <p:cxnSp>
          <p:nvCxnSpPr>
            <p:cNvPr id="661" name="Google Shape;1480;p34">
              <a:extLst>
                <a:ext uri="{FF2B5EF4-FFF2-40B4-BE49-F238E27FC236}">
                  <a16:creationId xmlns:a16="http://schemas.microsoft.com/office/drawing/2014/main" id="{E8F601E1-C83E-4E3C-9A27-F15BB6ED355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954041" y="539088"/>
              <a:ext cx="956256" cy="8296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cxnSp>
        <p:nvCxnSpPr>
          <p:cNvPr id="660" name="Google Shape;1480;p34">
            <a:extLst>
              <a:ext uri="{FF2B5EF4-FFF2-40B4-BE49-F238E27FC236}">
                <a16:creationId xmlns:a16="http://schemas.microsoft.com/office/drawing/2014/main" id="{FABE57EA-B04B-4044-B14C-A7FCFCA2A5E2}"/>
              </a:ext>
            </a:extLst>
          </p:cNvPr>
          <p:cNvCxnSpPr>
            <a:cxnSpLocks/>
          </p:cNvCxnSpPr>
          <p:nvPr/>
        </p:nvCxnSpPr>
        <p:spPr>
          <a:xfrm>
            <a:off x="116230" y="544805"/>
            <a:ext cx="519166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672" name="Picture 2" descr="See the source image">
            <a:extLst>
              <a:ext uri="{FF2B5EF4-FFF2-40B4-BE49-F238E27FC236}">
                <a16:creationId xmlns:a16="http://schemas.microsoft.com/office/drawing/2014/main" id="{1367DF10-482F-48BC-9AAB-B1DA4189C6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6853" y="6394268"/>
            <a:ext cx="1620969" cy="52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3" name="Slide Number Placeholder 672">
            <a:extLst>
              <a:ext uri="{FF2B5EF4-FFF2-40B4-BE49-F238E27FC236}">
                <a16:creationId xmlns:a16="http://schemas.microsoft.com/office/drawing/2014/main" id="{21847F29-C2F7-48F1-967D-8E2ED270C2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37042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4;p24">
            <a:extLst>
              <a:ext uri="{FF2B5EF4-FFF2-40B4-BE49-F238E27FC236}">
                <a16:creationId xmlns:a16="http://schemas.microsoft.com/office/drawing/2014/main" id="{6D720DCE-DADA-4513-AEF8-ED2CEEE5B144}"/>
              </a:ext>
            </a:extLst>
          </p:cNvPr>
          <p:cNvSpPr/>
          <p:nvPr/>
        </p:nvSpPr>
        <p:spPr>
          <a:xfrm rot="5400000">
            <a:off x="5841947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BF08B8-0E4B-45E3-B535-E1E8EF6801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15035" y="445326"/>
            <a:ext cx="4799137" cy="470460"/>
          </a:xfrm>
        </p:spPr>
        <p:txBody>
          <a:bodyPr vert="horz" lIns="91440" tIns="45720" rIns="91440" bIns="45720" rtlCol="0" anchor="t">
            <a:normAutofit fontScale="77500" lnSpcReduction="20000"/>
          </a:bodyPr>
          <a:lstStyle/>
          <a:p>
            <a:pPr marL="0" indent="0">
              <a:buNone/>
            </a:pPr>
            <a:r>
              <a:rPr lang="en-US" sz="2400" b="1" dirty="0"/>
              <a:t>TOPIC MODELING TRENDS: HOME &amp; KITCHEN</a:t>
            </a:r>
            <a:endParaRPr lang="en-US" dirty="0"/>
          </a:p>
        </p:txBody>
      </p:sp>
      <p:cxnSp>
        <p:nvCxnSpPr>
          <p:cNvPr id="5" name="Google Shape;1480;p34">
            <a:extLst>
              <a:ext uri="{FF2B5EF4-FFF2-40B4-BE49-F238E27FC236}">
                <a16:creationId xmlns:a16="http://schemas.microsoft.com/office/drawing/2014/main" id="{14EFF2B7-7D92-43F7-A19E-0251EDFF2496}"/>
              </a:ext>
            </a:extLst>
          </p:cNvPr>
          <p:cNvCxnSpPr>
            <a:cxnSpLocks/>
          </p:cNvCxnSpPr>
          <p:nvPr/>
        </p:nvCxnSpPr>
        <p:spPr>
          <a:xfrm>
            <a:off x="359900" y="598413"/>
            <a:ext cx="1154575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" name="Google Shape;1480;p34">
            <a:extLst>
              <a:ext uri="{FF2B5EF4-FFF2-40B4-BE49-F238E27FC236}">
                <a16:creationId xmlns:a16="http://schemas.microsoft.com/office/drawing/2014/main" id="{5155CBDE-CC77-49F0-B728-8D53A1568E3A}"/>
              </a:ext>
            </a:extLst>
          </p:cNvPr>
          <p:cNvCxnSpPr>
            <a:cxnSpLocks/>
          </p:cNvCxnSpPr>
          <p:nvPr/>
        </p:nvCxnSpPr>
        <p:spPr>
          <a:xfrm>
            <a:off x="6237171" y="600060"/>
            <a:ext cx="5594933" cy="1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7" name="Picture 77">
            <a:extLst>
              <a:ext uri="{FF2B5EF4-FFF2-40B4-BE49-F238E27FC236}">
                <a16:creationId xmlns:a16="http://schemas.microsoft.com/office/drawing/2014/main" id="{1E7BF413-0E8C-4C85-ADBE-9FB9B8961D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900" y="1106524"/>
            <a:ext cx="6103263" cy="5440959"/>
          </a:xfrm>
          <a:prstGeom prst="rect">
            <a:avLst/>
          </a:prstGeom>
          <a:ln>
            <a:noFill/>
          </a:ln>
        </p:spPr>
      </p:pic>
      <p:pic>
        <p:nvPicPr>
          <p:cNvPr id="79" name="Picture 79" descr="Chart, bubble chart&#10;&#10;Description automatically generated">
            <a:extLst>
              <a:ext uri="{FF2B5EF4-FFF2-40B4-BE49-F238E27FC236}">
                <a16:creationId xmlns:a16="http://schemas.microsoft.com/office/drawing/2014/main" id="{5FC806BA-BA1E-4E2B-8F72-EC7F4BE06B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3163" y="1106524"/>
            <a:ext cx="5417037" cy="5440959"/>
          </a:xfrm>
          <a:prstGeom prst="rect">
            <a:avLst/>
          </a:prstGeom>
          <a:ln>
            <a:noFill/>
          </a:ln>
        </p:spPr>
      </p:pic>
      <p:pic>
        <p:nvPicPr>
          <p:cNvPr id="6" name="Picture 2" descr="See the source image">
            <a:extLst>
              <a:ext uri="{FF2B5EF4-FFF2-40B4-BE49-F238E27FC236}">
                <a16:creationId xmlns:a16="http://schemas.microsoft.com/office/drawing/2014/main" id="{795AE0FB-1884-4EAC-A01B-FD55C5D0C8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7180" y="6024721"/>
            <a:ext cx="1620969" cy="52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9DDA95-4DFD-4DED-8801-228B7A8A69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2804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EFD9D6D-A9BE-44A6-A6E3-6DADD89C7B5D}"/>
              </a:ext>
            </a:extLst>
          </p:cNvPr>
          <p:cNvGrpSpPr/>
          <p:nvPr/>
        </p:nvGrpSpPr>
        <p:grpSpPr>
          <a:xfrm>
            <a:off x="7121482" y="1087944"/>
            <a:ext cx="4721008" cy="5573492"/>
            <a:chOff x="7373828" y="1168745"/>
            <a:chExt cx="4468663" cy="5492691"/>
          </a:xfrm>
        </p:grpSpPr>
        <p:grpSp>
          <p:nvGrpSpPr>
            <p:cNvPr id="248" name="object 248"/>
            <p:cNvGrpSpPr/>
            <p:nvPr/>
          </p:nvGrpSpPr>
          <p:grpSpPr>
            <a:xfrm>
              <a:off x="7916181" y="1755598"/>
              <a:ext cx="3787588" cy="4537822"/>
              <a:chOff x="8616072" y="1989677"/>
              <a:chExt cx="4292600" cy="5142865"/>
            </a:xfrm>
          </p:grpSpPr>
          <p:sp>
            <p:nvSpPr>
              <p:cNvPr id="249" name="object 249"/>
              <p:cNvSpPr/>
              <p:nvPr/>
            </p:nvSpPr>
            <p:spPr>
              <a:xfrm>
                <a:off x="8616061" y="6937552"/>
                <a:ext cx="86677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86677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86677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86677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86677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866775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866775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866775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866775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0" name="object 250"/>
              <p:cNvSpPr/>
              <p:nvPr/>
            </p:nvSpPr>
            <p:spPr>
              <a:xfrm>
                <a:off x="8621193" y="6951593"/>
                <a:ext cx="142748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1427479" h="180975">
                    <a:moveTo>
                      <a:pt x="142731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1427310" y="0"/>
                    </a:lnTo>
                    <a:lnTo>
                      <a:pt x="142731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1" name="object 251"/>
              <p:cNvSpPr/>
              <p:nvPr/>
            </p:nvSpPr>
            <p:spPr>
              <a:xfrm>
                <a:off x="8616061" y="6691896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87"/>
                    </a:lnTo>
                    <a:lnTo>
                      <a:pt x="10248" y="194487"/>
                    </a:lnTo>
                    <a:lnTo>
                      <a:pt x="10248" y="184251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2" name="object 252"/>
              <p:cNvSpPr/>
              <p:nvPr/>
            </p:nvSpPr>
            <p:spPr>
              <a:xfrm>
                <a:off x="8621193" y="6726051"/>
                <a:ext cx="40386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03859" h="180975">
                    <a:moveTo>
                      <a:pt x="40375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03755" y="0"/>
                    </a:lnTo>
                    <a:lnTo>
                      <a:pt x="403755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3" name="object 253"/>
              <p:cNvSpPr/>
              <p:nvPr/>
            </p:nvSpPr>
            <p:spPr>
              <a:xfrm>
                <a:off x="8616061" y="6446253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4" name="object 254"/>
              <p:cNvSpPr/>
              <p:nvPr/>
            </p:nvSpPr>
            <p:spPr>
              <a:xfrm>
                <a:off x="8621193" y="6500509"/>
                <a:ext cx="4279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27990" h="180975">
                    <a:moveTo>
                      <a:pt x="42769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27695" y="0"/>
                    </a:lnTo>
                    <a:lnTo>
                      <a:pt x="427695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5" name="object 255"/>
              <p:cNvSpPr/>
              <p:nvPr/>
            </p:nvSpPr>
            <p:spPr>
              <a:xfrm>
                <a:off x="8616061" y="6262001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6" name="object 256"/>
              <p:cNvSpPr/>
              <p:nvPr/>
            </p:nvSpPr>
            <p:spPr>
              <a:xfrm>
                <a:off x="8621193" y="6274968"/>
                <a:ext cx="4889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88950" h="180975">
                    <a:moveTo>
                      <a:pt x="4887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88738" y="0"/>
                    </a:lnTo>
                    <a:lnTo>
                      <a:pt x="488738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7" name="object 257"/>
              <p:cNvSpPr/>
              <p:nvPr/>
            </p:nvSpPr>
            <p:spPr>
              <a:xfrm>
                <a:off x="8616061" y="6016358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8" name="object 258"/>
              <p:cNvSpPr/>
              <p:nvPr/>
            </p:nvSpPr>
            <p:spPr>
              <a:xfrm>
                <a:off x="8621193" y="6049426"/>
                <a:ext cx="42290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22909" h="180975">
                    <a:moveTo>
                      <a:pt x="42261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22613" y="0"/>
                    </a:lnTo>
                    <a:lnTo>
                      <a:pt x="422613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9" name="object 259"/>
              <p:cNvSpPr/>
              <p:nvPr/>
            </p:nvSpPr>
            <p:spPr>
              <a:xfrm>
                <a:off x="8616061" y="5770702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0" name="object 260"/>
              <p:cNvSpPr/>
              <p:nvPr/>
            </p:nvSpPr>
            <p:spPr>
              <a:xfrm>
                <a:off x="8621193" y="5823884"/>
                <a:ext cx="40576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05765" h="180975">
                    <a:moveTo>
                      <a:pt x="40570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05701" y="0"/>
                    </a:lnTo>
                    <a:lnTo>
                      <a:pt x="405701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1" name="object 261"/>
              <p:cNvSpPr/>
              <p:nvPr/>
            </p:nvSpPr>
            <p:spPr>
              <a:xfrm>
                <a:off x="8616061" y="5586463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2" name="object 262"/>
              <p:cNvSpPr/>
              <p:nvPr/>
            </p:nvSpPr>
            <p:spPr>
              <a:xfrm>
                <a:off x="8621193" y="5598343"/>
                <a:ext cx="43497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34975" h="180975">
                    <a:moveTo>
                      <a:pt x="434877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34877" y="0"/>
                    </a:lnTo>
                    <a:lnTo>
                      <a:pt x="434877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3" name="object 263"/>
              <p:cNvSpPr/>
              <p:nvPr/>
            </p:nvSpPr>
            <p:spPr>
              <a:xfrm>
                <a:off x="8616061" y="5340806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4" name="object 264"/>
              <p:cNvSpPr/>
              <p:nvPr/>
            </p:nvSpPr>
            <p:spPr>
              <a:xfrm>
                <a:off x="8621193" y="5372801"/>
                <a:ext cx="47561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75615" h="180975">
                    <a:moveTo>
                      <a:pt x="47520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75201" y="0"/>
                    </a:lnTo>
                    <a:lnTo>
                      <a:pt x="475201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5" name="object 265"/>
              <p:cNvSpPr/>
              <p:nvPr/>
            </p:nvSpPr>
            <p:spPr>
              <a:xfrm>
                <a:off x="8616061" y="5095151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6" name="object 266"/>
              <p:cNvSpPr/>
              <p:nvPr/>
            </p:nvSpPr>
            <p:spPr>
              <a:xfrm>
                <a:off x="8621193" y="5147260"/>
                <a:ext cx="51625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16254" h="180975">
                    <a:moveTo>
                      <a:pt x="51590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15905" y="0"/>
                    </a:lnTo>
                    <a:lnTo>
                      <a:pt x="515905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7" name="object 267"/>
              <p:cNvSpPr/>
              <p:nvPr/>
            </p:nvSpPr>
            <p:spPr>
              <a:xfrm>
                <a:off x="8616061" y="4910912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8" name="object 268"/>
              <p:cNvSpPr/>
              <p:nvPr/>
            </p:nvSpPr>
            <p:spPr>
              <a:xfrm>
                <a:off x="8621193" y="4921718"/>
                <a:ext cx="59563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5629" h="180975">
                    <a:moveTo>
                      <a:pt x="59504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5044" y="0"/>
                    </a:lnTo>
                    <a:lnTo>
                      <a:pt x="595044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9" name="object 269"/>
              <p:cNvSpPr/>
              <p:nvPr/>
            </p:nvSpPr>
            <p:spPr>
              <a:xfrm>
                <a:off x="8616061" y="4665255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0" name="object 270"/>
              <p:cNvSpPr/>
              <p:nvPr/>
            </p:nvSpPr>
            <p:spPr>
              <a:xfrm>
                <a:off x="8621193" y="4696176"/>
                <a:ext cx="5905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0550" h="180975">
                    <a:moveTo>
                      <a:pt x="5904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0438" y="0"/>
                    </a:lnTo>
                    <a:lnTo>
                      <a:pt x="590438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1" name="object 271"/>
              <p:cNvSpPr/>
              <p:nvPr/>
            </p:nvSpPr>
            <p:spPr>
              <a:xfrm>
                <a:off x="8616061" y="4419599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2" name="object 272"/>
              <p:cNvSpPr/>
              <p:nvPr/>
            </p:nvSpPr>
            <p:spPr>
              <a:xfrm>
                <a:off x="8621193" y="4470635"/>
                <a:ext cx="54102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41020" h="180975">
                    <a:moveTo>
                      <a:pt x="54102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41024" y="0"/>
                    </a:lnTo>
                    <a:lnTo>
                      <a:pt x="541024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3" name="object 273"/>
              <p:cNvSpPr/>
              <p:nvPr/>
            </p:nvSpPr>
            <p:spPr>
              <a:xfrm>
                <a:off x="8616061" y="4235360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4" name="object 274"/>
              <p:cNvSpPr/>
              <p:nvPr/>
            </p:nvSpPr>
            <p:spPr>
              <a:xfrm>
                <a:off x="8621193" y="4245093"/>
                <a:ext cx="5930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3090" h="180975">
                    <a:moveTo>
                      <a:pt x="59250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2500" y="0"/>
                    </a:lnTo>
                    <a:lnTo>
                      <a:pt x="59250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5" name="object 275"/>
              <p:cNvSpPr/>
              <p:nvPr/>
            </p:nvSpPr>
            <p:spPr>
              <a:xfrm>
                <a:off x="8616061" y="3989704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6" name="object 276"/>
              <p:cNvSpPr/>
              <p:nvPr/>
            </p:nvSpPr>
            <p:spPr>
              <a:xfrm>
                <a:off x="8621193" y="4019551"/>
                <a:ext cx="59753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7534" h="180975">
                    <a:moveTo>
                      <a:pt x="59717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7170" y="0"/>
                    </a:lnTo>
                    <a:lnTo>
                      <a:pt x="59717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7" name="object 277"/>
              <p:cNvSpPr/>
              <p:nvPr/>
            </p:nvSpPr>
            <p:spPr>
              <a:xfrm>
                <a:off x="8616061" y="3744048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8" name="object 278"/>
              <p:cNvSpPr/>
              <p:nvPr/>
            </p:nvSpPr>
            <p:spPr>
              <a:xfrm>
                <a:off x="8621193" y="3794010"/>
                <a:ext cx="59245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2454" h="180975">
                    <a:moveTo>
                      <a:pt x="5924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2438" y="0"/>
                    </a:lnTo>
                    <a:lnTo>
                      <a:pt x="592438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9" name="object 279"/>
              <p:cNvSpPr/>
              <p:nvPr/>
            </p:nvSpPr>
            <p:spPr>
              <a:xfrm>
                <a:off x="8616061" y="3559809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0" name="object 280"/>
              <p:cNvSpPr/>
              <p:nvPr/>
            </p:nvSpPr>
            <p:spPr>
              <a:xfrm>
                <a:off x="8621193" y="3568468"/>
                <a:ext cx="5981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8170" h="180975">
                    <a:moveTo>
                      <a:pt x="59811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8110" y="0"/>
                    </a:lnTo>
                    <a:lnTo>
                      <a:pt x="59811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1" name="object 281"/>
              <p:cNvSpPr/>
              <p:nvPr/>
            </p:nvSpPr>
            <p:spPr>
              <a:xfrm>
                <a:off x="8616061" y="3314153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51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2" name="object 282"/>
              <p:cNvSpPr/>
              <p:nvPr/>
            </p:nvSpPr>
            <p:spPr>
              <a:xfrm>
                <a:off x="8621193" y="3342926"/>
                <a:ext cx="52070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20700" h="180975">
                    <a:moveTo>
                      <a:pt x="52057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20570" y="0"/>
                    </a:lnTo>
                    <a:lnTo>
                      <a:pt x="52057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3" name="object 283"/>
              <p:cNvSpPr/>
              <p:nvPr/>
            </p:nvSpPr>
            <p:spPr>
              <a:xfrm>
                <a:off x="8616061" y="3068510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23"/>
                    </a:lnTo>
                    <a:lnTo>
                      <a:pt x="10248" y="10223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4" name="object 284"/>
              <p:cNvSpPr/>
              <p:nvPr/>
            </p:nvSpPr>
            <p:spPr>
              <a:xfrm>
                <a:off x="8621193" y="3117385"/>
                <a:ext cx="37973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79729" h="180975">
                    <a:moveTo>
                      <a:pt x="379607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79607" y="0"/>
                    </a:lnTo>
                    <a:lnTo>
                      <a:pt x="379607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5" name="object 285"/>
              <p:cNvSpPr/>
              <p:nvPr/>
            </p:nvSpPr>
            <p:spPr>
              <a:xfrm>
                <a:off x="8616061" y="2884258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6" name="object 286"/>
              <p:cNvSpPr/>
              <p:nvPr/>
            </p:nvSpPr>
            <p:spPr>
              <a:xfrm>
                <a:off x="8621193" y="2891843"/>
                <a:ext cx="35750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7504" h="180975">
                    <a:moveTo>
                      <a:pt x="35737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7376" y="0"/>
                    </a:lnTo>
                    <a:lnTo>
                      <a:pt x="357376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7" name="object 287"/>
              <p:cNvSpPr/>
              <p:nvPr/>
            </p:nvSpPr>
            <p:spPr>
              <a:xfrm>
                <a:off x="8616061" y="2638615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4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4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4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8" name="object 288"/>
              <p:cNvSpPr/>
              <p:nvPr/>
            </p:nvSpPr>
            <p:spPr>
              <a:xfrm>
                <a:off x="8621193" y="2666301"/>
                <a:ext cx="3492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49250" h="180975">
                    <a:moveTo>
                      <a:pt x="3490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49038" y="0"/>
                    </a:lnTo>
                    <a:lnTo>
                      <a:pt x="349038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9" name="object 289"/>
              <p:cNvSpPr/>
              <p:nvPr/>
            </p:nvSpPr>
            <p:spPr>
              <a:xfrm>
                <a:off x="8616061" y="2392959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4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4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4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0" name="object 290"/>
              <p:cNvSpPr/>
              <p:nvPr/>
            </p:nvSpPr>
            <p:spPr>
              <a:xfrm>
                <a:off x="8621193" y="2440760"/>
                <a:ext cx="3644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64490" h="180975">
                    <a:moveTo>
                      <a:pt x="364049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64049" y="0"/>
                    </a:lnTo>
                    <a:lnTo>
                      <a:pt x="364049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1" name="object 291"/>
              <p:cNvSpPr/>
              <p:nvPr/>
            </p:nvSpPr>
            <p:spPr>
              <a:xfrm>
                <a:off x="8616061" y="2208720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2" name="object 292"/>
              <p:cNvSpPr/>
              <p:nvPr/>
            </p:nvSpPr>
            <p:spPr>
              <a:xfrm>
                <a:off x="8621193" y="2215218"/>
                <a:ext cx="3949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94970" h="180975">
                    <a:moveTo>
                      <a:pt x="394519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94519" y="0"/>
                    </a:lnTo>
                    <a:lnTo>
                      <a:pt x="394519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3" name="object 293"/>
              <p:cNvSpPr/>
              <p:nvPr/>
            </p:nvSpPr>
            <p:spPr>
              <a:xfrm>
                <a:off x="8616061" y="2024468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4" name="object 294"/>
              <p:cNvSpPr/>
              <p:nvPr/>
            </p:nvSpPr>
            <p:spPr>
              <a:xfrm>
                <a:off x="8621193" y="1989677"/>
                <a:ext cx="4076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07670" h="180975">
                    <a:moveTo>
                      <a:pt x="407482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07482" y="0"/>
                    </a:lnTo>
                    <a:lnTo>
                      <a:pt x="407482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5" name="object 295"/>
              <p:cNvSpPr/>
              <p:nvPr/>
            </p:nvSpPr>
            <p:spPr>
              <a:xfrm>
                <a:off x="9024937" y="6500520"/>
                <a:ext cx="330200" cy="406400"/>
              </a:xfrm>
              <a:custGeom>
                <a:avLst/>
                <a:gdLst/>
                <a:ahLst/>
                <a:cxnLst/>
                <a:rect l="l" t="t" r="r" b="b"/>
                <a:pathLst>
                  <a:path w="330200" h="406400">
                    <a:moveTo>
                      <a:pt x="276263" y="225539"/>
                    </a:moveTo>
                    <a:lnTo>
                      <a:pt x="0" y="225539"/>
                    </a:lnTo>
                    <a:lnTo>
                      <a:pt x="0" y="405968"/>
                    </a:lnTo>
                    <a:lnTo>
                      <a:pt x="276263" y="405968"/>
                    </a:lnTo>
                    <a:lnTo>
                      <a:pt x="276263" y="225539"/>
                    </a:lnTo>
                    <a:close/>
                  </a:path>
                  <a:path w="330200" h="406400">
                    <a:moveTo>
                      <a:pt x="329793" y="0"/>
                    </a:moveTo>
                    <a:lnTo>
                      <a:pt x="23939" y="0"/>
                    </a:lnTo>
                    <a:lnTo>
                      <a:pt x="23939" y="180428"/>
                    </a:lnTo>
                    <a:lnTo>
                      <a:pt x="329793" y="180428"/>
                    </a:lnTo>
                    <a:lnTo>
                      <a:pt x="329793" y="0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6" name="object 296"/>
              <p:cNvSpPr/>
              <p:nvPr/>
            </p:nvSpPr>
            <p:spPr>
              <a:xfrm>
                <a:off x="9472447" y="6262001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87"/>
                    </a:lnTo>
                    <a:lnTo>
                      <a:pt x="10248" y="194487"/>
                    </a:lnTo>
                    <a:lnTo>
                      <a:pt x="10248" y="184251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7" name="object 297"/>
              <p:cNvSpPr/>
              <p:nvPr/>
            </p:nvSpPr>
            <p:spPr>
              <a:xfrm>
                <a:off x="9109931" y="6274968"/>
                <a:ext cx="3898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89890" h="180975">
                    <a:moveTo>
                      <a:pt x="38953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89531" y="0"/>
                    </a:lnTo>
                    <a:lnTo>
                      <a:pt x="389531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8" name="object 298"/>
              <p:cNvSpPr/>
              <p:nvPr/>
            </p:nvSpPr>
            <p:spPr>
              <a:xfrm>
                <a:off x="9472447" y="6016358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9" name="object 299"/>
              <p:cNvSpPr/>
              <p:nvPr/>
            </p:nvSpPr>
            <p:spPr>
              <a:xfrm>
                <a:off x="9043806" y="6049426"/>
                <a:ext cx="42608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26084" h="180975">
                    <a:moveTo>
                      <a:pt x="425662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25662" y="0"/>
                    </a:lnTo>
                    <a:lnTo>
                      <a:pt x="425662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0" name="object 300"/>
              <p:cNvSpPr/>
              <p:nvPr/>
            </p:nvSpPr>
            <p:spPr>
              <a:xfrm>
                <a:off x="9472447" y="5770702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1" name="object 301"/>
              <p:cNvSpPr/>
              <p:nvPr/>
            </p:nvSpPr>
            <p:spPr>
              <a:xfrm>
                <a:off x="9026894" y="5823884"/>
                <a:ext cx="45402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54025" h="180975">
                    <a:moveTo>
                      <a:pt x="45361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53611" y="0"/>
                    </a:lnTo>
                    <a:lnTo>
                      <a:pt x="453611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2" name="object 302"/>
              <p:cNvSpPr/>
              <p:nvPr/>
            </p:nvSpPr>
            <p:spPr>
              <a:xfrm>
                <a:off x="9472447" y="5586463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3" name="object 303"/>
              <p:cNvSpPr/>
              <p:nvPr/>
            </p:nvSpPr>
            <p:spPr>
              <a:xfrm>
                <a:off x="9056070" y="5598343"/>
                <a:ext cx="47053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70534" h="180975">
                    <a:moveTo>
                      <a:pt x="47050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70500" y="0"/>
                    </a:lnTo>
                    <a:lnTo>
                      <a:pt x="470500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4" name="object 304"/>
              <p:cNvSpPr/>
              <p:nvPr/>
            </p:nvSpPr>
            <p:spPr>
              <a:xfrm>
                <a:off x="9472447" y="5340806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5" name="object 305"/>
              <p:cNvSpPr/>
              <p:nvPr/>
            </p:nvSpPr>
            <p:spPr>
              <a:xfrm>
                <a:off x="9096395" y="5372801"/>
                <a:ext cx="48958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89584" h="180975">
                    <a:moveTo>
                      <a:pt x="48916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89166" y="0"/>
                    </a:lnTo>
                    <a:lnTo>
                      <a:pt x="489166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6" name="object 306"/>
              <p:cNvSpPr/>
              <p:nvPr/>
            </p:nvSpPr>
            <p:spPr>
              <a:xfrm>
                <a:off x="9472447" y="5095151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7" name="object 307"/>
              <p:cNvSpPr/>
              <p:nvPr/>
            </p:nvSpPr>
            <p:spPr>
              <a:xfrm>
                <a:off x="9137098" y="5147260"/>
                <a:ext cx="5041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04190" h="180975">
                    <a:moveTo>
                      <a:pt x="50372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03725" y="0"/>
                    </a:lnTo>
                    <a:lnTo>
                      <a:pt x="503725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8" name="object 308"/>
              <p:cNvSpPr/>
              <p:nvPr/>
            </p:nvSpPr>
            <p:spPr>
              <a:xfrm>
                <a:off x="9472447" y="4910912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9" name="object 309"/>
              <p:cNvSpPr/>
              <p:nvPr/>
            </p:nvSpPr>
            <p:spPr>
              <a:xfrm>
                <a:off x="9216237" y="4921718"/>
                <a:ext cx="49466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94665" h="180975">
                    <a:moveTo>
                      <a:pt x="49432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94323" y="0"/>
                    </a:lnTo>
                    <a:lnTo>
                      <a:pt x="494323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0" name="object 310"/>
              <p:cNvSpPr/>
              <p:nvPr/>
            </p:nvSpPr>
            <p:spPr>
              <a:xfrm>
                <a:off x="9472447" y="4665255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1" name="object 311"/>
              <p:cNvSpPr/>
              <p:nvPr/>
            </p:nvSpPr>
            <p:spPr>
              <a:xfrm>
                <a:off x="9211631" y="4696176"/>
                <a:ext cx="4965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96570" h="180975">
                    <a:moveTo>
                      <a:pt x="496217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96217" y="0"/>
                    </a:lnTo>
                    <a:lnTo>
                      <a:pt x="496217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2" name="object 312"/>
              <p:cNvSpPr/>
              <p:nvPr/>
            </p:nvSpPr>
            <p:spPr>
              <a:xfrm>
                <a:off x="9472447" y="4419599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3" name="object 313"/>
              <p:cNvSpPr/>
              <p:nvPr/>
            </p:nvSpPr>
            <p:spPr>
              <a:xfrm>
                <a:off x="9162217" y="4470635"/>
                <a:ext cx="4660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66090" h="180975">
                    <a:moveTo>
                      <a:pt x="46557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65573" y="0"/>
                    </a:lnTo>
                    <a:lnTo>
                      <a:pt x="465573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4" name="object 314"/>
              <p:cNvSpPr/>
              <p:nvPr/>
            </p:nvSpPr>
            <p:spPr>
              <a:xfrm>
                <a:off x="9472447" y="4235360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5" name="object 315"/>
              <p:cNvSpPr/>
              <p:nvPr/>
            </p:nvSpPr>
            <p:spPr>
              <a:xfrm>
                <a:off x="9213693" y="4245093"/>
                <a:ext cx="4838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83870" h="180975">
                    <a:moveTo>
                      <a:pt x="48324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83245" y="0"/>
                    </a:lnTo>
                    <a:lnTo>
                      <a:pt x="483245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6" name="object 316"/>
              <p:cNvSpPr/>
              <p:nvPr/>
            </p:nvSpPr>
            <p:spPr>
              <a:xfrm>
                <a:off x="9472447" y="3989704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7" name="object 317"/>
              <p:cNvSpPr/>
              <p:nvPr/>
            </p:nvSpPr>
            <p:spPr>
              <a:xfrm>
                <a:off x="9218363" y="4019551"/>
                <a:ext cx="47752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77520" h="180975">
                    <a:moveTo>
                      <a:pt x="47721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77214" y="0"/>
                    </a:lnTo>
                    <a:lnTo>
                      <a:pt x="477214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8" name="object 318"/>
              <p:cNvSpPr/>
              <p:nvPr/>
            </p:nvSpPr>
            <p:spPr>
              <a:xfrm>
                <a:off x="9472447" y="3744048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9" name="object 319"/>
              <p:cNvSpPr/>
              <p:nvPr/>
            </p:nvSpPr>
            <p:spPr>
              <a:xfrm>
                <a:off x="9213631" y="3794010"/>
                <a:ext cx="46037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60375" h="180975">
                    <a:moveTo>
                      <a:pt x="45990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59905" y="0"/>
                    </a:lnTo>
                    <a:lnTo>
                      <a:pt x="459905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0" name="object 320"/>
              <p:cNvSpPr/>
              <p:nvPr/>
            </p:nvSpPr>
            <p:spPr>
              <a:xfrm>
                <a:off x="9472447" y="3559809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1" name="object 321"/>
              <p:cNvSpPr/>
              <p:nvPr/>
            </p:nvSpPr>
            <p:spPr>
              <a:xfrm>
                <a:off x="9219303" y="3568468"/>
                <a:ext cx="43497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34975" h="180975">
                    <a:moveTo>
                      <a:pt x="43491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34914" y="0"/>
                    </a:lnTo>
                    <a:lnTo>
                      <a:pt x="434914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2" name="object 322"/>
              <p:cNvSpPr/>
              <p:nvPr/>
            </p:nvSpPr>
            <p:spPr>
              <a:xfrm>
                <a:off x="9472447" y="3314153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51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3" name="object 323"/>
              <p:cNvSpPr/>
              <p:nvPr/>
            </p:nvSpPr>
            <p:spPr>
              <a:xfrm>
                <a:off x="8970226" y="1989683"/>
                <a:ext cx="572135" cy="1534160"/>
              </a:xfrm>
              <a:custGeom>
                <a:avLst/>
                <a:gdLst/>
                <a:ahLst/>
                <a:cxnLst/>
                <a:rect l="l" t="t" r="r" b="b"/>
                <a:pathLst>
                  <a:path w="572134" h="1534160">
                    <a:moveTo>
                      <a:pt x="319913" y="676630"/>
                    </a:moveTo>
                    <a:lnTo>
                      <a:pt x="0" y="676630"/>
                    </a:lnTo>
                    <a:lnTo>
                      <a:pt x="0" y="857059"/>
                    </a:lnTo>
                    <a:lnTo>
                      <a:pt x="319913" y="857059"/>
                    </a:lnTo>
                    <a:lnTo>
                      <a:pt x="319913" y="676630"/>
                    </a:lnTo>
                    <a:close/>
                  </a:path>
                  <a:path w="572134" h="1534160">
                    <a:moveTo>
                      <a:pt x="330923" y="451078"/>
                    </a:moveTo>
                    <a:lnTo>
                      <a:pt x="15011" y="451078"/>
                    </a:lnTo>
                    <a:lnTo>
                      <a:pt x="15011" y="631520"/>
                    </a:lnTo>
                    <a:lnTo>
                      <a:pt x="330923" y="631520"/>
                    </a:lnTo>
                    <a:lnTo>
                      <a:pt x="330923" y="451078"/>
                    </a:lnTo>
                    <a:close/>
                  </a:path>
                  <a:path w="572134" h="1534160">
                    <a:moveTo>
                      <a:pt x="355574" y="225539"/>
                    </a:moveTo>
                    <a:lnTo>
                      <a:pt x="45478" y="225539"/>
                    </a:lnTo>
                    <a:lnTo>
                      <a:pt x="45478" y="405980"/>
                    </a:lnTo>
                    <a:lnTo>
                      <a:pt x="355574" y="405980"/>
                    </a:lnTo>
                    <a:lnTo>
                      <a:pt x="355574" y="225539"/>
                    </a:lnTo>
                    <a:close/>
                  </a:path>
                  <a:path w="572134" h="1534160">
                    <a:moveTo>
                      <a:pt x="359181" y="902169"/>
                    </a:moveTo>
                    <a:lnTo>
                      <a:pt x="8331" y="902169"/>
                    </a:lnTo>
                    <a:lnTo>
                      <a:pt x="8331" y="1082598"/>
                    </a:lnTo>
                    <a:lnTo>
                      <a:pt x="359181" y="1082598"/>
                    </a:lnTo>
                    <a:lnTo>
                      <a:pt x="359181" y="902169"/>
                    </a:lnTo>
                    <a:close/>
                  </a:path>
                  <a:path w="572134" h="1534160">
                    <a:moveTo>
                      <a:pt x="360845" y="0"/>
                    </a:moveTo>
                    <a:lnTo>
                      <a:pt x="58445" y="0"/>
                    </a:lnTo>
                    <a:lnTo>
                      <a:pt x="58445" y="180428"/>
                    </a:lnTo>
                    <a:lnTo>
                      <a:pt x="360845" y="180428"/>
                    </a:lnTo>
                    <a:lnTo>
                      <a:pt x="360845" y="0"/>
                    </a:lnTo>
                    <a:close/>
                  </a:path>
                  <a:path w="572134" h="1534160">
                    <a:moveTo>
                      <a:pt x="402259" y="1127709"/>
                    </a:moveTo>
                    <a:lnTo>
                      <a:pt x="30568" y="1127709"/>
                    </a:lnTo>
                    <a:lnTo>
                      <a:pt x="30568" y="1308138"/>
                    </a:lnTo>
                    <a:lnTo>
                      <a:pt x="402259" y="1308138"/>
                    </a:lnTo>
                    <a:lnTo>
                      <a:pt x="402259" y="1127709"/>
                    </a:lnTo>
                    <a:close/>
                  </a:path>
                  <a:path w="572134" h="1534160">
                    <a:moveTo>
                      <a:pt x="571855" y="1353248"/>
                    </a:moveTo>
                    <a:lnTo>
                      <a:pt x="171526" y="1353248"/>
                    </a:lnTo>
                    <a:lnTo>
                      <a:pt x="171526" y="1533677"/>
                    </a:lnTo>
                    <a:lnTo>
                      <a:pt x="571855" y="1533677"/>
                    </a:lnTo>
                    <a:lnTo>
                      <a:pt x="571855" y="1353248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4" name="object 324"/>
              <p:cNvSpPr/>
              <p:nvPr/>
            </p:nvSpPr>
            <p:spPr>
              <a:xfrm>
                <a:off x="10328834" y="6937552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5" name="object 325"/>
              <p:cNvSpPr/>
              <p:nvPr/>
            </p:nvSpPr>
            <p:spPr>
              <a:xfrm>
                <a:off x="10048503" y="6951593"/>
                <a:ext cx="285496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2854959" h="180975">
                    <a:moveTo>
                      <a:pt x="285462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2854621" y="0"/>
                    </a:lnTo>
                    <a:lnTo>
                      <a:pt x="2854621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6" name="object 326"/>
              <p:cNvSpPr/>
              <p:nvPr/>
            </p:nvSpPr>
            <p:spPr>
              <a:xfrm>
                <a:off x="9472447" y="6691896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87"/>
                    </a:lnTo>
                    <a:lnTo>
                      <a:pt x="10248" y="194487"/>
                    </a:lnTo>
                    <a:lnTo>
                      <a:pt x="10248" y="184251"/>
                    </a:lnTo>
                    <a:close/>
                  </a:path>
                  <a:path w="343598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343598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343598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94945">
                    <a:moveTo>
                      <a:pt x="866635" y="184251"/>
                    </a:moveTo>
                    <a:lnTo>
                      <a:pt x="856386" y="184251"/>
                    </a:lnTo>
                    <a:lnTo>
                      <a:pt x="856386" y="194487"/>
                    </a:lnTo>
                    <a:lnTo>
                      <a:pt x="866635" y="194487"/>
                    </a:lnTo>
                    <a:lnTo>
                      <a:pt x="866635" y="184251"/>
                    </a:lnTo>
                    <a:close/>
                  </a:path>
                  <a:path w="343598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343598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343598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94945">
                    <a:moveTo>
                      <a:pt x="1723021" y="184251"/>
                    </a:moveTo>
                    <a:lnTo>
                      <a:pt x="1712772" y="184251"/>
                    </a:lnTo>
                    <a:lnTo>
                      <a:pt x="1712772" y="194487"/>
                    </a:lnTo>
                    <a:lnTo>
                      <a:pt x="1723021" y="194487"/>
                    </a:lnTo>
                    <a:lnTo>
                      <a:pt x="1723021" y="184251"/>
                    </a:lnTo>
                    <a:close/>
                  </a:path>
                  <a:path w="343598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343598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343598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94945">
                    <a:moveTo>
                      <a:pt x="2579408" y="184251"/>
                    </a:moveTo>
                    <a:lnTo>
                      <a:pt x="2569159" y="184251"/>
                    </a:lnTo>
                    <a:lnTo>
                      <a:pt x="2569159" y="194487"/>
                    </a:lnTo>
                    <a:lnTo>
                      <a:pt x="2579408" y="194487"/>
                    </a:lnTo>
                    <a:lnTo>
                      <a:pt x="2579408" y="184251"/>
                    </a:lnTo>
                    <a:close/>
                  </a:path>
                  <a:path w="343598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343598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343598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94945">
                    <a:moveTo>
                      <a:pt x="3435794" y="184251"/>
                    </a:moveTo>
                    <a:lnTo>
                      <a:pt x="3425545" y="184251"/>
                    </a:lnTo>
                    <a:lnTo>
                      <a:pt x="3425545" y="194487"/>
                    </a:lnTo>
                    <a:lnTo>
                      <a:pt x="3435794" y="194487"/>
                    </a:lnTo>
                    <a:lnTo>
                      <a:pt x="3435794" y="184251"/>
                    </a:lnTo>
                    <a:close/>
                  </a:path>
                  <a:path w="3435984" h="194945">
                    <a:moveTo>
                      <a:pt x="3435794" y="122834"/>
                    </a:moveTo>
                    <a:lnTo>
                      <a:pt x="3425545" y="122834"/>
                    </a:lnTo>
                    <a:lnTo>
                      <a:pt x="3425545" y="133070"/>
                    </a:lnTo>
                    <a:lnTo>
                      <a:pt x="3435794" y="133070"/>
                    </a:lnTo>
                    <a:lnTo>
                      <a:pt x="3435794" y="122834"/>
                    </a:lnTo>
                    <a:close/>
                  </a:path>
                  <a:path w="3435984" h="194945">
                    <a:moveTo>
                      <a:pt x="3435794" y="61417"/>
                    </a:moveTo>
                    <a:lnTo>
                      <a:pt x="3425545" y="61417"/>
                    </a:lnTo>
                    <a:lnTo>
                      <a:pt x="3425545" y="71653"/>
                    </a:lnTo>
                    <a:lnTo>
                      <a:pt x="3435794" y="71653"/>
                    </a:lnTo>
                    <a:lnTo>
                      <a:pt x="3435794" y="61417"/>
                    </a:lnTo>
                    <a:close/>
                  </a:path>
                  <a:path w="3435984" h="194945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7" name="object 327"/>
              <p:cNvSpPr/>
              <p:nvPr/>
            </p:nvSpPr>
            <p:spPr>
              <a:xfrm>
                <a:off x="9301202" y="6726051"/>
                <a:ext cx="360235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602354" h="180975">
                    <a:moveTo>
                      <a:pt x="3601922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601922" y="0"/>
                    </a:lnTo>
                    <a:lnTo>
                      <a:pt x="3601922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8" name="object 328"/>
              <p:cNvSpPr/>
              <p:nvPr/>
            </p:nvSpPr>
            <p:spPr>
              <a:xfrm>
                <a:off x="9472447" y="6446253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343598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343598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94945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343598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94945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343598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94945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94945">
                    <a:moveTo>
                      <a:pt x="3435794" y="184238"/>
                    </a:moveTo>
                    <a:lnTo>
                      <a:pt x="3425545" y="184238"/>
                    </a:lnTo>
                    <a:lnTo>
                      <a:pt x="3425545" y="194475"/>
                    </a:lnTo>
                    <a:lnTo>
                      <a:pt x="3435794" y="194475"/>
                    </a:lnTo>
                    <a:lnTo>
                      <a:pt x="3435794" y="184238"/>
                    </a:lnTo>
                    <a:close/>
                  </a:path>
                  <a:path w="3435984" h="194945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94945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94945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9" name="object 329"/>
              <p:cNvSpPr/>
              <p:nvPr/>
            </p:nvSpPr>
            <p:spPr>
              <a:xfrm>
                <a:off x="9354741" y="6500509"/>
                <a:ext cx="354837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48379" h="180975">
                    <a:moveTo>
                      <a:pt x="354838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48383" y="0"/>
                    </a:lnTo>
                    <a:lnTo>
                      <a:pt x="354838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0" name="object 330"/>
              <p:cNvSpPr/>
              <p:nvPr/>
            </p:nvSpPr>
            <p:spPr>
              <a:xfrm>
                <a:off x="10328834" y="6262001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1" name="object 331"/>
              <p:cNvSpPr/>
              <p:nvPr/>
            </p:nvSpPr>
            <p:spPr>
              <a:xfrm>
                <a:off x="9499463" y="6274968"/>
                <a:ext cx="340423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404234" h="180975">
                    <a:moveTo>
                      <a:pt x="340366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403661" y="0"/>
                    </a:lnTo>
                    <a:lnTo>
                      <a:pt x="3403661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2" name="object 332"/>
              <p:cNvSpPr/>
              <p:nvPr/>
            </p:nvSpPr>
            <p:spPr>
              <a:xfrm>
                <a:off x="10328834" y="6016358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3" name="object 333"/>
              <p:cNvSpPr/>
              <p:nvPr/>
            </p:nvSpPr>
            <p:spPr>
              <a:xfrm>
                <a:off x="9469468" y="6049426"/>
                <a:ext cx="343407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434079" h="180975">
                    <a:moveTo>
                      <a:pt x="343365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433656" y="0"/>
                    </a:lnTo>
                    <a:lnTo>
                      <a:pt x="3433656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4" name="object 334"/>
              <p:cNvSpPr/>
              <p:nvPr/>
            </p:nvSpPr>
            <p:spPr>
              <a:xfrm>
                <a:off x="10328834" y="5770702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5" name="object 335"/>
              <p:cNvSpPr/>
              <p:nvPr/>
            </p:nvSpPr>
            <p:spPr>
              <a:xfrm>
                <a:off x="9480505" y="5823884"/>
                <a:ext cx="34226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422650" h="180975">
                    <a:moveTo>
                      <a:pt x="342261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422618" y="0"/>
                    </a:lnTo>
                    <a:lnTo>
                      <a:pt x="3422618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6" name="object 336"/>
              <p:cNvSpPr/>
              <p:nvPr/>
            </p:nvSpPr>
            <p:spPr>
              <a:xfrm>
                <a:off x="10328834" y="5586463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33350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33350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33350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7" name="object 337"/>
              <p:cNvSpPr/>
              <p:nvPr/>
            </p:nvSpPr>
            <p:spPr>
              <a:xfrm>
                <a:off x="9526570" y="5598343"/>
                <a:ext cx="337692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376929" h="180975">
                    <a:moveTo>
                      <a:pt x="337655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376553" y="0"/>
                    </a:lnTo>
                    <a:lnTo>
                      <a:pt x="337655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8" name="object 338"/>
              <p:cNvSpPr/>
              <p:nvPr/>
            </p:nvSpPr>
            <p:spPr>
              <a:xfrm>
                <a:off x="10328834" y="5340806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9" name="object 339"/>
              <p:cNvSpPr/>
              <p:nvPr/>
            </p:nvSpPr>
            <p:spPr>
              <a:xfrm>
                <a:off x="9585561" y="5372801"/>
                <a:ext cx="331787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317875" h="180975">
                    <a:moveTo>
                      <a:pt x="3317562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317562" y="0"/>
                    </a:lnTo>
                    <a:lnTo>
                      <a:pt x="3317562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0" name="object 340"/>
              <p:cNvSpPr/>
              <p:nvPr/>
            </p:nvSpPr>
            <p:spPr>
              <a:xfrm>
                <a:off x="10328834" y="5095151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1" name="object 341"/>
              <p:cNvSpPr/>
              <p:nvPr/>
            </p:nvSpPr>
            <p:spPr>
              <a:xfrm>
                <a:off x="9640824" y="5147260"/>
                <a:ext cx="326262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62629" h="180975">
                    <a:moveTo>
                      <a:pt x="3262299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62299" y="0"/>
                    </a:lnTo>
                    <a:lnTo>
                      <a:pt x="3262299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2" name="object 342"/>
              <p:cNvSpPr/>
              <p:nvPr/>
            </p:nvSpPr>
            <p:spPr>
              <a:xfrm>
                <a:off x="10328834" y="4910912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3" name="object 343"/>
              <p:cNvSpPr/>
              <p:nvPr/>
            </p:nvSpPr>
            <p:spPr>
              <a:xfrm>
                <a:off x="9710560" y="4921718"/>
                <a:ext cx="319278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192779" h="180975">
                    <a:moveTo>
                      <a:pt x="319256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192563" y="0"/>
                    </a:lnTo>
                    <a:lnTo>
                      <a:pt x="319256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4" name="object 344"/>
              <p:cNvSpPr/>
              <p:nvPr/>
            </p:nvSpPr>
            <p:spPr>
              <a:xfrm>
                <a:off x="10328834" y="4665255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5" name="object 345"/>
              <p:cNvSpPr/>
              <p:nvPr/>
            </p:nvSpPr>
            <p:spPr>
              <a:xfrm>
                <a:off x="9707848" y="4696176"/>
                <a:ext cx="319532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195320" h="180975">
                    <a:moveTo>
                      <a:pt x="319527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195275" y="0"/>
                    </a:lnTo>
                    <a:lnTo>
                      <a:pt x="3195275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6" name="object 346"/>
              <p:cNvSpPr/>
              <p:nvPr/>
            </p:nvSpPr>
            <p:spPr>
              <a:xfrm>
                <a:off x="10328834" y="4419599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7" name="object 347"/>
              <p:cNvSpPr/>
              <p:nvPr/>
            </p:nvSpPr>
            <p:spPr>
              <a:xfrm>
                <a:off x="9627790" y="4470635"/>
                <a:ext cx="327532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75329" h="180975">
                    <a:moveTo>
                      <a:pt x="327533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75333" y="0"/>
                    </a:lnTo>
                    <a:lnTo>
                      <a:pt x="327533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8" name="object 348"/>
              <p:cNvSpPr/>
              <p:nvPr/>
            </p:nvSpPr>
            <p:spPr>
              <a:xfrm>
                <a:off x="10328834" y="4235360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9" name="object 349"/>
              <p:cNvSpPr/>
              <p:nvPr/>
            </p:nvSpPr>
            <p:spPr>
              <a:xfrm>
                <a:off x="9696938" y="4245093"/>
                <a:ext cx="32067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06750" h="180975">
                    <a:moveTo>
                      <a:pt x="320618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06185" y="0"/>
                    </a:lnTo>
                    <a:lnTo>
                      <a:pt x="3206185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0" name="object 350"/>
              <p:cNvSpPr/>
              <p:nvPr/>
            </p:nvSpPr>
            <p:spPr>
              <a:xfrm>
                <a:off x="10328834" y="3989704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1" name="object 351"/>
              <p:cNvSpPr/>
              <p:nvPr/>
            </p:nvSpPr>
            <p:spPr>
              <a:xfrm>
                <a:off x="9695577" y="4019551"/>
                <a:ext cx="320802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08020" h="180975">
                    <a:moveTo>
                      <a:pt x="3207547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07547" y="0"/>
                    </a:lnTo>
                    <a:lnTo>
                      <a:pt x="3207547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2" name="object 352"/>
              <p:cNvSpPr/>
              <p:nvPr/>
            </p:nvSpPr>
            <p:spPr>
              <a:xfrm>
                <a:off x="10328834" y="3744048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3" name="object 353"/>
              <p:cNvSpPr/>
              <p:nvPr/>
            </p:nvSpPr>
            <p:spPr>
              <a:xfrm>
                <a:off x="9673536" y="3794010"/>
                <a:ext cx="322961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29609" h="180975">
                    <a:moveTo>
                      <a:pt x="322958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29588" y="0"/>
                    </a:lnTo>
                    <a:lnTo>
                      <a:pt x="3229588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4" name="object 354"/>
              <p:cNvSpPr/>
              <p:nvPr/>
            </p:nvSpPr>
            <p:spPr>
              <a:xfrm>
                <a:off x="10328834" y="3559809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5" name="object 355"/>
              <p:cNvSpPr/>
              <p:nvPr/>
            </p:nvSpPr>
            <p:spPr>
              <a:xfrm>
                <a:off x="9654217" y="3568468"/>
                <a:ext cx="324929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49295" h="180975">
                    <a:moveTo>
                      <a:pt x="324890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48906" y="0"/>
                    </a:lnTo>
                    <a:lnTo>
                      <a:pt x="3248906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6" name="object 356"/>
              <p:cNvSpPr/>
              <p:nvPr/>
            </p:nvSpPr>
            <p:spPr>
              <a:xfrm>
                <a:off x="10328834" y="3314153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51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51"/>
                    </a:moveTo>
                    <a:lnTo>
                      <a:pt x="856386" y="184251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51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51"/>
                    </a:moveTo>
                    <a:lnTo>
                      <a:pt x="1712772" y="184251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51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51"/>
                    </a:moveTo>
                    <a:lnTo>
                      <a:pt x="2569159" y="184251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51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7" name="object 357"/>
              <p:cNvSpPr/>
              <p:nvPr/>
            </p:nvSpPr>
            <p:spPr>
              <a:xfrm>
                <a:off x="9542085" y="3342926"/>
                <a:ext cx="336105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361054" h="180975">
                    <a:moveTo>
                      <a:pt x="33610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361038" y="0"/>
                    </a:lnTo>
                    <a:lnTo>
                      <a:pt x="3361038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8" name="object 358"/>
              <p:cNvSpPr/>
              <p:nvPr/>
            </p:nvSpPr>
            <p:spPr>
              <a:xfrm>
                <a:off x="9472447" y="3068510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343598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23"/>
                    </a:lnTo>
                    <a:lnTo>
                      <a:pt x="10248" y="10223"/>
                    </a:lnTo>
                    <a:lnTo>
                      <a:pt x="10248" y="0"/>
                    </a:lnTo>
                    <a:close/>
                  </a:path>
                  <a:path w="343598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343598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94945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23"/>
                    </a:lnTo>
                    <a:lnTo>
                      <a:pt x="866635" y="10223"/>
                    </a:lnTo>
                    <a:lnTo>
                      <a:pt x="866635" y="0"/>
                    </a:lnTo>
                    <a:close/>
                  </a:path>
                  <a:path w="343598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343598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94945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23"/>
                    </a:lnTo>
                    <a:lnTo>
                      <a:pt x="1723021" y="10223"/>
                    </a:lnTo>
                    <a:lnTo>
                      <a:pt x="1723021" y="0"/>
                    </a:lnTo>
                    <a:close/>
                  </a:path>
                  <a:path w="343598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343598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94945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23"/>
                    </a:lnTo>
                    <a:lnTo>
                      <a:pt x="2579408" y="10223"/>
                    </a:lnTo>
                    <a:lnTo>
                      <a:pt x="2579408" y="0"/>
                    </a:lnTo>
                    <a:close/>
                  </a:path>
                  <a:path w="3435984" h="194945">
                    <a:moveTo>
                      <a:pt x="3435794" y="184238"/>
                    </a:moveTo>
                    <a:lnTo>
                      <a:pt x="3425545" y="184238"/>
                    </a:lnTo>
                    <a:lnTo>
                      <a:pt x="3425545" y="194475"/>
                    </a:lnTo>
                    <a:lnTo>
                      <a:pt x="3435794" y="194475"/>
                    </a:lnTo>
                    <a:lnTo>
                      <a:pt x="3435794" y="184238"/>
                    </a:lnTo>
                    <a:close/>
                  </a:path>
                  <a:path w="3435984" h="194945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94945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94945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23"/>
                    </a:lnTo>
                    <a:lnTo>
                      <a:pt x="3435794" y="10223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9" name="object 359"/>
              <p:cNvSpPr/>
              <p:nvPr/>
            </p:nvSpPr>
            <p:spPr>
              <a:xfrm>
                <a:off x="9372490" y="3117385"/>
                <a:ext cx="353123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31234" h="180975">
                    <a:moveTo>
                      <a:pt x="353063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30634" y="0"/>
                    </a:lnTo>
                    <a:lnTo>
                      <a:pt x="3530634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0" name="object 360"/>
              <p:cNvSpPr/>
              <p:nvPr/>
            </p:nvSpPr>
            <p:spPr>
              <a:xfrm>
                <a:off x="9472447" y="2884258"/>
                <a:ext cx="343598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343598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343598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33350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343598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343598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33350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343598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343598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33350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343598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343598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33350">
                    <a:moveTo>
                      <a:pt x="3435794" y="122834"/>
                    </a:moveTo>
                    <a:lnTo>
                      <a:pt x="3425545" y="122834"/>
                    </a:lnTo>
                    <a:lnTo>
                      <a:pt x="3425545" y="133070"/>
                    </a:lnTo>
                    <a:lnTo>
                      <a:pt x="3435794" y="133070"/>
                    </a:lnTo>
                    <a:lnTo>
                      <a:pt x="3435794" y="122834"/>
                    </a:lnTo>
                    <a:close/>
                  </a:path>
                  <a:path w="3435984" h="133350">
                    <a:moveTo>
                      <a:pt x="3435794" y="61417"/>
                    </a:moveTo>
                    <a:lnTo>
                      <a:pt x="3425545" y="61417"/>
                    </a:lnTo>
                    <a:lnTo>
                      <a:pt x="3425545" y="71653"/>
                    </a:lnTo>
                    <a:lnTo>
                      <a:pt x="3435794" y="71653"/>
                    </a:lnTo>
                    <a:lnTo>
                      <a:pt x="3435794" y="61417"/>
                    </a:lnTo>
                    <a:close/>
                  </a:path>
                  <a:path w="3435984" h="133350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1" name="object 361"/>
              <p:cNvSpPr/>
              <p:nvPr/>
            </p:nvSpPr>
            <p:spPr>
              <a:xfrm>
                <a:off x="9329408" y="2891843"/>
                <a:ext cx="357377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73779" h="180975">
                    <a:moveTo>
                      <a:pt x="357371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73716" y="0"/>
                    </a:lnTo>
                    <a:lnTo>
                      <a:pt x="3573716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2" name="object 362"/>
              <p:cNvSpPr/>
              <p:nvPr/>
            </p:nvSpPr>
            <p:spPr>
              <a:xfrm>
                <a:off x="9472447" y="2638615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4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3435984" h="194944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94944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9494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94944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3435984" h="194944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94944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94944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94944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3435984" h="194944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94944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94944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94944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3435984" h="194944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94944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94944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94944">
                    <a:moveTo>
                      <a:pt x="3435794" y="184238"/>
                    </a:moveTo>
                    <a:lnTo>
                      <a:pt x="3425545" y="184238"/>
                    </a:lnTo>
                    <a:lnTo>
                      <a:pt x="3425545" y="194475"/>
                    </a:lnTo>
                    <a:lnTo>
                      <a:pt x="3435794" y="194475"/>
                    </a:lnTo>
                    <a:lnTo>
                      <a:pt x="3435794" y="184238"/>
                    </a:lnTo>
                    <a:close/>
                  </a:path>
                  <a:path w="3435984" h="194944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94944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94944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3" name="object 363"/>
              <p:cNvSpPr/>
              <p:nvPr/>
            </p:nvSpPr>
            <p:spPr>
              <a:xfrm>
                <a:off x="9290140" y="2666301"/>
                <a:ext cx="36131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613150" h="180975">
                    <a:moveTo>
                      <a:pt x="361298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612983" y="0"/>
                    </a:lnTo>
                    <a:lnTo>
                      <a:pt x="361298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4" name="object 364"/>
              <p:cNvSpPr/>
              <p:nvPr/>
            </p:nvSpPr>
            <p:spPr>
              <a:xfrm>
                <a:off x="9472447" y="2392959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4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3435984" h="194944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94944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9494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94944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3435984" h="194944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94944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94944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94944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3435984" h="194944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94944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94944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94944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3435984" h="194944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94944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94944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94944">
                    <a:moveTo>
                      <a:pt x="3435794" y="184238"/>
                    </a:moveTo>
                    <a:lnTo>
                      <a:pt x="3425545" y="184238"/>
                    </a:lnTo>
                    <a:lnTo>
                      <a:pt x="3425545" y="194475"/>
                    </a:lnTo>
                    <a:lnTo>
                      <a:pt x="3435794" y="194475"/>
                    </a:lnTo>
                    <a:lnTo>
                      <a:pt x="3435794" y="184238"/>
                    </a:lnTo>
                    <a:close/>
                  </a:path>
                  <a:path w="3435984" h="194944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94944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94944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5" name="object 365"/>
              <p:cNvSpPr/>
              <p:nvPr/>
            </p:nvSpPr>
            <p:spPr>
              <a:xfrm>
                <a:off x="9301159" y="2440760"/>
                <a:ext cx="360235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602354" h="180975">
                    <a:moveTo>
                      <a:pt x="360196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601964" y="0"/>
                    </a:lnTo>
                    <a:lnTo>
                      <a:pt x="3601964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6" name="object 366"/>
              <p:cNvSpPr/>
              <p:nvPr/>
            </p:nvSpPr>
            <p:spPr>
              <a:xfrm>
                <a:off x="9472447" y="2208720"/>
                <a:ext cx="343598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33350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33350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33350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33350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33350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33350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33350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33350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33350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7" name="object 367"/>
              <p:cNvSpPr/>
              <p:nvPr/>
            </p:nvSpPr>
            <p:spPr>
              <a:xfrm>
                <a:off x="9325804" y="2215218"/>
                <a:ext cx="35775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77590" h="180975">
                    <a:moveTo>
                      <a:pt x="3577319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77319" y="0"/>
                    </a:lnTo>
                    <a:lnTo>
                      <a:pt x="3577319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8" name="object 368"/>
              <p:cNvSpPr/>
              <p:nvPr/>
            </p:nvSpPr>
            <p:spPr>
              <a:xfrm>
                <a:off x="12903124" y="2024468"/>
                <a:ext cx="571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5715" h="133350">
                    <a:moveTo>
                      <a:pt x="511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5118" y="133070"/>
                    </a:lnTo>
                    <a:lnTo>
                      <a:pt x="5118" y="122834"/>
                    </a:lnTo>
                    <a:close/>
                  </a:path>
                  <a:path w="5715" h="133350">
                    <a:moveTo>
                      <a:pt x="511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5118" y="71653"/>
                    </a:lnTo>
                    <a:lnTo>
                      <a:pt x="5118" y="61417"/>
                    </a:lnTo>
                    <a:close/>
                  </a:path>
                  <a:path w="5715" h="133350">
                    <a:moveTo>
                      <a:pt x="511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5118" y="10236"/>
                    </a:lnTo>
                    <a:lnTo>
                      <a:pt x="511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9" name="object 369"/>
              <p:cNvSpPr/>
              <p:nvPr/>
            </p:nvSpPr>
            <p:spPr>
              <a:xfrm>
                <a:off x="9331083" y="1989677"/>
                <a:ext cx="357251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72509" h="180975">
                    <a:moveTo>
                      <a:pt x="357204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72041" y="0"/>
                    </a:lnTo>
                    <a:lnTo>
                      <a:pt x="3572041" y="180433"/>
                    </a:lnTo>
                    <a:close/>
                  </a:path>
                </a:pathLst>
              </a:custGeom>
              <a:solidFill>
                <a:srgbClr val="E66B37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370" name="object 370"/>
            <p:cNvSpPr txBox="1"/>
            <p:nvPr/>
          </p:nvSpPr>
          <p:spPr>
            <a:xfrm>
              <a:off x="7835899" y="6308853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71" name="object 371"/>
            <p:cNvSpPr txBox="1"/>
            <p:nvPr/>
          </p:nvSpPr>
          <p:spPr>
            <a:xfrm>
              <a:off x="8562307" y="6308853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2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72" name="object 372"/>
            <p:cNvSpPr txBox="1"/>
            <p:nvPr/>
          </p:nvSpPr>
          <p:spPr>
            <a:xfrm>
              <a:off x="9156448" y="6293887"/>
              <a:ext cx="1307166" cy="367549"/>
            </a:xfrm>
            <a:prstGeom prst="rect">
              <a:avLst/>
            </a:prstGeom>
          </p:spPr>
          <p:txBody>
            <a:bodyPr vert="horz" wrap="square" lIns="0" tIns="28015" rIns="0" bIns="0" rtlCol="0">
              <a:spAutoFit/>
            </a:bodyPr>
            <a:lstStyle/>
            <a:p>
              <a:pPr algn="ctr">
                <a:spcBef>
                  <a:spcPts val="221"/>
                </a:spcBef>
                <a:tabLst>
                  <a:tab pos="755317" algn="l"/>
                </a:tabLst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40%	60%</a:t>
              </a:r>
              <a:endParaRPr sz="838" dirty="0">
                <a:latin typeface="Segoe UI"/>
                <a:cs typeface="Segoe UI"/>
              </a:endParaRPr>
            </a:p>
            <a:p>
              <a:pPr algn="ctr">
                <a:spcBef>
                  <a:spcPts val="194"/>
                </a:spcBef>
              </a:pPr>
              <a:r>
                <a:rPr sz="1200" spc="-26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Sentiment</a:t>
              </a:r>
              <a:r>
                <a:rPr sz="1200" spc="-119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 </a:t>
              </a:r>
              <a:r>
                <a:rPr sz="1200" spc="-31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Percentage</a:t>
              </a:r>
              <a:endParaRPr sz="1200" dirty="0">
                <a:latin typeface="Arial Narrow" panose="020B0606020202030204" pitchFamily="34" charset="0"/>
                <a:cs typeface="Tahoma"/>
              </a:endParaRPr>
            </a:p>
          </p:txBody>
        </p:sp>
        <p:sp>
          <p:nvSpPr>
            <p:cNvPr id="373" name="object 373"/>
            <p:cNvSpPr txBox="1"/>
            <p:nvPr/>
          </p:nvSpPr>
          <p:spPr>
            <a:xfrm>
              <a:off x="10829213" y="6308853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8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74" name="object 374"/>
            <p:cNvSpPr txBox="1"/>
            <p:nvPr/>
          </p:nvSpPr>
          <p:spPr>
            <a:xfrm>
              <a:off x="11555620" y="6308853"/>
              <a:ext cx="286871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10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75" name="object 375"/>
            <p:cNvSpPr txBox="1"/>
            <p:nvPr/>
          </p:nvSpPr>
          <p:spPr>
            <a:xfrm>
              <a:off x="7373828" y="3885082"/>
              <a:ext cx="153888" cy="403329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1204"/>
                </a:lnSpc>
              </a:pPr>
              <a:r>
                <a:rPr sz="1147" spc="-93" dirty="0">
                  <a:solidFill>
                    <a:srgbClr val="252423"/>
                  </a:solidFill>
                  <a:latin typeface="Tahoma"/>
                  <a:cs typeface="Tahoma"/>
                </a:rPr>
                <a:t>Y</a:t>
              </a:r>
              <a:r>
                <a:rPr sz="1147" dirty="0">
                  <a:solidFill>
                    <a:srgbClr val="252423"/>
                  </a:solidFill>
                  <a:latin typeface="Tahoma"/>
                  <a:cs typeface="Tahoma"/>
                </a:rPr>
                <a:t>ear</a:t>
              </a:r>
              <a:endParaRPr sz="1147" dirty="0">
                <a:latin typeface="Tahoma"/>
                <a:cs typeface="Tahoma"/>
              </a:endParaRPr>
            </a:p>
          </p:txBody>
        </p:sp>
        <p:sp>
          <p:nvSpPr>
            <p:cNvPr id="376" name="object 376"/>
            <p:cNvSpPr txBox="1"/>
            <p:nvPr/>
          </p:nvSpPr>
          <p:spPr>
            <a:xfrm>
              <a:off x="7585321" y="5332430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77" name="object 377"/>
            <p:cNvSpPr txBox="1"/>
            <p:nvPr/>
          </p:nvSpPr>
          <p:spPr>
            <a:xfrm>
              <a:off x="7585321" y="4337393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78" name="object 378"/>
            <p:cNvSpPr txBox="1"/>
            <p:nvPr/>
          </p:nvSpPr>
          <p:spPr>
            <a:xfrm>
              <a:off x="7585321" y="3342357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79" name="object 379"/>
            <p:cNvSpPr txBox="1"/>
            <p:nvPr/>
          </p:nvSpPr>
          <p:spPr>
            <a:xfrm>
              <a:off x="7585321" y="2347320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0" name="object 380"/>
            <p:cNvSpPr/>
            <p:nvPr/>
          </p:nvSpPr>
          <p:spPr>
            <a:xfrm>
              <a:off x="7389761" y="1507062"/>
              <a:ext cx="89416" cy="92417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1" name="object 381"/>
            <p:cNvSpPr/>
            <p:nvPr/>
          </p:nvSpPr>
          <p:spPr>
            <a:xfrm>
              <a:off x="8031228" y="1507062"/>
              <a:ext cx="89416" cy="92417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2" name="object 382"/>
            <p:cNvSpPr/>
            <p:nvPr/>
          </p:nvSpPr>
          <p:spPr>
            <a:xfrm>
              <a:off x="8591381" y="1507062"/>
              <a:ext cx="89416" cy="92417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3" name="object 383"/>
            <p:cNvSpPr txBox="1"/>
            <p:nvPr/>
          </p:nvSpPr>
          <p:spPr>
            <a:xfrm>
              <a:off x="7434469" y="1168745"/>
              <a:ext cx="2143752" cy="460915"/>
            </a:xfrm>
            <a:prstGeom prst="rect">
              <a:avLst/>
            </a:prstGeom>
          </p:spPr>
          <p:txBody>
            <a:bodyPr vert="horz" wrap="square" lIns="0" tIns="11766" rIns="0" bIns="0" rtlCol="0">
              <a:spAutoFit/>
            </a:bodyPr>
            <a:lstStyle/>
            <a:p>
              <a:pPr marL="11206">
                <a:spcBef>
                  <a:spcPts val="93"/>
                </a:spcBef>
              </a:pPr>
              <a:r>
                <a:rPr sz="1324" b="1" spc="-53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Sentiment Percentage </a:t>
              </a:r>
              <a:r>
                <a:rPr sz="1324" b="1" spc="-66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by</a:t>
              </a:r>
              <a:r>
                <a:rPr sz="1324" b="1" spc="-212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 </a:t>
              </a:r>
              <a:r>
                <a:rPr sz="1324" b="1" spc="-75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Year</a:t>
              </a:r>
              <a:endParaRPr sz="1324" b="1" dirty="0">
                <a:latin typeface="Arial Narrow" panose="020B0606020202030204" pitchFamily="34" charset="0"/>
                <a:cs typeface="Tahoma"/>
              </a:endParaRPr>
            </a:p>
            <a:p>
              <a:pPr marL="129435">
                <a:spcBef>
                  <a:spcPts val="799"/>
                </a:spcBef>
                <a:tabLst>
                  <a:tab pos="769885" algn="l"/>
                  <a:tab pos="1328528" algn="l"/>
                </a:tabLst>
              </a:pPr>
              <a:r>
                <a:rPr sz="927" spc="9" dirty="0">
                  <a:solidFill>
                    <a:srgbClr val="605D5C"/>
                  </a:solidFill>
                  <a:latin typeface="Segoe UI"/>
                  <a:cs typeface="Segoe UI"/>
                </a:rPr>
                <a:t>Negative	Neutral	</a:t>
              </a:r>
              <a:r>
                <a:rPr sz="927" spc="4" dirty="0">
                  <a:solidFill>
                    <a:srgbClr val="605D5C"/>
                  </a:solidFill>
                  <a:latin typeface="Segoe UI"/>
                  <a:cs typeface="Segoe UI"/>
                </a:rPr>
                <a:t>Positive</a:t>
              </a:r>
              <a:endParaRPr sz="927" dirty="0">
                <a:latin typeface="Segoe UI"/>
                <a:cs typeface="Segoe UI"/>
              </a:endParaRPr>
            </a:p>
          </p:txBody>
        </p:sp>
      </p:grpSp>
      <p:sp>
        <p:nvSpPr>
          <p:cNvPr id="386" name="object 2"/>
          <p:cNvSpPr txBox="1"/>
          <p:nvPr/>
        </p:nvSpPr>
        <p:spPr>
          <a:xfrm>
            <a:off x="6729735" y="300844"/>
            <a:ext cx="660026" cy="196886"/>
          </a:xfrm>
          <a:prstGeom prst="rect">
            <a:avLst/>
          </a:prstGeom>
          <a:solidFill>
            <a:srgbClr val="FFC823"/>
          </a:solidFill>
          <a:ln w="10239">
            <a:solidFill>
              <a:srgbClr val="E9E9E9"/>
            </a:solidFill>
          </a:ln>
        </p:spPr>
        <p:txBody>
          <a:bodyPr vert="horz" wrap="square" lIns="0" tIns="42582" rIns="0" bIns="0" rtlCol="0">
            <a:spAutoFit/>
          </a:bodyPr>
          <a:lstStyle/>
          <a:p>
            <a:pPr marL="58274">
              <a:spcBef>
                <a:spcPts val="335"/>
              </a:spcBef>
            </a:pPr>
            <a:r>
              <a:rPr sz="1000" spc="9" dirty="0">
                <a:latin typeface="Arial Black"/>
                <a:cs typeface="Arial Black"/>
              </a:rPr>
              <a:t>1996</a:t>
            </a:r>
            <a:endParaRPr sz="1000" dirty="0">
              <a:latin typeface="Arial Black"/>
              <a:cs typeface="Arial Black"/>
            </a:endParaRPr>
          </a:p>
        </p:txBody>
      </p:sp>
      <p:sp>
        <p:nvSpPr>
          <p:cNvPr id="387" name="object 3"/>
          <p:cNvSpPr txBox="1"/>
          <p:nvPr/>
        </p:nvSpPr>
        <p:spPr>
          <a:xfrm>
            <a:off x="8322417" y="311005"/>
            <a:ext cx="660026" cy="196886"/>
          </a:xfrm>
          <a:prstGeom prst="rect">
            <a:avLst/>
          </a:prstGeom>
          <a:solidFill>
            <a:srgbClr val="FFC823"/>
          </a:solidFill>
          <a:ln w="10239">
            <a:solidFill>
              <a:srgbClr val="E9E9E9"/>
            </a:solidFill>
          </a:ln>
        </p:spPr>
        <p:txBody>
          <a:bodyPr vert="horz" wrap="square" lIns="0" tIns="42582" rIns="0" bIns="0" rtlCol="0">
            <a:spAutoFit/>
          </a:bodyPr>
          <a:lstStyle/>
          <a:p>
            <a:pPr marL="57713">
              <a:spcBef>
                <a:spcPts val="335"/>
              </a:spcBef>
            </a:pPr>
            <a:r>
              <a:rPr sz="1000" spc="9" dirty="0">
                <a:latin typeface="Arial Black"/>
                <a:cs typeface="Arial Black"/>
              </a:rPr>
              <a:t>2018</a:t>
            </a:r>
            <a:endParaRPr sz="1000" dirty="0">
              <a:latin typeface="Arial Black"/>
              <a:cs typeface="Arial Black"/>
            </a:endParaRPr>
          </a:p>
        </p:txBody>
      </p:sp>
      <p:grpSp>
        <p:nvGrpSpPr>
          <p:cNvPr id="388" name="object 4"/>
          <p:cNvGrpSpPr/>
          <p:nvPr/>
        </p:nvGrpSpPr>
        <p:grpSpPr>
          <a:xfrm>
            <a:off x="6734237" y="604634"/>
            <a:ext cx="2312894" cy="235324"/>
            <a:chOff x="6626555" y="649843"/>
            <a:chExt cx="2621280" cy="266700"/>
          </a:xfrm>
        </p:grpSpPr>
        <p:sp>
          <p:nvSpPr>
            <p:cNvPr id="389" name="object 5"/>
            <p:cNvSpPr/>
            <p:nvPr/>
          </p:nvSpPr>
          <p:spPr>
            <a:xfrm>
              <a:off x="6759667" y="762476"/>
              <a:ext cx="2375535" cy="31115"/>
            </a:xfrm>
            <a:custGeom>
              <a:avLst/>
              <a:gdLst/>
              <a:ahLst/>
              <a:cxnLst/>
              <a:rect l="l" t="t" r="r" b="b"/>
              <a:pathLst>
                <a:path w="2375534" h="31115">
                  <a:moveTo>
                    <a:pt x="2375534" y="30718"/>
                  </a:moveTo>
                  <a:lnTo>
                    <a:pt x="0" y="30718"/>
                  </a:lnTo>
                  <a:lnTo>
                    <a:pt x="0" y="0"/>
                  </a:lnTo>
                  <a:lnTo>
                    <a:pt x="2375534" y="0"/>
                  </a:lnTo>
                  <a:lnTo>
                    <a:pt x="2375534" y="30718"/>
                  </a:lnTo>
                  <a:close/>
                </a:path>
              </a:pathLst>
            </a:custGeom>
            <a:solidFill>
              <a:srgbClr val="E9E9E9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0" name="object 6"/>
            <p:cNvSpPr/>
            <p:nvPr/>
          </p:nvSpPr>
          <p:spPr>
            <a:xfrm>
              <a:off x="6759667" y="762476"/>
              <a:ext cx="2375535" cy="31115"/>
            </a:xfrm>
            <a:custGeom>
              <a:avLst/>
              <a:gdLst/>
              <a:ahLst/>
              <a:cxnLst/>
              <a:rect l="l" t="t" r="r" b="b"/>
              <a:pathLst>
                <a:path w="2375534" h="31115">
                  <a:moveTo>
                    <a:pt x="2368122" y="30718"/>
                  </a:moveTo>
                  <a:lnTo>
                    <a:pt x="7411" y="30718"/>
                  </a:lnTo>
                  <a:lnTo>
                    <a:pt x="4998" y="29718"/>
                  </a:lnTo>
                  <a:lnTo>
                    <a:pt x="999" y="25719"/>
                  </a:lnTo>
                  <a:lnTo>
                    <a:pt x="0" y="23306"/>
                  </a:lnTo>
                  <a:lnTo>
                    <a:pt x="0" y="20478"/>
                  </a:lnTo>
                  <a:lnTo>
                    <a:pt x="0" y="7411"/>
                  </a:lnTo>
                  <a:lnTo>
                    <a:pt x="999" y="4998"/>
                  </a:lnTo>
                  <a:lnTo>
                    <a:pt x="4998" y="999"/>
                  </a:lnTo>
                  <a:lnTo>
                    <a:pt x="7411" y="0"/>
                  </a:lnTo>
                  <a:lnTo>
                    <a:pt x="2368122" y="0"/>
                  </a:lnTo>
                  <a:lnTo>
                    <a:pt x="2370536" y="999"/>
                  </a:lnTo>
                  <a:lnTo>
                    <a:pt x="2374534" y="4998"/>
                  </a:lnTo>
                  <a:lnTo>
                    <a:pt x="2375534" y="7411"/>
                  </a:lnTo>
                  <a:lnTo>
                    <a:pt x="2375534" y="23306"/>
                  </a:lnTo>
                  <a:lnTo>
                    <a:pt x="2374534" y="25719"/>
                  </a:lnTo>
                  <a:lnTo>
                    <a:pt x="2370536" y="29718"/>
                  </a:lnTo>
                  <a:lnTo>
                    <a:pt x="2368122" y="30718"/>
                  </a:lnTo>
                  <a:close/>
                </a:path>
              </a:pathLst>
            </a:custGeom>
            <a:solidFill>
              <a:srgbClr val="232E3F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1" name="object 7"/>
            <p:cNvSpPr/>
            <p:nvPr/>
          </p:nvSpPr>
          <p:spPr>
            <a:xfrm>
              <a:off x="9114723" y="762476"/>
              <a:ext cx="20955" cy="31115"/>
            </a:xfrm>
            <a:custGeom>
              <a:avLst/>
              <a:gdLst/>
              <a:ahLst/>
              <a:cxnLst/>
              <a:rect l="l" t="t" r="r" b="b"/>
              <a:pathLst>
                <a:path w="20954" h="31115">
                  <a:moveTo>
                    <a:pt x="20478" y="30718"/>
                  </a:moveTo>
                  <a:lnTo>
                    <a:pt x="0" y="30718"/>
                  </a:lnTo>
                  <a:lnTo>
                    <a:pt x="0" y="0"/>
                  </a:lnTo>
                  <a:lnTo>
                    <a:pt x="20478" y="0"/>
                  </a:lnTo>
                  <a:lnTo>
                    <a:pt x="20478" y="30718"/>
                  </a:lnTo>
                  <a:close/>
                </a:path>
              </a:pathLst>
            </a:custGeom>
            <a:solidFill>
              <a:srgbClr val="E9E9E9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2" name="object 8"/>
            <p:cNvSpPr/>
            <p:nvPr/>
          </p:nvSpPr>
          <p:spPr>
            <a:xfrm>
              <a:off x="6636794" y="660082"/>
              <a:ext cx="245745" cy="245744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3" name="object 9"/>
            <p:cNvSpPr/>
            <p:nvPr/>
          </p:nvSpPr>
          <p:spPr>
            <a:xfrm>
              <a:off x="6636794" y="660082"/>
              <a:ext cx="245745" cy="245745"/>
            </a:xfrm>
            <a:custGeom>
              <a:avLst/>
              <a:gdLst/>
              <a:ahLst/>
              <a:cxnLst/>
              <a:rect l="l" t="t" r="r" b="b"/>
              <a:pathLst>
                <a:path w="245745" h="245744">
                  <a:moveTo>
                    <a:pt x="245745" y="122872"/>
                  </a:moveTo>
                  <a:lnTo>
                    <a:pt x="239479" y="162439"/>
                  </a:lnTo>
                  <a:lnTo>
                    <a:pt x="236391" y="169893"/>
                  </a:lnTo>
                  <a:lnTo>
                    <a:pt x="233304" y="177347"/>
                  </a:lnTo>
                  <a:lnTo>
                    <a:pt x="229519" y="184428"/>
                  </a:lnTo>
                  <a:lnTo>
                    <a:pt x="225037" y="191136"/>
                  </a:lnTo>
                  <a:lnTo>
                    <a:pt x="220554" y="197844"/>
                  </a:lnTo>
                  <a:lnTo>
                    <a:pt x="215461" y="204051"/>
                  </a:lnTo>
                  <a:lnTo>
                    <a:pt x="209756" y="209756"/>
                  </a:lnTo>
                  <a:lnTo>
                    <a:pt x="204051" y="215461"/>
                  </a:lnTo>
                  <a:lnTo>
                    <a:pt x="169893" y="236391"/>
                  </a:lnTo>
                  <a:lnTo>
                    <a:pt x="162439" y="239479"/>
                  </a:lnTo>
                  <a:lnTo>
                    <a:pt x="154756" y="241810"/>
                  </a:lnTo>
                  <a:lnTo>
                    <a:pt x="146843" y="243383"/>
                  </a:lnTo>
                  <a:lnTo>
                    <a:pt x="138930" y="244957"/>
                  </a:lnTo>
                  <a:lnTo>
                    <a:pt x="130940" y="245744"/>
                  </a:lnTo>
                  <a:lnTo>
                    <a:pt x="122872" y="245744"/>
                  </a:lnTo>
                  <a:lnTo>
                    <a:pt x="114804" y="245744"/>
                  </a:lnTo>
                  <a:lnTo>
                    <a:pt x="106814" y="244957"/>
                  </a:lnTo>
                  <a:lnTo>
                    <a:pt x="98901" y="243383"/>
                  </a:lnTo>
                  <a:lnTo>
                    <a:pt x="90988" y="241810"/>
                  </a:lnTo>
                  <a:lnTo>
                    <a:pt x="83304" y="239479"/>
                  </a:lnTo>
                  <a:lnTo>
                    <a:pt x="75851" y="236391"/>
                  </a:lnTo>
                  <a:lnTo>
                    <a:pt x="68397" y="233304"/>
                  </a:lnTo>
                  <a:lnTo>
                    <a:pt x="61316" y="229519"/>
                  </a:lnTo>
                  <a:lnTo>
                    <a:pt x="54608" y="225037"/>
                  </a:lnTo>
                  <a:lnTo>
                    <a:pt x="47899" y="220554"/>
                  </a:lnTo>
                  <a:lnTo>
                    <a:pt x="20707" y="191136"/>
                  </a:lnTo>
                  <a:lnTo>
                    <a:pt x="9353" y="169893"/>
                  </a:lnTo>
                  <a:lnTo>
                    <a:pt x="6265" y="162439"/>
                  </a:lnTo>
                  <a:lnTo>
                    <a:pt x="3934" y="154756"/>
                  </a:lnTo>
                  <a:lnTo>
                    <a:pt x="2360" y="146843"/>
                  </a:lnTo>
                  <a:lnTo>
                    <a:pt x="786" y="138930"/>
                  </a:lnTo>
                  <a:lnTo>
                    <a:pt x="0" y="130940"/>
                  </a:lnTo>
                  <a:lnTo>
                    <a:pt x="0" y="122872"/>
                  </a:lnTo>
                  <a:lnTo>
                    <a:pt x="0" y="114804"/>
                  </a:lnTo>
                  <a:lnTo>
                    <a:pt x="786" y="106814"/>
                  </a:lnTo>
                  <a:lnTo>
                    <a:pt x="2360" y="98901"/>
                  </a:lnTo>
                  <a:lnTo>
                    <a:pt x="3934" y="90988"/>
                  </a:lnTo>
                  <a:lnTo>
                    <a:pt x="6265" y="83304"/>
                  </a:lnTo>
                  <a:lnTo>
                    <a:pt x="9353" y="75851"/>
                  </a:lnTo>
                  <a:lnTo>
                    <a:pt x="12440" y="68397"/>
                  </a:lnTo>
                  <a:lnTo>
                    <a:pt x="35988" y="35988"/>
                  </a:lnTo>
                  <a:lnTo>
                    <a:pt x="41693" y="30283"/>
                  </a:lnTo>
                  <a:lnTo>
                    <a:pt x="47899" y="25190"/>
                  </a:lnTo>
                  <a:lnTo>
                    <a:pt x="54608" y="20707"/>
                  </a:lnTo>
                  <a:lnTo>
                    <a:pt x="61316" y="16225"/>
                  </a:lnTo>
                  <a:lnTo>
                    <a:pt x="98901" y="2360"/>
                  </a:lnTo>
                  <a:lnTo>
                    <a:pt x="114804" y="0"/>
                  </a:lnTo>
                  <a:lnTo>
                    <a:pt x="122872" y="0"/>
                  </a:lnTo>
                  <a:lnTo>
                    <a:pt x="130940" y="0"/>
                  </a:lnTo>
                  <a:lnTo>
                    <a:pt x="138930" y="786"/>
                  </a:lnTo>
                  <a:lnTo>
                    <a:pt x="146843" y="2360"/>
                  </a:lnTo>
                  <a:lnTo>
                    <a:pt x="154756" y="3934"/>
                  </a:lnTo>
                  <a:lnTo>
                    <a:pt x="191136" y="20707"/>
                  </a:lnTo>
                  <a:lnTo>
                    <a:pt x="209756" y="35988"/>
                  </a:lnTo>
                  <a:lnTo>
                    <a:pt x="215461" y="41693"/>
                  </a:lnTo>
                  <a:lnTo>
                    <a:pt x="220554" y="47899"/>
                  </a:lnTo>
                  <a:lnTo>
                    <a:pt x="225037" y="54608"/>
                  </a:lnTo>
                  <a:lnTo>
                    <a:pt x="229519" y="61316"/>
                  </a:lnTo>
                  <a:lnTo>
                    <a:pt x="233304" y="68397"/>
                  </a:lnTo>
                  <a:lnTo>
                    <a:pt x="236391" y="75851"/>
                  </a:lnTo>
                  <a:lnTo>
                    <a:pt x="239479" y="83304"/>
                  </a:lnTo>
                  <a:lnTo>
                    <a:pt x="241810" y="90988"/>
                  </a:lnTo>
                  <a:lnTo>
                    <a:pt x="243384" y="98901"/>
                  </a:lnTo>
                  <a:lnTo>
                    <a:pt x="244957" y="106814"/>
                  </a:lnTo>
                  <a:lnTo>
                    <a:pt x="245744" y="114804"/>
                  </a:lnTo>
                  <a:lnTo>
                    <a:pt x="245745" y="122872"/>
                  </a:lnTo>
                  <a:close/>
                </a:path>
              </a:pathLst>
            </a:custGeom>
            <a:ln w="20478">
              <a:solidFill>
                <a:srgbClr val="232E3F"/>
              </a:solidFill>
            </a:ln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4" name="object 10"/>
            <p:cNvSpPr/>
            <p:nvPr/>
          </p:nvSpPr>
          <p:spPr>
            <a:xfrm>
              <a:off x="8991850" y="660082"/>
              <a:ext cx="245745" cy="245744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5" name="object 11"/>
            <p:cNvSpPr/>
            <p:nvPr/>
          </p:nvSpPr>
          <p:spPr>
            <a:xfrm>
              <a:off x="8991850" y="660082"/>
              <a:ext cx="245745" cy="245745"/>
            </a:xfrm>
            <a:custGeom>
              <a:avLst/>
              <a:gdLst/>
              <a:ahLst/>
              <a:cxnLst/>
              <a:rect l="l" t="t" r="r" b="b"/>
              <a:pathLst>
                <a:path w="245745" h="245744">
                  <a:moveTo>
                    <a:pt x="245745" y="122872"/>
                  </a:moveTo>
                  <a:lnTo>
                    <a:pt x="245745" y="130940"/>
                  </a:lnTo>
                  <a:lnTo>
                    <a:pt x="244958" y="138930"/>
                  </a:lnTo>
                  <a:lnTo>
                    <a:pt x="243384" y="146843"/>
                  </a:lnTo>
                  <a:lnTo>
                    <a:pt x="241810" y="154756"/>
                  </a:lnTo>
                  <a:lnTo>
                    <a:pt x="225036" y="191136"/>
                  </a:lnTo>
                  <a:lnTo>
                    <a:pt x="220554" y="197844"/>
                  </a:lnTo>
                  <a:lnTo>
                    <a:pt x="191136" y="225037"/>
                  </a:lnTo>
                  <a:lnTo>
                    <a:pt x="184428" y="229519"/>
                  </a:lnTo>
                  <a:lnTo>
                    <a:pt x="177347" y="233304"/>
                  </a:lnTo>
                  <a:lnTo>
                    <a:pt x="169893" y="236391"/>
                  </a:lnTo>
                  <a:lnTo>
                    <a:pt x="162440" y="239479"/>
                  </a:lnTo>
                  <a:lnTo>
                    <a:pt x="154756" y="241810"/>
                  </a:lnTo>
                  <a:lnTo>
                    <a:pt x="146843" y="243383"/>
                  </a:lnTo>
                  <a:lnTo>
                    <a:pt x="138930" y="244957"/>
                  </a:lnTo>
                  <a:lnTo>
                    <a:pt x="130940" y="245744"/>
                  </a:lnTo>
                  <a:lnTo>
                    <a:pt x="122872" y="245744"/>
                  </a:lnTo>
                  <a:lnTo>
                    <a:pt x="114804" y="245744"/>
                  </a:lnTo>
                  <a:lnTo>
                    <a:pt x="75851" y="236391"/>
                  </a:lnTo>
                  <a:lnTo>
                    <a:pt x="68397" y="233304"/>
                  </a:lnTo>
                  <a:lnTo>
                    <a:pt x="35988" y="209756"/>
                  </a:lnTo>
                  <a:lnTo>
                    <a:pt x="12440" y="177347"/>
                  </a:lnTo>
                  <a:lnTo>
                    <a:pt x="9353" y="169893"/>
                  </a:lnTo>
                  <a:lnTo>
                    <a:pt x="6265" y="162439"/>
                  </a:lnTo>
                  <a:lnTo>
                    <a:pt x="3934" y="154756"/>
                  </a:lnTo>
                  <a:lnTo>
                    <a:pt x="2360" y="146843"/>
                  </a:lnTo>
                  <a:lnTo>
                    <a:pt x="786" y="138930"/>
                  </a:lnTo>
                  <a:lnTo>
                    <a:pt x="0" y="130940"/>
                  </a:lnTo>
                  <a:lnTo>
                    <a:pt x="0" y="122872"/>
                  </a:lnTo>
                  <a:lnTo>
                    <a:pt x="0" y="114804"/>
                  </a:lnTo>
                  <a:lnTo>
                    <a:pt x="786" y="106814"/>
                  </a:lnTo>
                  <a:lnTo>
                    <a:pt x="2360" y="98901"/>
                  </a:lnTo>
                  <a:lnTo>
                    <a:pt x="3934" y="90988"/>
                  </a:lnTo>
                  <a:lnTo>
                    <a:pt x="6265" y="83304"/>
                  </a:lnTo>
                  <a:lnTo>
                    <a:pt x="9353" y="75851"/>
                  </a:lnTo>
                  <a:lnTo>
                    <a:pt x="12440" y="68397"/>
                  </a:lnTo>
                  <a:lnTo>
                    <a:pt x="16225" y="61316"/>
                  </a:lnTo>
                  <a:lnTo>
                    <a:pt x="20707" y="54608"/>
                  </a:lnTo>
                  <a:lnTo>
                    <a:pt x="25190" y="47899"/>
                  </a:lnTo>
                  <a:lnTo>
                    <a:pt x="30283" y="41693"/>
                  </a:lnTo>
                  <a:lnTo>
                    <a:pt x="35988" y="35988"/>
                  </a:lnTo>
                  <a:lnTo>
                    <a:pt x="41693" y="30283"/>
                  </a:lnTo>
                  <a:lnTo>
                    <a:pt x="47899" y="25190"/>
                  </a:lnTo>
                  <a:lnTo>
                    <a:pt x="54608" y="20707"/>
                  </a:lnTo>
                  <a:lnTo>
                    <a:pt x="61316" y="16225"/>
                  </a:lnTo>
                  <a:lnTo>
                    <a:pt x="98901" y="2360"/>
                  </a:lnTo>
                  <a:lnTo>
                    <a:pt x="114804" y="0"/>
                  </a:lnTo>
                  <a:lnTo>
                    <a:pt x="122872" y="0"/>
                  </a:lnTo>
                  <a:lnTo>
                    <a:pt x="130940" y="0"/>
                  </a:lnTo>
                  <a:lnTo>
                    <a:pt x="138930" y="786"/>
                  </a:lnTo>
                  <a:lnTo>
                    <a:pt x="146843" y="2360"/>
                  </a:lnTo>
                  <a:lnTo>
                    <a:pt x="154756" y="3934"/>
                  </a:lnTo>
                  <a:lnTo>
                    <a:pt x="162440" y="6265"/>
                  </a:lnTo>
                  <a:lnTo>
                    <a:pt x="169893" y="9353"/>
                  </a:lnTo>
                  <a:lnTo>
                    <a:pt x="177347" y="12440"/>
                  </a:lnTo>
                  <a:lnTo>
                    <a:pt x="184428" y="16225"/>
                  </a:lnTo>
                  <a:lnTo>
                    <a:pt x="191136" y="20707"/>
                  </a:lnTo>
                  <a:lnTo>
                    <a:pt x="197844" y="25190"/>
                  </a:lnTo>
                  <a:lnTo>
                    <a:pt x="204051" y="30283"/>
                  </a:lnTo>
                  <a:lnTo>
                    <a:pt x="209756" y="35988"/>
                  </a:lnTo>
                  <a:lnTo>
                    <a:pt x="215461" y="41693"/>
                  </a:lnTo>
                  <a:lnTo>
                    <a:pt x="220554" y="47899"/>
                  </a:lnTo>
                  <a:lnTo>
                    <a:pt x="225037" y="54608"/>
                  </a:lnTo>
                  <a:lnTo>
                    <a:pt x="229519" y="61316"/>
                  </a:lnTo>
                  <a:lnTo>
                    <a:pt x="243384" y="98901"/>
                  </a:lnTo>
                  <a:lnTo>
                    <a:pt x="245745" y="114804"/>
                  </a:lnTo>
                  <a:lnTo>
                    <a:pt x="245745" y="122872"/>
                  </a:lnTo>
                  <a:close/>
                </a:path>
              </a:pathLst>
            </a:custGeom>
            <a:ln w="20478">
              <a:solidFill>
                <a:srgbClr val="232E3F"/>
              </a:solidFill>
            </a:ln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6A4B39F1-CA72-4406-B0B3-F20C76804DC2}"/>
              </a:ext>
            </a:extLst>
          </p:cNvPr>
          <p:cNvGrpSpPr/>
          <p:nvPr/>
        </p:nvGrpSpPr>
        <p:grpSpPr>
          <a:xfrm>
            <a:off x="323960" y="270192"/>
            <a:ext cx="6224227" cy="488016"/>
            <a:chOff x="323960" y="318319"/>
            <a:chExt cx="6224227" cy="488016"/>
          </a:xfrm>
          <a:solidFill>
            <a:srgbClr val="FFB618"/>
          </a:solidFill>
        </p:grpSpPr>
        <p:sp>
          <p:nvSpPr>
            <p:cNvPr id="396" name="object 156"/>
            <p:cNvSpPr/>
            <p:nvPr/>
          </p:nvSpPr>
          <p:spPr>
            <a:xfrm>
              <a:off x="323960" y="318319"/>
              <a:ext cx="6224227" cy="488016"/>
            </a:xfrm>
            <a:custGeom>
              <a:avLst/>
              <a:gdLst/>
              <a:ahLst/>
              <a:cxnLst/>
              <a:rect l="l" t="t" r="r" b="b"/>
              <a:pathLst>
                <a:path w="6492240" h="553085">
                  <a:moveTo>
                    <a:pt x="6491763" y="552926"/>
                  </a:moveTo>
                  <a:lnTo>
                    <a:pt x="0" y="552926"/>
                  </a:lnTo>
                  <a:lnTo>
                    <a:pt x="0" y="0"/>
                  </a:lnTo>
                  <a:lnTo>
                    <a:pt x="6491763" y="0"/>
                  </a:lnTo>
                  <a:lnTo>
                    <a:pt x="6491763" y="55292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7" name="object 157"/>
            <p:cNvSpPr txBox="1"/>
            <p:nvPr/>
          </p:nvSpPr>
          <p:spPr>
            <a:xfrm>
              <a:off x="401514" y="420509"/>
              <a:ext cx="5504329" cy="273360"/>
            </a:xfrm>
            <a:prstGeom prst="rect">
              <a:avLst/>
            </a:prstGeom>
            <a:grpFill/>
          </p:spPr>
          <p:txBody>
            <a:bodyPr vert="horz" wrap="square" lIns="0" tIns="15128" rIns="0" bIns="0" rtlCol="0">
              <a:spAutoFit/>
            </a:bodyPr>
            <a:lstStyle/>
            <a:p>
              <a:pPr marL="11206">
                <a:spcBef>
                  <a:spcPts val="119"/>
                </a:spcBef>
              </a:pPr>
              <a:r>
                <a:rPr sz="1677" b="1" i="1" spc="18" dirty="0">
                  <a:latin typeface="Segoe UI"/>
                  <a:cs typeface="Segoe UI"/>
                </a:rPr>
                <a:t>Has </a:t>
              </a:r>
              <a:r>
                <a:rPr sz="1677" b="1" i="1" spc="13" dirty="0">
                  <a:latin typeface="Segoe UI"/>
                  <a:cs typeface="Segoe UI"/>
                </a:rPr>
                <a:t>the overall content of reviews changed over</a:t>
              </a:r>
              <a:r>
                <a:rPr sz="1677" b="1" i="1" spc="-49" dirty="0">
                  <a:latin typeface="Segoe UI"/>
                  <a:cs typeface="Segoe UI"/>
                </a:rPr>
                <a:t> </a:t>
              </a:r>
              <a:r>
                <a:rPr sz="1677" b="1" i="1" spc="13" dirty="0">
                  <a:latin typeface="Segoe UI"/>
                  <a:cs typeface="Segoe UI"/>
                </a:rPr>
                <a:t>time?</a:t>
              </a:r>
              <a:endParaRPr sz="1677" dirty="0">
                <a:latin typeface="Segoe UI"/>
                <a:cs typeface="Segoe UI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4FBEA6D-1F47-4285-84E3-4DEA4A342996}"/>
              </a:ext>
            </a:extLst>
          </p:cNvPr>
          <p:cNvGrpSpPr/>
          <p:nvPr/>
        </p:nvGrpSpPr>
        <p:grpSpPr>
          <a:xfrm>
            <a:off x="182780" y="1217982"/>
            <a:ext cx="6701173" cy="5124427"/>
            <a:chOff x="182780" y="1217982"/>
            <a:chExt cx="6701173" cy="5124427"/>
          </a:xfrm>
        </p:grpSpPr>
        <p:pic>
          <p:nvPicPr>
            <p:cNvPr id="385" name="Picture 38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82780" y="1217982"/>
              <a:ext cx="6701173" cy="5124427"/>
            </a:xfrm>
            <a:prstGeom prst="rect">
              <a:avLst/>
            </a:prstGeom>
          </p:spPr>
        </p:pic>
        <p:sp>
          <p:nvSpPr>
            <p:cNvPr id="404" name="Oval 403"/>
            <p:cNvSpPr/>
            <p:nvPr/>
          </p:nvSpPr>
          <p:spPr>
            <a:xfrm rot="17183036">
              <a:off x="2317743" y="5302587"/>
              <a:ext cx="293066" cy="655611"/>
            </a:xfrm>
            <a:prstGeom prst="ellipse">
              <a:avLst/>
            </a:prstGeom>
            <a:noFill/>
            <a:ln w="3810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05" name="Oval 404"/>
            <p:cNvSpPr/>
            <p:nvPr/>
          </p:nvSpPr>
          <p:spPr>
            <a:xfrm rot="1494627">
              <a:off x="2457651" y="1661972"/>
              <a:ext cx="328616" cy="547818"/>
            </a:xfrm>
            <a:prstGeom prst="ellipse">
              <a:avLst/>
            </a:prstGeom>
            <a:noFill/>
            <a:ln w="3810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89C4BD3A-B234-4F14-BB36-F0B7EB840DF6}"/>
                </a:ext>
              </a:extLst>
            </p:cNvPr>
            <p:cNvSpPr/>
            <p:nvPr/>
          </p:nvSpPr>
          <p:spPr>
            <a:xfrm rot="18181976">
              <a:off x="3910861" y="2440098"/>
              <a:ext cx="606830" cy="386671"/>
            </a:xfrm>
            <a:prstGeom prst="ellipse">
              <a:avLst/>
            </a:prstGeom>
            <a:noFill/>
            <a:ln w="3810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EE376338-DCB6-4497-A444-55F3B4DF17C7}"/>
                </a:ext>
              </a:extLst>
            </p:cNvPr>
            <p:cNvSpPr/>
            <p:nvPr/>
          </p:nvSpPr>
          <p:spPr>
            <a:xfrm rot="18181976">
              <a:off x="2580833" y="2777231"/>
              <a:ext cx="606830" cy="323919"/>
            </a:xfrm>
            <a:prstGeom prst="ellipse">
              <a:avLst/>
            </a:prstGeom>
            <a:noFill/>
            <a:ln w="3810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61299405-6892-4557-A79B-582ACC15B2AD}"/>
                </a:ext>
              </a:extLst>
            </p:cNvPr>
            <p:cNvSpPr/>
            <p:nvPr/>
          </p:nvSpPr>
          <p:spPr>
            <a:xfrm rot="17400000">
              <a:off x="2899276" y="1432530"/>
              <a:ext cx="293066" cy="673540"/>
            </a:xfrm>
            <a:prstGeom prst="ellipse">
              <a:avLst/>
            </a:prstGeom>
            <a:noFill/>
            <a:ln w="3810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E014567D-7BAE-44D0-BD51-6A005B2B995D}"/>
              </a:ext>
            </a:extLst>
          </p:cNvPr>
          <p:cNvGrpSpPr/>
          <p:nvPr/>
        </p:nvGrpSpPr>
        <p:grpSpPr>
          <a:xfrm>
            <a:off x="9338928" y="193747"/>
            <a:ext cx="2373835" cy="651351"/>
            <a:chOff x="9138521" y="167673"/>
            <a:chExt cx="2373835" cy="651351"/>
          </a:xfrm>
        </p:grpSpPr>
        <p:sp>
          <p:nvSpPr>
            <p:cNvPr id="163" name="object 2">
              <a:extLst>
                <a:ext uri="{FF2B5EF4-FFF2-40B4-BE49-F238E27FC236}">
                  <a16:creationId xmlns:a16="http://schemas.microsoft.com/office/drawing/2014/main" id="{D361DF89-22D3-4C9C-97A8-2E98B04A617B}"/>
                </a:ext>
              </a:extLst>
            </p:cNvPr>
            <p:cNvSpPr txBox="1"/>
            <p:nvPr/>
          </p:nvSpPr>
          <p:spPr>
            <a:xfrm>
              <a:off x="9138521" y="167673"/>
              <a:ext cx="1553301" cy="228455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lang="en-US" sz="1400" b="1" dirty="0">
                  <a:solidFill>
                    <a:srgbClr val="252423"/>
                  </a:solidFill>
                  <a:cs typeface="Arial Black"/>
                </a:rPr>
                <a:t>Review Category</a:t>
              </a:r>
            </a:p>
          </p:txBody>
        </p: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449F80BD-2809-4F60-A954-D4B96224854F}"/>
                </a:ext>
              </a:extLst>
            </p:cNvPr>
            <p:cNvGrpSpPr/>
            <p:nvPr/>
          </p:nvGrpSpPr>
          <p:grpSpPr>
            <a:xfrm>
              <a:off x="9147770" y="420493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171" name="Rectangle: Rounded Corners 170">
                <a:extLst>
                  <a:ext uri="{FF2B5EF4-FFF2-40B4-BE49-F238E27FC236}">
                    <a16:creationId xmlns:a16="http://schemas.microsoft.com/office/drawing/2014/main" id="{76B09C3F-DAFC-42F3-9A2E-CFECCF49CB33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2" name="Rectangle: Rounded Corners 4">
                <a:extLst>
                  <a:ext uri="{FF2B5EF4-FFF2-40B4-BE49-F238E27FC236}">
                    <a16:creationId xmlns:a16="http://schemas.microsoft.com/office/drawing/2014/main" id="{4F712AC6-4CBE-4165-86B3-9BD5ED1F0DE8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Books</a:t>
                </a:r>
              </a:p>
            </p:txBody>
          </p:sp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8CA22B0A-7F01-4B6F-BAE2-633F43F27661}"/>
                </a:ext>
              </a:extLst>
            </p:cNvPr>
            <p:cNvGrpSpPr/>
            <p:nvPr/>
          </p:nvGrpSpPr>
          <p:grpSpPr>
            <a:xfrm>
              <a:off x="9946109" y="423737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169" name="Rectangle: Rounded Corners 168">
                <a:extLst>
                  <a:ext uri="{FF2B5EF4-FFF2-40B4-BE49-F238E27FC236}">
                    <a16:creationId xmlns:a16="http://schemas.microsoft.com/office/drawing/2014/main" id="{6E56675E-4F0E-4EAB-ADBB-DECCD5CA8B43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0" name="Rectangle: Rounded Corners 4">
                <a:extLst>
                  <a:ext uri="{FF2B5EF4-FFF2-40B4-BE49-F238E27FC236}">
                    <a16:creationId xmlns:a16="http://schemas.microsoft.com/office/drawing/2014/main" id="{009ACE40-4148-427B-93FE-AD9FF2FAD685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Home &amp; Kitchen</a:t>
                </a:r>
              </a:p>
            </p:txBody>
          </p:sp>
        </p:grp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7B02C428-B96B-40C4-8469-336026384AB6}"/>
                </a:ext>
              </a:extLst>
            </p:cNvPr>
            <p:cNvGrpSpPr/>
            <p:nvPr/>
          </p:nvGrpSpPr>
          <p:grpSpPr>
            <a:xfrm>
              <a:off x="10744260" y="427942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167" name="Rectangle: Rounded Corners 166">
                <a:extLst>
                  <a:ext uri="{FF2B5EF4-FFF2-40B4-BE49-F238E27FC236}">
                    <a16:creationId xmlns:a16="http://schemas.microsoft.com/office/drawing/2014/main" id="{A1AA22DB-948C-404E-B526-37C6FC9BF9D6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8" name="Rectangle: Rounded Corners 4">
                <a:extLst>
                  <a:ext uri="{FF2B5EF4-FFF2-40B4-BE49-F238E27FC236}">
                    <a16:creationId xmlns:a16="http://schemas.microsoft.com/office/drawing/2014/main" id="{FB66CD2C-C56C-43A1-A02A-03571AF5C953}"/>
                  </a:ext>
                </a:extLst>
              </p:cNvPr>
              <p:cNvSpPr txBox="1"/>
              <p:nvPr/>
            </p:nvSpPr>
            <p:spPr>
              <a:xfrm>
                <a:off x="21874" y="2265578"/>
                <a:ext cx="2130051" cy="703087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Video games</a:t>
                </a:r>
              </a:p>
            </p:txBody>
          </p:sp>
        </p:grp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40D67C-BF0B-4B21-A447-7761BDEFFA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6908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6B2B2BB1-DF01-483B-9CC3-D82DDB8FE6DA}"/>
              </a:ext>
            </a:extLst>
          </p:cNvPr>
          <p:cNvGrpSpPr/>
          <p:nvPr/>
        </p:nvGrpSpPr>
        <p:grpSpPr>
          <a:xfrm>
            <a:off x="318561" y="252970"/>
            <a:ext cx="6369581" cy="488016"/>
            <a:chOff x="318561" y="310721"/>
            <a:chExt cx="6369581" cy="488016"/>
          </a:xfrm>
          <a:solidFill>
            <a:srgbClr val="FFB618"/>
          </a:solidFill>
        </p:grpSpPr>
        <p:sp>
          <p:nvSpPr>
            <p:cNvPr id="156" name="object 156"/>
            <p:cNvSpPr/>
            <p:nvPr/>
          </p:nvSpPr>
          <p:spPr>
            <a:xfrm>
              <a:off x="318561" y="310721"/>
              <a:ext cx="6369581" cy="488016"/>
            </a:xfrm>
            <a:custGeom>
              <a:avLst/>
              <a:gdLst/>
              <a:ahLst/>
              <a:cxnLst/>
              <a:rect l="l" t="t" r="r" b="b"/>
              <a:pathLst>
                <a:path w="6492240" h="553085">
                  <a:moveTo>
                    <a:pt x="6491763" y="552926"/>
                  </a:moveTo>
                  <a:lnTo>
                    <a:pt x="0" y="552926"/>
                  </a:lnTo>
                  <a:lnTo>
                    <a:pt x="0" y="0"/>
                  </a:lnTo>
                  <a:lnTo>
                    <a:pt x="6491763" y="0"/>
                  </a:lnTo>
                  <a:lnTo>
                    <a:pt x="6491763" y="55292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57" name="object 157"/>
            <p:cNvSpPr txBox="1"/>
            <p:nvPr/>
          </p:nvSpPr>
          <p:spPr>
            <a:xfrm>
              <a:off x="600200" y="427637"/>
              <a:ext cx="5504329" cy="273360"/>
            </a:xfrm>
            <a:prstGeom prst="rect">
              <a:avLst/>
            </a:prstGeom>
            <a:grpFill/>
          </p:spPr>
          <p:txBody>
            <a:bodyPr vert="horz" wrap="square" lIns="0" tIns="15128" rIns="0" bIns="0" rtlCol="0">
              <a:spAutoFit/>
            </a:bodyPr>
            <a:lstStyle/>
            <a:p>
              <a:pPr marL="11206">
                <a:spcBef>
                  <a:spcPts val="119"/>
                </a:spcBef>
              </a:pPr>
              <a:r>
                <a:rPr sz="1677" b="1" i="1" spc="18" dirty="0">
                  <a:latin typeface="Segoe UI"/>
                  <a:cs typeface="Segoe UI"/>
                </a:rPr>
                <a:t>Has </a:t>
              </a:r>
              <a:r>
                <a:rPr sz="1677" b="1" i="1" spc="13" dirty="0">
                  <a:latin typeface="Segoe UI"/>
                  <a:cs typeface="Segoe UI"/>
                </a:rPr>
                <a:t>the overall content of reviews changed over</a:t>
              </a:r>
              <a:r>
                <a:rPr sz="1677" b="1" i="1" spc="-49" dirty="0">
                  <a:latin typeface="Segoe UI"/>
                  <a:cs typeface="Segoe UI"/>
                </a:rPr>
                <a:t> </a:t>
              </a:r>
              <a:r>
                <a:rPr sz="1677" b="1" i="1" spc="13" dirty="0">
                  <a:latin typeface="Segoe UI"/>
                  <a:cs typeface="Segoe UI"/>
                </a:rPr>
                <a:t>time?</a:t>
              </a:r>
              <a:endParaRPr sz="1677" dirty="0">
                <a:latin typeface="Segoe UI"/>
                <a:cs typeface="Segoe UI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4B4CCBA-0A98-4371-941B-4470666744DF}"/>
              </a:ext>
            </a:extLst>
          </p:cNvPr>
          <p:cNvGrpSpPr/>
          <p:nvPr/>
        </p:nvGrpSpPr>
        <p:grpSpPr>
          <a:xfrm>
            <a:off x="7105192" y="1061731"/>
            <a:ext cx="4768245" cy="5668235"/>
            <a:chOff x="7373828" y="1176890"/>
            <a:chExt cx="4468663" cy="5469605"/>
          </a:xfrm>
        </p:grpSpPr>
        <p:grpSp>
          <p:nvGrpSpPr>
            <p:cNvPr id="158" name="object 158"/>
            <p:cNvGrpSpPr/>
            <p:nvPr/>
          </p:nvGrpSpPr>
          <p:grpSpPr>
            <a:xfrm>
              <a:off x="7916181" y="1755598"/>
              <a:ext cx="3787588" cy="4537822"/>
              <a:chOff x="8616072" y="1989677"/>
              <a:chExt cx="4292600" cy="5142865"/>
            </a:xfrm>
          </p:grpSpPr>
          <p:sp>
            <p:nvSpPr>
              <p:cNvPr id="159" name="object 159"/>
              <p:cNvSpPr/>
              <p:nvPr/>
            </p:nvSpPr>
            <p:spPr>
              <a:xfrm>
                <a:off x="8616061" y="6937552"/>
                <a:ext cx="86677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86677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86677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86677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86677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866775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866775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866775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866775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0" name="object 160"/>
              <p:cNvSpPr/>
              <p:nvPr/>
            </p:nvSpPr>
            <p:spPr>
              <a:xfrm>
                <a:off x="8621193" y="6951593"/>
                <a:ext cx="142748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1427479" h="180975">
                    <a:moveTo>
                      <a:pt x="142731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1427310" y="0"/>
                    </a:lnTo>
                    <a:lnTo>
                      <a:pt x="142731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1" name="object 161"/>
              <p:cNvSpPr/>
              <p:nvPr/>
            </p:nvSpPr>
            <p:spPr>
              <a:xfrm>
                <a:off x="8616061" y="6691896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87"/>
                    </a:lnTo>
                    <a:lnTo>
                      <a:pt x="10248" y="194487"/>
                    </a:lnTo>
                    <a:lnTo>
                      <a:pt x="10248" y="184251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2" name="object 162"/>
              <p:cNvSpPr/>
              <p:nvPr/>
            </p:nvSpPr>
            <p:spPr>
              <a:xfrm>
                <a:off x="8621193" y="6726051"/>
                <a:ext cx="40386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03859" h="180975">
                    <a:moveTo>
                      <a:pt x="40375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03755" y="0"/>
                    </a:lnTo>
                    <a:lnTo>
                      <a:pt x="403755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3" name="object 163"/>
              <p:cNvSpPr/>
              <p:nvPr/>
            </p:nvSpPr>
            <p:spPr>
              <a:xfrm>
                <a:off x="8616061" y="6446253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4" name="object 164"/>
              <p:cNvSpPr/>
              <p:nvPr/>
            </p:nvSpPr>
            <p:spPr>
              <a:xfrm>
                <a:off x="8621193" y="6500509"/>
                <a:ext cx="4279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27990" h="180975">
                    <a:moveTo>
                      <a:pt x="42769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27695" y="0"/>
                    </a:lnTo>
                    <a:lnTo>
                      <a:pt x="427695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5" name="object 165"/>
              <p:cNvSpPr/>
              <p:nvPr/>
            </p:nvSpPr>
            <p:spPr>
              <a:xfrm>
                <a:off x="8616061" y="6262001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6" name="object 166"/>
              <p:cNvSpPr/>
              <p:nvPr/>
            </p:nvSpPr>
            <p:spPr>
              <a:xfrm>
                <a:off x="8621193" y="6274968"/>
                <a:ext cx="4889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88950" h="180975">
                    <a:moveTo>
                      <a:pt x="4887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88738" y="0"/>
                    </a:lnTo>
                    <a:lnTo>
                      <a:pt x="488738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7" name="object 167"/>
              <p:cNvSpPr/>
              <p:nvPr/>
            </p:nvSpPr>
            <p:spPr>
              <a:xfrm>
                <a:off x="8616061" y="6016358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8" name="object 168"/>
              <p:cNvSpPr/>
              <p:nvPr/>
            </p:nvSpPr>
            <p:spPr>
              <a:xfrm>
                <a:off x="8621193" y="6049426"/>
                <a:ext cx="42290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22909" h="180975">
                    <a:moveTo>
                      <a:pt x="42261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22613" y="0"/>
                    </a:lnTo>
                    <a:lnTo>
                      <a:pt x="422613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9" name="object 169"/>
              <p:cNvSpPr/>
              <p:nvPr/>
            </p:nvSpPr>
            <p:spPr>
              <a:xfrm>
                <a:off x="8616061" y="5770702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0" name="object 170"/>
              <p:cNvSpPr/>
              <p:nvPr/>
            </p:nvSpPr>
            <p:spPr>
              <a:xfrm>
                <a:off x="8621193" y="5823884"/>
                <a:ext cx="40576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05765" h="180975">
                    <a:moveTo>
                      <a:pt x="40570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05701" y="0"/>
                    </a:lnTo>
                    <a:lnTo>
                      <a:pt x="405701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1" name="object 171"/>
              <p:cNvSpPr/>
              <p:nvPr/>
            </p:nvSpPr>
            <p:spPr>
              <a:xfrm>
                <a:off x="8616061" y="5586463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2" name="object 172"/>
              <p:cNvSpPr/>
              <p:nvPr/>
            </p:nvSpPr>
            <p:spPr>
              <a:xfrm>
                <a:off x="8621193" y="5598343"/>
                <a:ext cx="43497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34975" h="180975">
                    <a:moveTo>
                      <a:pt x="434877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34877" y="0"/>
                    </a:lnTo>
                    <a:lnTo>
                      <a:pt x="434877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3" name="object 173"/>
              <p:cNvSpPr/>
              <p:nvPr/>
            </p:nvSpPr>
            <p:spPr>
              <a:xfrm>
                <a:off x="8616061" y="5340806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4" name="object 174"/>
              <p:cNvSpPr/>
              <p:nvPr/>
            </p:nvSpPr>
            <p:spPr>
              <a:xfrm>
                <a:off x="8621193" y="5372801"/>
                <a:ext cx="47561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75615" h="180975">
                    <a:moveTo>
                      <a:pt x="47520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75201" y="0"/>
                    </a:lnTo>
                    <a:lnTo>
                      <a:pt x="475201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5" name="object 175"/>
              <p:cNvSpPr/>
              <p:nvPr/>
            </p:nvSpPr>
            <p:spPr>
              <a:xfrm>
                <a:off x="8616061" y="5095151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6" name="object 176"/>
              <p:cNvSpPr/>
              <p:nvPr/>
            </p:nvSpPr>
            <p:spPr>
              <a:xfrm>
                <a:off x="8621193" y="5147260"/>
                <a:ext cx="51625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16254" h="180975">
                    <a:moveTo>
                      <a:pt x="51590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15905" y="0"/>
                    </a:lnTo>
                    <a:lnTo>
                      <a:pt x="515905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7" name="object 177"/>
              <p:cNvSpPr/>
              <p:nvPr/>
            </p:nvSpPr>
            <p:spPr>
              <a:xfrm>
                <a:off x="8616061" y="4910912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8" name="object 178"/>
              <p:cNvSpPr/>
              <p:nvPr/>
            </p:nvSpPr>
            <p:spPr>
              <a:xfrm>
                <a:off x="8621193" y="4921718"/>
                <a:ext cx="59563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5629" h="180975">
                    <a:moveTo>
                      <a:pt x="59504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5044" y="0"/>
                    </a:lnTo>
                    <a:lnTo>
                      <a:pt x="595044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9" name="object 179"/>
              <p:cNvSpPr/>
              <p:nvPr/>
            </p:nvSpPr>
            <p:spPr>
              <a:xfrm>
                <a:off x="8616061" y="4665255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0" name="object 180"/>
              <p:cNvSpPr/>
              <p:nvPr/>
            </p:nvSpPr>
            <p:spPr>
              <a:xfrm>
                <a:off x="8621193" y="4696176"/>
                <a:ext cx="5905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0550" h="180975">
                    <a:moveTo>
                      <a:pt x="5904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0438" y="0"/>
                    </a:lnTo>
                    <a:lnTo>
                      <a:pt x="590438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1" name="object 181"/>
              <p:cNvSpPr/>
              <p:nvPr/>
            </p:nvSpPr>
            <p:spPr>
              <a:xfrm>
                <a:off x="8616061" y="4419599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2" name="object 182"/>
              <p:cNvSpPr/>
              <p:nvPr/>
            </p:nvSpPr>
            <p:spPr>
              <a:xfrm>
                <a:off x="8621193" y="4470635"/>
                <a:ext cx="54102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41020" h="180975">
                    <a:moveTo>
                      <a:pt x="54102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41024" y="0"/>
                    </a:lnTo>
                    <a:lnTo>
                      <a:pt x="541024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3" name="object 183"/>
              <p:cNvSpPr/>
              <p:nvPr/>
            </p:nvSpPr>
            <p:spPr>
              <a:xfrm>
                <a:off x="8616061" y="4235360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4" name="object 184"/>
              <p:cNvSpPr/>
              <p:nvPr/>
            </p:nvSpPr>
            <p:spPr>
              <a:xfrm>
                <a:off x="8621193" y="4245093"/>
                <a:ext cx="5930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3090" h="180975">
                    <a:moveTo>
                      <a:pt x="59250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2500" y="0"/>
                    </a:lnTo>
                    <a:lnTo>
                      <a:pt x="59250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5" name="object 185"/>
              <p:cNvSpPr/>
              <p:nvPr/>
            </p:nvSpPr>
            <p:spPr>
              <a:xfrm>
                <a:off x="8616061" y="3989704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6" name="object 186"/>
              <p:cNvSpPr/>
              <p:nvPr/>
            </p:nvSpPr>
            <p:spPr>
              <a:xfrm>
                <a:off x="8621193" y="4019551"/>
                <a:ext cx="59753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7534" h="180975">
                    <a:moveTo>
                      <a:pt x="59717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7170" y="0"/>
                    </a:lnTo>
                    <a:lnTo>
                      <a:pt x="59717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7" name="object 187"/>
              <p:cNvSpPr/>
              <p:nvPr/>
            </p:nvSpPr>
            <p:spPr>
              <a:xfrm>
                <a:off x="8616061" y="3744048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8" name="object 188"/>
              <p:cNvSpPr/>
              <p:nvPr/>
            </p:nvSpPr>
            <p:spPr>
              <a:xfrm>
                <a:off x="8621193" y="3794010"/>
                <a:ext cx="59245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2454" h="180975">
                    <a:moveTo>
                      <a:pt x="5924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2438" y="0"/>
                    </a:lnTo>
                    <a:lnTo>
                      <a:pt x="592438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9" name="object 189"/>
              <p:cNvSpPr/>
              <p:nvPr/>
            </p:nvSpPr>
            <p:spPr>
              <a:xfrm>
                <a:off x="8616061" y="3559809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0" name="object 190"/>
              <p:cNvSpPr/>
              <p:nvPr/>
            </p:nvSpPr>
            <p:spPr>
              <a:xfrm>
                <a:off x="8621193" y="3568468"/>
                <a:ext cx="5981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8170" h="180975">
                    <a:moveTo>
                      <a:pt x="59811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8110" y="0"/>
                    </a:lnTo>
                    <a:lnTo>
                      <a:pt x="59811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1" name="object 191"/>
              <p:cNvSpPr/>
              <p:nvPr/>
            </p:nvSpPr>
            <p:spPr>
              <a:xfrm>
                <a:off x="8616061" y="3314153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51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2" name="object 192"/>
              <p:cNvSpPr/>
              <p:nvPr/>
            </p:nvSpPr>
            <p:spPr>
              <a:xfrm>
                <a:off x="8621193" y="3342926"/>
                <a:ext cx="52070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20700" h="180975">
                    <a:moveTo>
                      <a:pt x="52057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20570" y="0"/>
                    </a:lnTo>
                    <a:lnTo>
                      <a:pt x="52057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3" name="object 193"/>
              <p:cNvSpPr/>
              <p:nvPr/>
            </p:nvSpPr>
            <p:spPr>
              <a:xfrm>
                <a:off x="8616061" y="3068510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23"/>
                    </a:lnTo>
                    <a:lnTo>
                      <a:pt x="10248" y="10223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4" name="object 194"/>
              <p:cNvSpPr/>
              <p:nvPr/>
            </p:nvSpPr>
            <p:spPr>
              <a:xfrm>
                <a:off x="8621193" y="3117385"/>
                <a:ext cx="37973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79729" h="180975">
                    <a:moveTo>
                      <a:pt x="379607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79607" y="0"/>
                    </a:lnTo>
                    <a:lnTo>
                      <a:pt x="379607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5" name="object 195"/>
              <p:cNvSpPr/>
              <p:nvPr/>
            </p:nvSpPr>
            <p:spPr>
              <a:xfrm>
                <a:off x="8616061" y="2884258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6" name="object 196"/>
              <p:cNvSpPr/>
              <p:nvPr/>
            </p:nvSpPr>
            <p:spPr>
              <a:xfrm>
                <a:off x="8621193" y="2891843"/>
                <a:ext cx="35750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7504" h="180975">
                    <a:moveTo>
                      <a:pt x="35737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7376" y="0"/>
                    </a:lnTo>
                    <a:lnTo>
                      <a:pt x="357376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7" name="object 197"/>
              <p:cNvSpPr/>
              <p:nvPr/>
            </p:nvSpPr>
            <p:spPr>
              <a:xfrm>
                <a:off x="8616061" y="2638615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4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4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4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8" name="object 198"/>
              <p:cNvSpPr/>
              <p:nvPr/>
            </p:nvSpPr>
            <p:spPr>
              <a:xfrm>
                <a:off x="8621193" y="2666301"/>
                <a:ext cx="3492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49250" h="180975">
                    <a:moveTo>
                      <a:pt x="3490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49038" y="0"/>
                    </a:lnTo>
                    <a:lnTo>
                      <a:pt x="349038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9" name="object 199"/>
              <p:cNvSpPr/>
              <p:nvPr/>
            </p:nvSpPr>
            <p:spPr>
              <a:xfrm>
                <a:off x="8616061" y="2392959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4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4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4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0" name="object 200"/>
              <p:cNvSpPr/>
              <p:nvPr/>
            </p:nvSpPr>
            <p:spPr>
              <a:xfrm>
                <a:off x="8621193" y="2440760"/>
                <a:ext cx="3644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64490" h="180975">
                    <a:moveTo>
                      <a:pt x="364049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64049" y="0"/>
                    </a:lnTo>
                    <a:lnTo>
                      <a:pt x="364049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1" name="object 201"/>
              <p:cNvSpPr/>
              <p:nvPr/>
            </p:nvSpPr>
            <p:spPr>
              <a:xfrm>
                <a:off x="8616061" y="2208720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2" name="object 202"/>
              <p:cNvSpPr/>
              <p:nvPr/>
            </p:nvSpPr>
            <p:spPr>
              <a:xfrm>
                <a:off x="8621193" y="2215218"/>
                <a:ext cx="3949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94970" h="180975">
                    <a:moveTo>
                      <a:pt x="394519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94519" y="0"/>
                    </a:lnTo>
                    <a:lnTo>
                      <a:pt x="394519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3" name="object 203"/>
              <p:cNvSpPr/>
              <p:nvPr/>
            </p:nvSpPr>
            <p:spPr>
              <a:xfrm>
                <a:off x="8616061" y="2024468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4" name="object 204"/>
              <p:cNvSpPr/>
              <p:nvPr/>
            </p:nvSpPr>
            <p:spPr>
              <a:xfrm>
                <a:off x="8621193" y="1989677"/>
                <a:ext cx="4076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07670" h="180975">
                    <a:moveTo>
                      <a:pt x="407482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07482" y="0"/>
                    </a:lnTo>
                    <a:lnTo>
                      <a:pt x="407482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5" name="object 205"/>
              <p:cNvSpPr/>
              <p:nvPr/>
            </p:nvSpPr>
            <p:spPr>
              <a:xfrm>
                <a:off x="9024937" y="6500520"/>
                <a:ext cx="330200" cy="406400"/>
              </a:xfrm>
              <a:custGeom>
                <a:avLst/>
                <a:gdLst/>
                <a:ahLst/>
                <a:cxnLst/>
                <a:rect l="l" t="t" r="r" b="b"/>
                <a:pathLst>
                  <a:path w="330200" h="406400">
                    <a:moveTo>
                      <a:pt x="276263" y="225539"/>
                    </a:moveTo>
                    <a:lnTo>
                      <a:pt x="0" y="225539"/>
                    </a:lnTo>
                    <a:lnTo>
                      <a:pt x="0" y="405968"/>
                    </a:lnTo>
                    <a:lnTo>
                      <a:pt x="276263" y="405968"/>
                    </a:lnTo>
                    <a:lnTo>
                      <a:pt x="276263" y="225539"/>
                    </a:lnTo>
                    <a:close/>
                  </a:path>
                  <a:path w="330200" h="406400">
                    <a:moveTo>
                      <a:pt x="329793" y="0"/>
                    </a:moveTo>
                    <a:lnTo>
                      <a:pt x="23939" y="0"/>
                    </a:lnTo>
                    <a:lnTo>
                      <a:pt x="23939" y="180428"/>
                    </a:lnTo>
                    <a:lnTo>
                      <a:pt x="329793" y="180428"/>
                    </a:lnTo>
                    <a:lnTo>
                      <a:pt x="329793" y="0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6" name="object 206"/>
              <p:cNvSpPr/>
              <p:nvPr/>
            </p:nvSpPr>
            <p:spPr>
              <a:xfrm>
                <a:off x="9472447" y="6262001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87"/>
                    </a:lnTo>
                    <a:lnTo>
                      <a:pt x="10248" y="194487"/>
                    </a:lnTo>
                    <a:lnTo>
                      <a:pt x="10248" y="184251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7" name="object 207"/>
              <p:cNvSpPr/>
              <p:nvPr/>
            </p:nvSpPr>
            <p:spPr>
              <a:xfrm>
                <a:off x="9109931" y="6274968"/>
                <a:ext cx="3898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89890" h="180975">
                    <a:moveTo>
                      <a:pt x="38953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89531" y="0"/>
                    </a:lnTo>
                    <a:lnTo>
                      <a:pt x="389531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8" name="object 208"/>
              <p:cNvSpPr/>
              <p:nvPr/>
            </p:nvSpPr>
            <p:spPr>
              <a:xfrm>
                <a:off x="9472447" y="6016358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9" name="object 209"/>
              <p:cNvSpPr/>
              <p:nvPr/>
            </p:nvSpPr>
            <p:spPr>
              <a:xfrm>
                <a:off x="9043806" y="6049426"/>
                <a:ext cx="42608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26084" h="180975">
                    <a:moveTo>
                      <a:pt x="425662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25662" y="0"/>
                    </a:lnTo>
                    <a:lnTo>
                      <a:pt x="425662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0" name="object 210"/>
              <p:cNvSpPr/>
              <p:nvPr/>
            </p:nvSpPr>
            <p:spPr>
              <a:xfrm>
                <a:off x="9472447" y="5770702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1" name="object 211"/>
              <p:cNvSpPr/>
              <p:nvPr/>
            </p:nvSpPr>
            <p:spPr>
              <a:xfrm>
                <a:off x="9026894" y="5823884"/>
                <a:ext cx="45402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54025" h="180975">
                    <a:moveTo>
                      <a:pt x="45361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53611" y="0"/>
                    </a:lnTo>
                    <a:lnTo>
                      <a:pt x="453611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2" name="object 212"/>
              <p:cNvSpPr/>
              <p:nvPr/>
            </p:nvSpPr>
            <p:spPr>
              <a:xfrm>
                <a:off x="9472447" y="5586463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3" name="object 213"/>
              <p:cNvSpPr/>
              <p:nvPr/>
            </p:nvSpPr>
            <p:spPr>
              <a:xfrm>
                <a:off x="9056070" y="5598343"/>
                <a:ext cx="47053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70534" h="180975">
                    <a:moveTo>
                      <a:pt x="47050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70500" y="0"/>
                    </a:lnTo>
                    <a:lnTo>
                      <a:pt x="470500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4" name="object 214"/>
              <p:cNvSpPr/>
              <p:nvPr/>
            </p:nvSpPr>
            <p:spPr>
              <a:xfrm>
                <a:off x="9472447" y="5340806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5" name="object 215"/>
              <p:cNvSpPr/>
              <p:nvPr/>
            </p:nvSpPr>
            <p:spPr>
              <a:xfrm>
                <a:off x="9096395" y="5372801"/>
                <a:ext cx="48958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89584" h="180975">
                    <a:moveTo>
                      <a:pt x="48916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89166" y="0"/>
                    </a:lnTo>
                    <a:lnTo>
                      <a:pt x="489166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6" name="object 216"/>
              <p:cNvSpPr/>
              <p:nvPr/>
            </p:nvSpPr>
            <p:spPr>
              <a:xfrm>
                <a:off x="9472447" y="5095151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7" name="object 217"/>
              <p:cNvSpPr/>
              <p:nvPr/>
            </p:nvSpPr>
            <p:spPr>
              <a:xfrm>
                <a:off x="9137098" y="5147260"/>
                <a:ext cx="5041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04190" h="180975">
                    <a:moveTo>
                      <a:pt x="50372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03725" y="0"/>
                    </a:lnTo>
                    <a:lnTo>
                      <a:pt x="503725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8" name="object 218"/>
              <p:cNvSpPr/>
              <p:nvPr/>
            </p:nvSpPr>
            <p:spPr>
              <a:xfrm>
                <a:off x="9472447" y="4910912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9" name="object 219"/>
              <p:cNvSpPr/>
              <p:nvPr/>
            </p:nvSpPr>
            <p:spPr>
              <a:xfrm>
                <a:off x="9216237" y="4921718"/>
                <a:ext cx="49466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94665" h="180975">
                    <a:moveTo>
                      <a:pt x="49432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94323" y="0"/>
                    </a:lnTo>
                    <a:lnTo>
                      <a:pt x="494323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0" name="object 220"/>
              <p:cNvSpPr/>
              <p:nvPr/>
            </p:nvSpPr>
            <p:spPr>
              <a:xfrm>
                <a:off x="9472447" y="4665255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1" name="object 221"/>
              <p:cNvSpPr/>
              <p:nvPr/>
            </p:nvSpPr>
            <p:spPr>
              <a:xfrm>
                <a:off x="9211631" y="4696176"/>
                <a:ext cx="4965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96570" h="180975">
                    <a:moveTo>
                      <a:pt x="496217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96217" y="0"/>
                    </a:lnTo>
                    <a:lnTo>
                      <a:pt x="496217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2" name="object 222"/>
              <p:cNvSpPr/>
              <p:nvPr/>
            </p:nvSpPr>
            <p:spPr>
              <a:xfrm>
                <a:off x="9472447" y="4419599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3" name="object 223"/>
              <p:cNvSpPr/>
              <p:nvPr/>
            </p:nvSpPr>
            <p:spPr>
              <a:xfrm>
                <a:off x="9162217" y="4470635"/>
                <a:ext cx="4660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66090" h="180975">
                    <a:moveTo>
                      <a:pt x="46557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65573" y="0"/>
                    </a:lnTo>
                    <a:lnTo>
                      <a:pt x="465573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4" name="object 224"/>
              <p:cNvSpPr/>
              <p:nvPr/>
            </p:nvSpPr>
            <p:spPr>
              <a:xfrm>
                <a:off x="9472447" y="4235360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5" name="object 225"/>
              <p:cNvSpPr/>
              <p:nvPr/>
            </p:nvSpPr>
            <p:spPr>
              <a:xfrm>
                <a:off x="9213693" y="4245093"/>
                <a:ext cx="4838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83870" h="180975">
                    <a:moveTo>
                      <a:pt x="48324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83245" y="0"/>
                    </a:lnTo>
                    <a:lnTo>
                      <a:pt x="483245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6" name="object 226"/>
              <p:cNvSpPr/>
              <p:nvPr/>
            </p:nvSpPr>
            <p:spPr>
              <a:xfrm>
                <a:off x="9472447" y="3989704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7" name="object 227"/>
              <p:cNvSpPr/>
              <p:nvPr/>
            </p:nvSpPr>
            <p:spPr>
              <a:xfrm>
                <a:off x="9218363" y="4019551"/>
                <a:ext cx="47752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77520" h="180975">
                    <a:moveTo>
                      <a:pt x="47721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77214" y="0"/>
                    </a:lnTo>
                    <a:lnTo>
                      <a:pt x="477214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8" name="object 228"/>
              <p:cNvSpPr/>
              <p:nvPr/>
            </p:nvSpPr>
            <p:spPr>
              <a:xfrm>
                <a:off x="9472447" y="3744048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9" name="object 229"/>
              <p:cNvSpPr/>
              <p:nvPr/>
            </p:nvSpPr>
            <p:spPr>
              <a:xfrm>
                <a:off x="9213631" y="3794010"/>
                <a:ext cx="46037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60375" h="180975">
                    <a:moveTo>
                      <a:pt x="45990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59905" y="0"/>
                    </a:lnTo>
                    <a:lnTo>
                      <a:pt x="459905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0" name="object 230"/>
              <p:cNvSpPr/>
              <p:nvPr/>
            </p:nvSpPr>
            <p:spPr>
              <a:xfrm>
                <a:off x="9472447" y="3559809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1" name="object 231"/>
              <p:cNvSpPr/>
              <p:nvPr/>
            </p:nvSpPr>
            <p:spPr>
              <a:xfrm>
                <a:off x="9219303" y="3568468"/>
                <a:ext cx="43497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34975" h="180975">
                    <a:moveTo>
                      <a:pt x="43491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34914" y="0"/>
                    </a:lnTo>
                    <a:lnTo>
                      <a:pt x="434914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2" name="object 232"/>
              <p:cNvSpPr/>
              <p:nvPr/>
            </p:nvSpPr>
            <p:spPr>
              <a:xfrm>
                <a:off x="9472447" y="3314153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51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3" name="object 233"/>
              <p:cNvSpPr/>
              <p:nvPr/>
            </p:nvSpPr>
            <p:spPr>
              <a:xfrm>
                <a:off x="8970226" y="1989683"/>
                <a:ext cx="572135" cy="1534160"/>
              </a:xfrm>
              <a:custGeom>
                <a:avLst/>
                <a:gdLst/>
                <a:ahLst/>
                <a:cxnLst/>
                <a:rect l="l" t="t" r="r" b="b"/>
                <a:pathLst>
                  <a:path w="572134" h="1534160">
                    <a:moveTo>
                      <a:pt x="319913" y="676630"/>
                    </a:moveTo>
                    <a:lnTo>
                      <a:pt x="0" y="676630"/>
                    </a:lnTo>
                    <a:lnTo>
                      <a:pt x="0" y="857059"/>
                    </a:lnTo>
                    <a:lnTo>
                      <a:pt x="319913" y="857059"/>
                    </a:lnTo>
                    <a:lnTo>
                      <a:pt x="319913" y="676630"/>
                    </a:lnTo>
                    <a:close/>
                  </a:path>
                  <a:path w="572134" h="1534160">
                    <a:moveTo>
                      <a:pt x="330923" y="451078"/>
                    </a:moveTo>
                    <a:lnTo>
                      <a:pt x="15011" y="451078"/>
                    </a:lnTo>
                    <a:lnTo>
                      <a:pt x="15011" y="631520"/>
                    </a:lnTo>
                    <a:lnTo>
                      <a:pt x="330923" y="631520"/>
                    </a:lnTo>
                    <a:lnTo>
                      <a:pt x="330923" y="451078"/>
                    </a:lnTo>
                    <a:close/>
                  </a:path>
                  <a:path w="572134" h="1534160">
                    <a:moveTo>
                      <a:pt x="355574" y="225539"/>
                    </a:moveTo>
                    <a:lnTo>
                      <a:pt x="45478" y="225539"/>
                    </a:lnTo>
                    <a:lnTo>
                      <a:pt x="45478" y="405980"/>
                    </a:lnTo>
                    <a:lnTo>
                      <a:pt x="355574" y="405980"/>
                    </a:lnTo>
                    <a:lnTo>
                      <a:pt x="355574" y="225539"/>
                    </a:lnTo>
                    <a:close/>
                  </a:path>
                  <a:path w="572134" h="1534160">
                    <a:moveTo>
                      <a:pt x="359181" y="902169"/>
                    </a:moveTo>
                    <a:lnTo>
                      <a:pt x="8331" y="902169"/>
                    </a:lnTo>
                    <a:lnTo>
                      <a:pt x="8331" y="1082598"/>
                    </a:lnTo>
                    <a:lnTo>
                      <a:pt x="359181" y="1082598"/>
                    </a:lnTo>
                    <a:lnTo>
                      <a:pt x="359181" y="902169"/>
                    </a:lnTo>
                    <a:close/>
                  </a:path>
                  <a:path w="572134" h="1534160">
                    <a:moveTo>
                      <a:pt x="360845" y="0"/>
                    </a:moveTo>
                    <a:lnTo>
                      <a:pt x="58445" y="0"/>
                    </a:lnTo>
                    <a:lnTo>
                      <a:pt x="58445" y="180428"/>
                    </a:lnTo>
                    <a:lnTo>
                      <a:pt x="360845" y="180428"/>
                    </a:lnTo>
                    <a:lnTo>
                      <a:pt x="360845" y="0"/>
                    </a:lnTo>
                    <a:close/>
                  </a:path>
                  <a:path w="572134" h="1534160">
                    <a:moveTo>
                      <a:pt x="402259" y="1127709"/>
                    </a:moveTo>
                    <a:lnTo>
                      <a:pt x="30568" y="1127709"/>
                    </a:lnTo>
                    <a:lnTo>
                      <a:pt x="30568" y="1308138"/>
                    </a:lnTo>
                    <a:lnTo>
                      <a:pt x="402259" y="1308138"/>
                    </a:lnTo>
                    <a:lnTo>
                      <a:pt x="402259" y="1127709"/>
                    </a:lnTo>
                    <a:close/>
                  </a:path>
                  <a:path w="572134" h="1534160">
                    <a:moveTo>
                      <a:pt x="571855" y="1353248"/>
                    </a:moveTo>
                    <a:lnTo>
                      <a:pt x="171526" y="1353248"/>
                    </a:lnTo>
                    <a:lnTo>
                      <a:pt x="171526" y="1533677"/>
                    </a:lnTo>
                    <a:lnTo>
                      <a:pt x="571855" y="1533677"/>
                    </a:lnTo>
                    <a:lnTo>
                      <a:pt x="571855" y="1353248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4" name="object 234"/>
              <p:cNvSpPr/>
              <p:nvPr/>
            </p:nvSpPr>
            <p:spPr>
              <a:xfrm>
                <a:off x="10328834" y="6937552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74290" y="184238"/>
                    </a:lnTo>
                    <a:lnTo>
                      <a:pt x="2574290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74290" y="122834"/>
                    </a:lnTo>
                    <a:lnTo>
                      <a:pt x="2574290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74290" y="61417"/>
                    </a:lnTo>
                    <a:lnTo>
                      <a:pt x="2574290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5" name="object 235"/>
              <p:cNvSpPr/>
              <p:nvPr/>
            </p:nvSpPr>
            <p:spPr>
              <a:xfrm>
                <a:off x="10048503" y="6951593"/>
                <a:ext cx="285496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2854959" h="180975">
                    <a:moveTo>
                      <a:pt x="285462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2854621" y="0"/>
                    </a:lnTo>
                    <a:lnTo>
                      <a:pt x="2854621" y="180433"/>
                    </a:lnTo>
                    <a:close/>
                  </a:path>
                </a:pathLst>
              </a:custGeom>
              <a:solidFill>
                <a:srgbClr val="E66B37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6" name="object 236"/>
              <p:cNvSpPr/>
              <p:nvPr/>
            </p:nvSpPr>
            <p:spPr>
              <a:xfrm>
                <a:off x="9472447" y="6691896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87"/>
                    </a:lnTo>
                    <a:lnTo>
                      <a:pt x="10248" y="194487"/>
                    </a:lnTo>
                    <a:lnTo>
                      <a:pt x="10248" y="184251"/>
                    </a:lnTo>
                    <a:close/>
                  </a:path>
                  <a:path w="343598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343598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343598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94945">
                    <a:moveTo>
                      <a:pt x="866635" y="184251"/>
                    </a:moveTo>
                    <a:lnTo>
                      <a:pt x="856386" y="184251"/>
                    </a:lnTo>
                    <a:lnTo>
                      <a:pt x="856386" y="194487"/>
                    </a:lnTo>
                    <a:lnTo>
                      <a:pt x="866635" y="194487"/>
                    </a:lnTo>
                    <a:lnTo>
                      <a:pt x="866635" y="184251"/>
                    </a:lnTo>
                    <a:close/>
                  </a:path>
                  <a:path w="343598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343598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343598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94945">
                    <a:moveTo>
                      <a:pt x="1723021" y="184251"/>
                    </a:moveTo>
                    <a:lnTo>
                      <a:pt x="1712772" y="184251"/>
                    </a:lnTo>
                    <a:lnTo>
                      <a:pt x="1712772" y="194487"/>
                    </a:lnTo>
                    <a:lnTo>
                      <a:pt x="1723021" y="194487"/>
                    </a:lnTo>
                    <a:lnTo>
                      <a:pt x="1723021" y="184251"/>
                    </a:lnTo>
                    <a:close/>
                  </a:path>
                  <a:path w="343598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343598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343598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94945">
                    <a:moveTo>
                      <a:pt x="2579408" y="184251"/>
                    </a:moveTo>
                    <a:lnTo>
                      <a:pt x="2569159" y="184251"/>
                    </a:lnTo>
                    <a:lnTo>
                      <a:pt x="2569159" y="194487"/>
                    </a:lnTo>
                    <a:lnTo>
                      <a:pt x="2579408" y="194487"/>
                    </a:lnTo>
                    <a:lnTo>
                      <a:pt x="2579408" y="184251"/>
                    </a:lnTo>
                    <a:close/>
                  </a:path>
                  <a:path w="343598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343598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343598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94945">
                    <a:moveTo>
                      <a:pt x="3435794" y="184251"/>
                    </a:moveTo>
                    <a:lnTo>
                      <a:pt x="3425545" y="184251"/>
                    </a:lnTo>
                    <a:lnTo>
                      <a:pt x="3425545" y="194487"/>
                    </a:lnTo>
                    <a:lnTo>
                      <a:pt x="3435794" y="194487"/>
                    </a:lnTo>
                    <a:lnTo>
                      <a:pt x="3435794" y="184251"/>
                    </a:lnTo>
                    <a:close/>
                  </a:path>
                  <a:path w="3435984" h="194945">
                    <a:moveTo>
                      <a:pt x="3435794" y="122834"/>
                    </a:moveTo>
                    <a:lnTo>
                      <a:pt x="3425545" y="122834"/>
                    </a:lnTo>
                    <a:lnTo>
                      <a:pt x="3425545" y="133070"/>
                    </a:lnTo>
                    <a:lnTo>
                      <a:pt x="3435794" y="133070"/>
                    </a:lnTo>
                    <a:lnTo>
                      <a:pt x="3435794" y="122834"/>
                    </a:lnTo>
                    <a:close/>
                  </a:path>
                  <a:path w="3435984" h="194945">
                    <a:moveTo>
                      <a:pt x="3435794" y="61417"/>
                    </a:moveTo>
                    <a:lnTo>
                      <a:pt x="3425545" y="61417"/>
                    </a:lnTo>
                    <a:lnTo>
                      <a:pt x="3425545" y="71653"/>
                    </a:lnTo>
                    <a:lnTo>
                      <a:pt x="3435794" y="71653"/>
                    </a:lnTo>
                    <a:lnTo>
                      <a:pt x="3435794" y="61417"/>
                    </a:lnTo>
                    <a:close/>
                  </a:path>
                  <a:path w="3435984" h="194945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7" name="object 237"/>
              <p:cNvSpPr/>
              <p:nvPr/>
            </p:nvSpPr>
            <p:spPr>
              <a:xfrm>
                <a:off x="9301202" y="6726051"/>
                <a:ext cx="360235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602354" h="180975">
                    <a:moveTo>
                      <a:pt x="3601922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601922" y="0"/>
                    </a:lnTo>
                    <a:lnTo>
                      <a:pt x="3601922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8" name="object 238"/>
              <p:cNvSpPr/>
              <p:nvPr/>
            </p:nvSpPr>
            <p:spPr>
              <a:xfrm>
                <a:off x="9472447" y="6446253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343598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343598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94945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343598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94945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343598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94945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94945">
                    <a:moveTo>
                      <a:pt x="3435794" y="184238"/>
                    </a:moveTo>
                    <a:lnTo>
                      <a:pt x="3425545" y="184238"/>
                    </a:lnTo>
                    <a:lnTo>
                      <a:pt x="3425545" y="194475"/>
                    </a:lnTo>
                    <a:lnTo>
                      <a:pt x="3435794" y="194475"/>
                    </a:lnTo>
                    <a:lnTo>
                      <a:pt x="3435794" y="184238"/>
                    </a:lnTo>
                    <a:close/>
                  </a:path>
                  <a:path w="3435984" h="194945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94945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94945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9" name="object 239"/>
              <p:cNvSpPr/>
              <p:nvPr/>
            </p:nvSpPr>
            <p:spPr>
              <a:xfrm>
                <a:off x="9354741" y="6500509"/>
                <a:ext cx="354837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48379" h="180975">
                    <a:moveTo>
                      <a:pt x="354838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48383" y="0"/>
                    </a:lnTo>
                    <a:lnTo>
                      <a:pt x="354838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0" name="object 240"/>
              <p:cNvSpPr/>
              <p:nvPr/>
            </p:nvSpPr>
            <p:spPr>
              <a:xfrm>
                <a:off x="10328834" y="6262001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1" name="object 241"/>
              <p:cNvSpPr/>
              <p:nvPr/>
            </p:nvSpPr>
            <p:spPr>
              <a:xfrm>
                <a:off x="9499463" y="6274968"/>
                <a:ext cx="340423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404234" h="180975">
                    <a:moveTo>
                      <a:pt x="340366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403661" y="0"/>
                    </a:lnTo>
                    <a:lnTo>
                      <a:pt x="3403661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2" name="object 242"/>
              <p:cNvSpPr/>
              <p:nvPr/>
            </p:nvSpPr>
            <p:spPr>
              <a:xfrm>
                <a:off x="10328834" y="6016358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3" name="object 243"/>
              <p:cNvSpPr/>
              <p:nvPr/>
            </p:nvSpPr>
            <p:spPr>
              <a:xfrm>
                <a:off x="9469468" y="6049426"/>
                <a:ext cx="343407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434079" h="180975">
                    <a:moveTo>
                      <a:pt x="343365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433656" y="0"/>
                    </a:lnTo>
                    <a:lnTo>
                      <a:pt x="3433656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4" name="object 244"/>
              <p:cNvSpPr/>
              <p:nvPr/>
            </p:nvSpPr>
            <p:spPr>
              <a:xfrm>
                <a:off x="10328834" y="5770702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5" name="object 245"/>
              <p:cNvSpPr/>
              <p:nvPr/>
            </p:nvSpPr>
            <p:spPr>
              <a:xfrm>
                <a:off x="9480505" y="5823884"/>
                <a:ext cx="34226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422650" h="180975">
                    <a:moveTo>
                      <a:pt x="342261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422618" y="0"/>
                    </a:lnTo>
                    <a:lnTo>
                      <a:pt x="3422618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6" name="object 246"/>
              <p:cNvSpPr/>
              <p:nvPr/>
            </p:nvSpPr>
            <p:spPr>
              <a:xfrm>
                <a:off x="10328834" y="5586463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33350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33350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33350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7" name="object 247"/>
              <p:cNvSpPr/>
              <p:nvPr/>
            </p:nvSpPr>
            <p:spPr>
              <a:xfrm>
                <a:off x="9526570" y="5598343"/>
                <a:ext cx="337692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376929" h="180975">
                    <a:moveTo>
                      <a:pt x="337655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376553" y="0"/>
                    </a:lnTo>
                    <a:lnTo>
                      <a:pt x="337655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8" name="object 248"/>
              <p:cNvSpPr/>
              <p:nvPr/>
            </p:nvSpPr>
            <p:spPr>
              <a:xfrm>
                <a:off x="10328834" y="5340806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9" name="object 249"/>
              <p:cNvSpPr/>
              <p:nvPr/>
            </p:nvSpPr>
            <p:spPr>
              <a:xfrm>
                <a:off x="9585561" y="5372801"/>
                <a:ext cx="331787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317875" h="180975">
                    <a:moveTo>
                      <a:pt x="3317562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317562" y="0"/>
                    </a:lnTo>
                    <a:lnTo>
                      <a:pt x="3317562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0" name="object 250"/>
              <p:cNvSpPr/>
              <p:nvPr/>
            </p:nvSpPr>
            <p:spPr>
              <a:xfrm>
                <a:off x="10328834" y="5095151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1" name="object 251"/>
              <p:cNvSpPr/>
              <p:nvPr/>
            </p:nvSpPr>
            <p:spPr>
              <a:xfrm>
                <a:off x="9640824" y="5147260"/>
                <a:ext cx="326262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62629" h="180975">
                    <a:moveTo>
                      <a:pt x="3262299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62299" y="0"/>
                    </a:lnTo>
                    <a:lnTo>
                      <a:pt x="3262299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2" name="object 252"/>
              <p:cNvSpPr/>
              <p:nvPr/>
            </p:nvSpPr>
            <p:spPr>
              <a:xfrm>
                <a:off x="10328834" y="4910912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3" name="object 253"/>
              <p:cNvSpPr/>
              <p:nvPr/>
            </p:nvSpPr>
            <p:spPr>
              <a:xfrm>
                <a:off x="9710560" y="4921718"/>
                <a:ext cx="319278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192779" h="180975">
                    <a:moveTo>
                      <a:pt x="319256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192563" y="0"/>
                    </a:lnTo>
                    <a:lnTo>
                      <a:pt x="319256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4" name="object 254"/>
              <p:cNvSpPr/>
              <p:nvPr/>
            </p:nvSpPr>
            <p:spPr>
              <a:xfrm>
                <a:off x="10328834" y="4665255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5" name="object 255"/>
              <p:cNvSpPr/>
              <p:nvPr/>
            </p:nvSpPr>
            <p:spPr>
              <a:xfrm>
                <a:off x="9707848" y="4696176"/>
                <a:ext cx="319532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195320" h="180975">
                    <a:moveTo>
                      <a:pt x="319527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195275" y="0"/>
                    </a:lnTo>
                    <a:lnTo>
                      <a:pt x="3195275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6" name="object 256"/>
              <p:cNvSpPr/>
              <p:nvPr/>
            </p:nvSpPr>
            <p:spPr>
              <a:xfrm>
                <a:off x="10328834" y="4419599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7" name="object 257"/>
              <p:cNvSpPr/>
              <p:nvPr/>
            </p:nvSpPr>
            <p:spPr>
              <a:xfrm>
                <a:off x="9627790" y="4470635"/>
                <a:ext cx="327532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75329" h="180975">
                    <a:moveTo>
                      <a:pt x="327533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75333" y="0"/>
                    </a:lnTo>
                    <a:lnTo>
                      <a:pt x="327533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8" name="object 258"/>
              <p:cNvSpPr/>
              <p:nvPr/>
            </p:nvSpPr>
            <p:spPr>
              <a:xfrm>
                <a:off x="10328834" y="4235360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9" name="object 259"/>
              <p:cNvSpPr/>
              <p:nvPr/>
            </p:nvSpPr>
            <p:spPr>
              <a:xfrm>
                <a:off x="9696938" y="4245093"/>
                <a:ext cx="32067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06750" h="180975">
                    <a:moveTo>
                      <a:pt x="320618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06185" y="0"/>
                    </a:lnTo>
                    <a:lnTo>
                      <a:pt x="3206185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0" name="object 260"/>
              <p:cNvSpPr/>
              <p:nvPr/>
            </p:nvSpPr>
            <p:spPr>
              <a:xfrm>
                <a:off x="10328834" y="3989704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1" name="object 261"/>
              <p:cNvSpPr/>
              <p:nvPr/>
            </p:nvSpPr>
            <p:spPr>
              <a:xfrm>
                <a:off x="9695577" y="4019551"/>
                <a:ext cx="320802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08020" h="180975">
                    <a:moveTo>
                      <a:pt x="3207547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07547" y="0"/>
                    </a:lnTo>
                    <a:lnTo>
                      <a:pt x="3207547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2" name="object 262"/>
              <p:cNvSpPr/>
              <p:nvPr/>
            </p:nvSpPr>
            <p:spPr>
              <a:xfrm>
                <a:off x="10328834" y="3744048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3" name="object 263"/>
              <p:cNvSpPr/>
              <p:nvPr/>
            </p:nvSpPr>
            <p:spPr>
              <a:xfrm>
                <a:off x="9673536" y="3794010"/>
                <a:ext cx="322961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29609" h="180975">
                    <a:moveTo>
                      <a:pt x="322958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29588" y="0"/>
                    </a:lnTo>
                    <a:lnTo>
                      <a:pt x="3229588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4" name="object 264"/>
              <p:cNvSpPr/>
              <p:nvPr/>
            </p:nvSpPr>
            <p:spPr>
              <a:xfrm>
                <a:off x="10328834" y="3559809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5" name="object 265"/>
              <p:cNvSpPr/>
              <p:nvPr/>
            </p:nvSpPr>
            <p:spPr>
              <a:xfrm>
                <a:off x="9654217" y="3568468"/>
                <a:ext cx="324929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49295" h="180975">
                    <a:moveTo>
                      <a:pt x="324890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48906" y="0"/>
                    </a:lnTo>
                    <a:lnTo>
                      <a:pt x="3248906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6" name="object 266"/>
              <p:cNvSpPr/>
              <p:nvPr/>
            </p:nvSpPr>
            <p:spPr>
              <a:xfrm>
                <a:off x="10328834" y="3314153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51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51"/>
                    </a:moveTo>
                    <a:lnTo>
                      <a:pt x="856386" y="184251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51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51"/>
                    </a:moveTo>
                    <a:lnTo>
                      <a:pt x="1712772" y="184251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51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51"/>
                    </a:moveTo>
                    <a:lnTo>
                      <a:pt x="2569159" y="184251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51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7" name="object 267"/>
              <p:cNvSpPr/>
              <p:nvPr/>
            </p:nvSpPr>
            <p:spPr>
              <a:xfrm>
                <a:off x="9542085" y="3342926"/>
                <a:ext cx="336105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361054" h="180975">
                    <a:moveTo>
                      <a:pt x="33610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361038" y="0"/>
                    </a:lnTo>
                    <a:lnTo>
                      <a:pt x="3361038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8" name="object 268"/>
              <p:cNvSpPr/>
              <p:nvPr/>
            </p:nvSpPr>
            <p:spPr>
              <a:xfrm>
                <a:off x="9472447" y="3068510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343598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23"/>
                    </a:lnTo>
                    <a:lnTo>
                      <a:pt x="10248" y="10223"/>
                    </a:lnTo>
                    <a:lnTo>
                      <a:pt x="10248" y="0"/>
                    </a:lnTo>
                    <a:close/>
                  </a:path>
                  <a:path w="343598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343598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94945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23"/>
                    </a:lnTo>
                    <a:lnTo>
                      <a:pt x="866635" y="10223"/>
                    </a:lnTo>
                    <a:lnTo>
                      <a:pt x="866635" y="0"/>
                    </a:lnTo>
                    <a:close/>
                  </a:path>
                  <a:path w="343598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343598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94945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23"/>
                    </a:lnTo>
                    <a:lnTo>
                      <a:pt x="1723021" y="10223"/>
                    </a:lnTo>
                    <a:lnTo>
                      <a:pt x="1723021" y="0"/>
                    </a:lnTo>
                    <a:close/>
                  </a:path>
                  <a:path w="343598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343598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94945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23"/>
                    </a:lnTo>
                    <a:lnTo>
                      <a:pt x="2579408" y="10223"/>
                    </a:lnTo>
                    <a:lnTo>
                      <a:pt x="2579408" y="0"/>
                    </a:lnTo>
                    <a:close/>
                  </a:path>
                  <a:path w="3435984" h="194945">
                    <a:moveTo>
                      <a:pt x="3435794" y="184238"/>
                    </a:moveTo>
                    <a:lnTo>
                      <a:pt x="3425545" y="184238"/>
                    </a:lnTo>
                    <a:lnTo>
                      <a:pt x="3425545" y="194475"/>
                    </a:lnTo>
                    <a:lnTo>
                      <a:pt x="3435794" y="194475"/>
                    </a:lnTo>
                    <a:lnTo>
                      <a:pt x="3435794" y="184238"/>
                    </a:lnTo>
                    <a:close/>
                  </a:path>
                  <a:path w="3435984" h="194945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94945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94945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23"/>
                    </a:lnTo>
                    <a:lnTo>
                      <a:pt x="3435794" y="10223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9" name="object 269"/>
              <p:cNvSpPr/>
              <p:nvPr/>
            </p:nvSpPr>
            <p:spPr>
              <a:xfrm>
                <a:off x="9372490" y="3117385"/>
                <a:ext cx="353123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31234" h="180975">
                    <a:moveTo>
                      <a:pt x="353063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30634" y="0"/>
                    </a:lnTo>
                    <a:lnTo>
                      <a:pt x="3530634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0" name="object 270"/>
              <p:cNvSpPr/>
              <p:nvPr/>
            </p:nvSpPr>
            <p:spPr>
              <a:xfrm>
                <a:off x="9472447" y="2884258"/>
                <a:ext cx="343598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343598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343598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33350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343598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343598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33350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343598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343598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33350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343598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343598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33350">
                    <a:moveTo>
                      <a:pt x="3435794" y="122834"/>
                    </a:moveTo>
                    <a:lnTo>
                      <a:pt x="3425545" y="122834"/>
                    </a:lnTo>
                    <a:lnTo>
                      <a:pt x="3425545" y="133070"/>
                    </a:lnTo>
                    <a:lnTo>
                      <a:pt x="3435794" y="133070"/>
                    </a:lnTo>
                    <a:lnTo>
                      <a:pt x="3435794" y="122834"/>
                    </a:lnTo>
                    <a:close/>
                  </a:path>
                  <a:path w="3435984" h="133350">
                    <a:moveTo>
                      <a:pt x="3435794" y="61417"/>
                    </a:moveTo>
                    <a:lnTo>
                      <a:pt x="3425545" y="61417"/>
                    </a:lnTo>
                    <a:lnTo>
                      <a:pt x="3425545" y="71653"/>
                    </a:lnTo>
                    <a:lnTo>
                      <a:pt x="3435794" y="71653"/>
                    </a:lnTo>
                    <a:lnTo>
                      <a:pt x="3435794" y="61417"/>
                    </a:lnTo>
                    <a:close/>
                  </a:path>
                  <a:path w="3435984" h="133350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1" name="object 271"/>
              <p:cNvSpPr/>
              <p:nvPr/>
            </p:nvSpPr>
            <p:spPr>
              <a:xfrm>
                <a:off x="9329408" y="2891843"/>
                <a:ext cx="357377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73779" h="180975">
                    <a:moveTo>
                      <a:pt x="357371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73716" y="0"/>
                    </a:lnTo>
                    <a:lnTo>
                      <a:pt x="3573716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2" name="object 272"/>
              <p:cNvSpPr/>
              <p:nvPr/>
            </p:nvSpPr>
            <p:spPr>
              <a:xfrm>
                <a:off x="9472447" y="2638615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4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3435984" h="194944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94944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9494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94944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3435984" h="194944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94944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94944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94944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3435984" h="194944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94944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94944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94944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3435984" h="194944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94944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94944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94944">
                    <a:moveTo>
                      <a:pt x="3435794" y="184238"/>
                    </a:moveTo>
                    <a:lnTo>
                      <a:pt x="3425545" y="184238"/>
                    </a:lnTo>
                    <a:lnTo>
                      <a:pt x="3425545" y="194475"/>
                    </a:lnTo>
                    <a:lnTo>
                      <a:pt x="3435794" y="194475"/>
                    </a:lnTo>
                    <a:lnTo>
                      <a:pt x="3435794" y="184238"/>
                    </a:lnTo>
                    <a:close/>
                  </a:path>
                  <a:path w="3435984" h="194944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94944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94944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3" name="object 273"/>
              <p:cNvSpPr/>
              <p:nvPr/>
            </p:nvSpPr>
            <p:spPr>
              <a:xfrm>
                <a:off x="9290140" y="2666301"/>
                <a:ext cx="36131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613150" h="180975">
                    <a:moveTo>
                      <a:pt x="361298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612983" y="0"/>
                    </a:lnTo>
                    <a:lnTo>
                      <a:pt x="361298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4" name="object 274"/>
              <p:cNvSpPr/>
              <p:nvPr/>
            </p:nvSpPr>
            <p:spPr>
              <a:xfrm>
                <a:off x="9472447" y="2392959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4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3435984" h="194944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94944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9494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94944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3435984" h="194944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94944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94944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94944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3435984" h="194944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94944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94944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94944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3435984" h="194944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94944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94944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94944">
                    <a:moveTo>
                      <a:pt x="3435794" y="184238"/>
                    </a:moveTo>
                    <a:lnTo>
                      <a:pt x="3425545" y="184238"/>
                    </a:lnTo>
                    <a:lnTo>
                      <a:pt x="3425545" y="194475"/>
                    </a:lnTo>
                    <a:lnTo>
                      <a:pt x="3435794" y="194475"/>
                    </a:lnTo>
                    <a:lnTo>
                      <a:pt x="3435794" y="184238"/>
                    </a:lnTo>
                    <a:close/>
                  </a:path>
                  <a:path w="3435984" h="194944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94944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94944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5" name="object 275"/>
              <p:cNvSpPr/>
              <p:nvPr/>
            </p:nvSpPr>
            <p:spPr>
              <a:xfrm>
                <a:off x="9301159" y="2440760"/>
                <a:ext cx="360235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602354" h="180975">
                    <a:moveTo>
                      <a:pt x="360196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601964" y="0"/>
                    </a:lnTo>
                    <a:lnTo>
                      <a:pt x="3601964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6" name="object 276"/>
              <p:cNvSpPr/>
              <p:nvPr/>
            </p:nvSpPr>
            <p:spPr>
              <a:xfrm>
                <a:off x="9472447" y="2208720"/>
                <a:ext cx="343598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33350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33350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33350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33350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33350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33350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33350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33350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33350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7" name="object 277"/>
              <p:cNvSpPr/>
              <p:nvPr/>
            </p:nvSpPr>
            <p:spPr>
              <a:xfrm>
                <a:off x="9325804" y="2215218"/>
                <a:ext cx="35775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77590" h="180975">
                    <a:moveTo>
                      <a:pt x="3577319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77319" y="0"/>
                    </a:lnTo>
                    <a:lnTo>
                      <a:pt x="3577319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8" name="object 278"/>
              <p:cNvSpPr/>
              <p:nvPr/>
            </p:nvSpPr>
            <p:spPr>
              <a:xfrm>
                <a:off x="9472447" y="2024468"/>
                <a:ext cx="343598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343598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343598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33350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343598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343598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33350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343598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343598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33350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343598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343598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33350">
                    <a:moveTo>
                      <a:pt x="3435794" y="122834"/>
                    </a:moveTo>
                    <a:lnTo>
                      <a:pt x="3425545" y="122834"/>
                    </a:lnTo>
                    <a:lnTo>
                      <a:pt x="3425545" y="133070"/>
                    </a:lnTo>
                    <a:lnTo>
                      <a:pt x="3435794" y="133070"/>
                    </a:lnTo>
                    <a:lnTo>
                      <a:pt x="3435794" y="122834"/>
                    </a:lnTo>
                    <a:close/>
                  </a:path>
                  <a:path w="3435984" h="133350">
                    <a:moveTo>
                      <a:pt x="3435794" y="61417"/>
                    </a:moveTo>
                    <a:lnTo>
                      <a:pt x="3425545" y="61417"/>
                    </a:lnTo>
                    <a:lnTo>
                      <a:pt x="3425545" y="71653"/>
                    </a:lnTo>
                    <a:lnTo>
                      <a:pt x="3435794" y="71653"/>
                    </a:lnTo>
                    <a:lnTo>
                      <a:pt x="3435794" y="61417"/>
                    </a:lnTo>
                    <a:close/>
                  </a:path>
                  <a:path w="3435984" h="133350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9" name="object 279"/>
              <p:cNvSpPr/>
              <p:nvPr/>
            </p:nvSpPr>
            <p:spPr>
              <a:xfrm>
                <a:off x="9331083" y="1989677"/>
                <a:ext cx="357251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72509" h="180975">
                    <a:moveTo>
                      <a:pt x="357204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72041" y="0"/>
                    </a:lnTo>
                    <a:lnTo>
                      <a:pt x="3572041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280" name="object 280"/>
            <p:cNvSpPr txBox="1"/>
            <p:nvPr/>
          </p:nvSpPr>
          <p:spPr>
            <a:xfrm>
              <a:off x="7835899" y="6308853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1" name="object 281"/>
            <p:cNvSpPr txBox="1"/>
            <p:nvPr/>
          </p:nvSpPr>
          <p:spPr>
            <a:xfrm>
              <a:off x="8562307" y="6308853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2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2" name="object 282"/>
            <p:cNvSpPr txBox="1"/>
            <p:nvPr/>
          </p:nvSpPr>
          <p:spPr>
            <a:xfrm>
              <a:off x="9156448" y="6293887"/>
              <a:ext cx="1307166" cy="352608"/>
            </a:xfrm>
            <a:prstGeom prst="rect">
              <a:avLst/>
            </a:prstGeom>
          </p:spPr>
          <p:txBody>
            <a:bodyPr vert="horz" wrap="square" lIns="0" tIns="28015" rIns="0" bIns="0" rtlCol="0">
              <a:spAutoFit/>
            </a:bodyPr>
            <a:lstStyle/>
            <a:p>
              <a:pPr algn="ctr">
                <a:spcBef>
                  <a:spcPts val="221"/>
                </a:spcBef>
                <a:tabLst>
                  <a:tab pos="755317" algn="l"/>
                </a:tabLst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40%	60%</a:t>
              </a:r>
              <a:endParaRPr sz="838" dirty="0">
                <a:latin typeface="Segoe UI"/>
                <a:cs typeface="Segoe UI"/>
              </a:endParaRPr>
            </a:p>
            <a:p>
              <a:pPr algn="ctr">
                <a:spcBef>
                  <a:spcPts val="194"/>
                </a:spcBef>
              </a:pPr>
              <a:r>
                <a:rPr sz="1200" spc="-26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Sentiment</a:t>
              </a:r>
              <a:r>
                <a:rPr sz="1200" spc="-119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 </a:t>
              </a:r>
              <a:r>
                <a:rPr sz="1200" spc="-31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Percentage</a:t>
              </a:r>
              <a:endParaRPr sz="1200" dirty="0">
                <a:latin typeface="Arial Narrow" panose="020B0606020202030204" pitchFamily="34" charset="0"/>
                <a:cs typeface="Tahoma"/>
              </a:endParaRPr>
            </a:p>
          </p:txBody>
        </p:sp>
        <p:sp>
          <p:nvSpPr>
            <p:cNvPr id="283" name="object 283"/>
            <p:cNvSpPr txBox="1"/>
            <p:nvPr/>
          </p:nvSpPr>
          <p:spPr>
            <a:xfrm>
              <a:off x="10829213" y="6308853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8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4" name="object 284"/>
            <p:cNvSpPr txBox="1"/>
            <p:nvPr/>
          </p:nvSpPr>
          <p:spPr>
            <a:xfrm>
              <a:off x="11555620" y="6308853"/>
              <a:ext cx="286871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10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5" name="object 285"/>
            <p:cNvSpPr txBox="1"/>
            <p:nvPr/>
          </p:nvSpPr>
          <p:spPr>
            <a:xfrm>
              <a:off x="7373828" y="3885083"/>
              <a:ext cx="153888" cy="418286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1204"/>
                </a:lnSpc>
              </a:pPr>
              <a:r>
                <a:rPr sz="1147" spc="-93" dirty="0">
                  <a:solidFill>
                    <a:srgbClr val="252423"/>
                  </a:solidFill>
                  <a:latin typeface="Tahoma"/>
                  <a:cs typeface="Tahoma"/>
                </a:rPr>
                <a:t>Y</a:t>
              </a:r>
              <a:r>
                <a:rPr sz="1147" dirty="0">
                  <a:solidFill>
                    <a:srgbClr val="252423"/>
                  </a:solidFill>
                  <a:latin typeface="Tahoma"/>
                  <a:cs typeface="Tahoma"/>
                </a:rPr>
                <a:t>ear</a:t>
              </a:r>
              <a:endParaRPr sz="1147" dirty="0">
                <a:latin typeface="Tahoma"/>
                <a:cs typeface="Tahoma"/>
              </a:endParaRPr>
            </a:p>
          </p:txBody>
        </p:sp>
        <p:sp>
          <p:nvSpPr>
            <p:cNvPr id="286" name="object 286"/>
            <p:cNvSpPr txBox="1"/>
            <p:nvPr/>
          </p:nvSpPr>
          <p:spPr>
            <a:xfrm>
              <a:off x="7585321" y="5332430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7" name="object 287"/>
            <p:cNvSpPr txBox="1"/>
            <p:nvPr/>
          </p:nvSpPr>
          <p:spPr>
            <a:xfrm>
              <a:off x="7585321" y="4337393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8" name="object 288"/>
            <p:cNvSpPr txBox="1"/>
            <p:nvPr/>
          </p:nvSpPr>
          <p:spPr>
            <a:xfrm>
              <a:off x="7585321" y="3342357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9" name="object 289"/>
            <p:cNvSpPr txBox="1"/>
            <p:nvPr/>
          </p:nvSpPr>
          <p:spPr>
            <a:xfrm>
              <a:off x="7585321" y="2347320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90" name="object 290"/>
            <p:cNvSpPr/>
            <p:nvPr/>
          </p:nvSpPr>
          <p:spPr>
            <a:xfrm>
              <a:off x="7389761" y="1507062"/>
              <a:ext cx="89416" cy="92417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1" name="object 291"/>
            <p:cNvSpPr/>
            <p:nvPr/>
          </p:nvSpPr>
          <p:spPr>
            <a:xfrm>
              <a:off x="8031228" y="1507062"/>
              <a:ext cx="89416" cy="92417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2" name="object 292"/>
            <p:cNvSpPr/>
            <p:nvPr/>
          </p:nvSpPr>
          <p:spPr>
            <a:xfrm>
              <a:off x="8591381" y="1507062"/>
              <a:ext cx="89416" cy="92417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3" name="object 293"/>
            <p:cNvSpPr txBox="1"/>
            <p:nvPr/>
          </p:nvSpPr>
          <p:spPr>
            <a:xfrm>
              <a:off x="7434469" y="1176890"/>
              <a:ext cx="2057400" cy="460915"/>
            </a:xfrm>
            <a:prstGeom prst="rect">
              <a:avLst/>
            </a:prstGeom>
          </p:spPr>
          <p:txBody>
            <a:bodyPr vert="horz" wrap="square" lIns="0" tIns="11766" rIns="0" bIns="0" rtlCol="0">
              <a:spAutoFit/>
            </a:bodyPr>
            <a:lstStyle/>
            <a:p>
              <a:pPr marL="11206">
                <a:spcBef>
                  <a:spcPts val="93"/>
                </a:spcBef>
              </a:pPr>
              <a:r>
                <a:rPr sz="1400" b="1" spc="-53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Sentiment Percentage </a:t>
              </a:r>
              <a:r>
                <a:rPr sz="1400" b="1" spc="-66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by</a:t>
              </a:r>
              <a:r>
                <a:rPr sz="1400" b="1" spc="-212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 </a:t>
              </a:r>
              <a:r>
                <a:rPr sz="1400" b="1" spc="-75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Year</a:t>
              </a:r>
              <a:endParaRPr sz="1400" b="1" dirty="0">
                <a:latin typeface="Arial Narrow" panose="020B0606020202030204" pitchFamily="34" charset="0"/>
                <a:cs typeface="Tahoma"/>
              </a:endParaRPr>
            </a:p>
            <a:p>
              <a:pPr marL="129435">
                <a:spcBef>
                  <a:spcPts val="799"/>
                </a:spcBef>
                <a:tabLst>
                  <a:tab pos="769885" algn="l"/>
                  <a:tab pos="1328528" algn="l"/>
                </a:tabLst>
              </a:pPr>
              <a:r>
                <a:rPr sz="927" spc="9" dirty="0">
                  <a:solidFill>
                    <a:srgbClr val="605D5C"/>
                  </a:solidFill>
                  <a:latin typeface="Segoe UI"/>
                  <a:cs typeface="Segoe UI"/>
                </a:rPr>
                <a:t>Negative	Neutral	</a:t>
              </a:r>
              <a:r>
                <a:rPr sz="927" spc="4" dirty="0">
                  <a:solidFill>
                    <a:srgbClr val="605D5C"/>
                  </a:solidFill>
                  <a:latin typeface="Segoe UI"/>
                  <a:cs typeface="Segoe UI"/>
                </a:rPr>
                <a:t>Positive</a:t>
              </a:r>
              <a:endParaRPr sz="927" dirty="0">
                <a:latin typeface="Segoe UI"/>
                <a:cs typeface="Segoe UI"/>
              </a:endParaRPr>
            </a:p>
          </p:txBody>
        </p:sp>
      </p:grpSp>
      <p:pic>
        <p:nvPicPr>
          <p:cNvPr id="295" name="Picture 29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8561" y="1220068"/>
            <a:ext cx="6563405" cy="5685497"/>
          </a:xfrm>
          <a:prstGeom prst="rect">
            <a:avLst/>
          </a:prstGeom>
        </p:spPr>
      </p:pic>
      <p:sp>
        <p:nvSpPr>
          <p:cNvPr id="302" name="Oval 301"/>
          <p:cNvSpPr/>
          <p:nvPr/>
        </p:nvSpPr>
        <p:spPr>
          <a:xfrm rot="18181976">
            <a:off x="1887970" y="4296085"/>
            <a:ext cx="1172272" cy="323918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3" name="Oval 302"/>
          <p:cNvSpPr/>
          <p:nvPr/>
        </p:nvSpPr>
        <p:spPr>
          <a:xfrm rot="18181976">
            <a:off x="1976335" y="3619576"/>
            <a:ext cx="1261919" cy="368741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5" name="Oval 304"/>
          <p:cNvSpPr/>
          <p:nvPr/>
        </p:nvSpPr>
        <p:spPr>
          <a:xfrm rot="18181976">
            <a:off x="2508958" y="3736499"/>
            <a:ext cx="1349333" cy="494246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7" name="Oval 306"/>
          <p:cNvSpPr/>
          <p:nvPr/>
        </p:nvSpPr>
        <p:spPr>
          <a:xfrm rot="18181976">
            <a:off x="1271932" y="5609233"/>
            <a:ext cx="1387451" cy="471498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8" name="Oval 307"/>
          <p:cNvSpPr/>
          <p:nvPr/>
        </p:nvSpPr>
        <p:spPr>
          <a:xfrm rot="1080000">
            <a:off x="3696192" y="5698133"/>
            <a:ext cx="1471911" cy="417641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7" name="object 2">
            <a:extLst>
              <a:ext uri="{FF2B5EF4-FFF2-40B4-BE49-F238E27FC236}">
                <a16:creationId xmlns:a16="http://schemas.microsoft.com/office/drawing/2014/main" id="{82BE3E90-ADDF-470B-BA33-826EA2380A4A}"/>
              </a:ext>
            </a:extLst>
          </p:cNvPr>
          <p:cNvSpPr txBox="1"/>
          <p:nvPr/>
        </p:nvSpPr>
        <p:spPr>
          <a:xfrm>
            <a:off x="6869690" y="291285"/>
            <a:ext cx="660026" cy="196886"/>
          </a:xfrm>
          <a:prstGeom prst="rect">
            <a:avLst/>
          </a:prstGeom>
          <a:solidFill>
            <a:srgbClr val="FFC823"/>
          </a:solidFill>
          <a:ln w="10239">
            <a:solidFill>
              <a:srgbClr val="E9E9E9"/>
            </a:solidFill>
          </a:ln>
        </p:spPr>
        <p:txBody>
          <a:bodyPr vert="horz" wrap="square" lIns="0" tIns="42582" rIns="0" bIns="0" rtlCol="0">
            <a:spAutoFit/>
          </a:bodyPr>
          <a:lstStyle/>
          <a:p>
            <a:pPr marL="58274">
              <a:spcBef>
                <a:spcPts val="335"/>
              </a:spcBef>
            </a:pPr>
            <a:r>
              <a:rPr sz="1000" spc="9" dirty="0">
                <a:latin typeface="Arial Black"/>
                <a:cs typeface="Arial Black"/>
              </a:rPr>
              <a:t>1996</a:t>
            </a:r>
            <a:endParaRPr sz="1000" dirty="0">
              <a:latin typeface="Arial Black"/>
              <a:cs typeface="Arial Black"/>
            </a:endParaRPr>
          </a:p>
        </p:txBody>
      </p:sp>
      <p:sp>
        <p:nvSpPr>
          <p:cNvPr id="318" name="object 3">
            <a:extLst>
              <a:ext uri="{FF2B5EF4-FFF2-40B4-BE49-F238E27FC236}">
                <a16:creationId xmlns:a16="http://schemas.microsoft.com/office/drawing/2014/main" id="{4E2C072A-DDBD-45C3-A198-AEB98ABEF6B9}"/>
              </a:ext>
            </a:extLst>
          </p:cNvPr>
          <p:cNvSpPr txBox="1"/>
          <p:nvPr/>
        </p:nvSpPr>
        <p:spPr>
          <a:xfrm>
            <a:off x="8462372" y="301446"/>
            <a:ext cx="660026" cy="196886"/>
          </a:xfrm>
          <a:prstGeom prst="rect">
            <a:avLst/>
          </a:prstGeom>
          <a:solidFill>
            <a:srgbClr val="FFC823"/>
          </a:solidFill>
          <a:ln w="10239">
            <a:solidFill>
              <a:srgbClr val="E9E9E9"/>
            </a:solidFill>
          </a:ln>
        </p:spPr>
        <p:txBody>
          <a:bodyPr vert="horz" wrap="square" lIns="0" tIns="42582" rIns="0" bIns="0" rtlCol="0">
            <a:spAutoFit/>
          </a:bodyPr>
          <a:lstStyle/>
          <a:p>
            <a:pPr marL="57713">
              <a:spcBef>
                <a:spcPts val="335"/>
              </a:spcBef>
            </a:pPr>
            <a:r>
              <a:rPr sz="1000" spc="9" dirty="0">
                <a:latin typeface="Arial Black"/>
                <a:cs typeface="Arial Black"/>
              </a:rPr>
              <a:t>2018</a:t>
            </a:r>
            <a:endParaRPr sz="1000" dirty="0">
              <a:latin typeface="Arial Black"/>
              <a:cs typeface="Arial Black"/>
            </a:endParaRPr>
          </a:p>
        </p:txBody>
      </p:sp>
      <p:grpSp>
        <p:nvGrpSpPr>
          <p:cNvPr id="319" name="object 4">
            <a:extLst>
              <a:ext uri="{FF2B5EF4-FFF2-40B4-BE49-F238E27FC236}">
                <a16:creationId xmlns:a16="http://schemas.microsoft.com/office/drawing/2014/main" id="{C1319823-1981-4549-A611-EF262ABAD220}"/>
              </a:ext>
            </a:extLst>
          </p:cNvPr>
          <p:cNvGrpSpPr/>
          <p:nvPr/>
        </p:nvGrpSpPr>
        <p:grpSpPr>
          <a:xfrm>
            <a:off x="6874192" y="595075"/>
            <a:ext cx="2312894" cy="235324"/>
            <a:chOff x="6626555" y="649843"/>
            <a:chExt cx="2621280" cy="266700"/>
          </a:xfrm>
        </p:grpSpPr>
        <p:sp>
          <p:nvSpPr>
            <p:cNvPr id="320" name="object 5">
              <a:extLst>
                <a:ext uri="{FF2B5EF4-FFF2-40B4-BE49-F238E27FC236}">
                  <a16:creationId xmlns:a16="http://schemas.microsoft.com/office/drawing/2014/main" id="{D19A8120-043D-4F39-8F75-30A8914CDF6D}"/>
                </a:ext>
              </a:extLst>
            </p:cNvPr>
            <p:cNvSpPr/>
            <p:nvPr/>
          </p:nvSpPr>
          <p:spPr>
            <a:xfrm>
              <a:off x="6759667" y="762476"/>
              <a:ext cx="2375535" cy="31115"/>
            </a:xfrm>
            <a:custGeom>
              <a:avLst/>
              <a:gdLst/>
              <a:ahLst/>
              <a:cxnLst/>
              <a:rect l="l" t="t" r="r" b="b"/>
              <a:pathLst>
                <a:path w="2375534" h="31115">
                  <a:moveTo>
                    <a:pt x="2375534" y="30718"/>
                  </a:moveTo>
                  <a:lnTo>
                    <a:pt x="0" y="30718"/>
                  </a:lnTo>
                  <a:lnTo>
                    <a:pt x="0" y="0"/>
                  </a:lnTo>
                  <a:lnTo>
                    <a:pt x="2375534" y="0"/>
                  </a:lnTo>
                  <a:lnTo>
                    <a:pt x="2375534" y="30718"/>
                  </a:lnTo>
                  <a:close/>
                </a:path>
              </a:pathLst>
            </a:custGeom>
            <a:solidFill>
              <a:srgbClr val="E9E9E9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1" name="object 6">
              <a:extLst>
                <a:ext uri="{FF2B5EF4-FFF2-40B4-BE49-F238E27FC236}">
                  <a16:creationId xmlns:a16="http://schemas.microsoft.com/office/drawing/2014/main" id="{EC8321E8-F03F-4B03-9616-82DD31D57568}"/>
                </a:ext>
              </a:extLst>
            </p:cNvPr>
            <p:cNvSpPr/>
            <p:nvPr/>
          </p:nvSpPr>
          <p:spPr>
            <a:xfrm>
              <a:off x="6759667" y="762476"/>
              <a:ext cx="2375535" cy="31115"/>
            </a:xfrm>
            <a:custGeom>
              <a:avLst/>
              <a:gdLst/>
              <a:ahLst/>
              <a:cxnLst/>
              <a:rect l="l" t="t" r="r" b="b"/>
              <a:pathLst>
                <a:path w="2375534" h="31115">
                  <a:moveTo>
                    <a:pt x="2368122" y="30718"/>
                  </a:moveTo>
                  <a:lnTo>
                    <a:pt x="7411" y="30718"/>
                  </a:lnTo>
                  <a:lnTo>
                    <a:pt x="4998" y="29718"/>
                  </a:lnTo>
                  <a:lnTo>
                    <a:pt x="999" y="25719"/>
                  </a:lnTo>
                  <a:lnTo>
                    <a:pt x="0" y="23306"/>
                  </a:lnTo>
                  <a:lnTo>
                    <a:pt x="0" y="20478"/>
                  </a:lnTo>
                  <a:lnTo>
                    <a:pt x="0" y="7411"/>
                  </a:lnTo>
                  <a:lnTo>
                    <a:pt x="999" y="4998"/>
                  </a:lnTo>
                  <a:lnTo>
                    <a:pt x="4998" y="999"/>
                  </a:lnTo>
                  <a:lnTo>
                    <a:pt x="7411" y="0"/>
                  </a:lnTo>
                  <a:lnTo>
                    <a:pt x="2368122" y="0"/>
                  </a:lnTo>
                  <a:lnTo>
                    <a:pt x="2370536" y="999"/>
                  </a:lnTo>
                  <a:lnTo>
                    <a:pt x="2374534" y="4998"/>
                  </a:lnTo>
                  <a:lnTo>
                    <a:pt x="2375534" y="7411"/>
                  </a:lnTo>
                  <a:lnTo>
                    <a:pt x="2375534" y="23306"/>
                  </a:lnTo>
                  <a:lnTo>
                    <a:pt x="2374534" y="25719"/>
                  </a:lnTo>
                  <a:lnTo>
                    <a:pt x="2370536" y="29718"/>
                  </a:lnTo>
                  <a:lnTo>
                    <a:pt x="2368122" y="30718"/>
                  </a:lnTo>
                  <a:close/>
                </a:path>
              </a:pathLst>
            </a:custGeom>
            <a:solidFill>
              <a:srgbClr val="232E3F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2" name="object 7">
              <a:extLst>
                <a:ext uri="{FF2B5EF4-FFF2-40B4-BE49-F238E27FC236}">
                  <a16:creationId xmlns:a16="http://schemas.microsoft.com/office/drawing/2014/main" id="{1A404F85-1E65-4DB1-83A3-EB3EF656BD79}"/>
                </a:ext>
              </a:extLst>
            </p:cNvPr>
            <p:cNvSpPr/>
            <p:nvPr/>
          </p:nvSpPr>
          <p:spPr>
            <a:xfrm>
              <a:off x="9114723" y="762476"/>
              <a:ext cx="20955" cy="31115"/>
            </a:xfrm>
            <a:custGeom>
              <a:avLst/>
              <a:gdLst/>
              <a:ahLst/>
              <a:cxnLst/>
              <a:rect l="l" t="t" r="r" b="b"/>
              <a:pathLst>
                <a:path w="20954" h="31115">
                  <a:moveTo>
                    <a:pt x="20478" y="30718"/>
                  </a:moveTo>
                  <a:lnTo>
                    <a:pt x="0" y="30718"/>
                  </a:lnTo>
                  <a:lnTo>
                    <a:pt x="0" y="0"/>
                  </a:lnTo>
                  <a:lnTo>
                    <a:pt x="20478" y="0"/>
                  </a:lnTo>
                  <a:lnTo>
                    <a:pt x="20478" y="30718"/>
                  </a:lnTo>
                  <a:close/>
                </a:path>
              </a:pathLst>
            </a:custGeom>
            <a:solidFill>
              <a:srgbClr val="E9E9E9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3" name="object 8">
              <a:extLst>
                <a:ext uri="{FF2B5EF4-FFF2-40B4-BE49-F238E27FC236}">
                  <a16:creationId xmlns:a16="http://schemas.microsoft.com/office/drawing/2014/main" id="{24DB3DE0-77A7-4FD7-B029-CB38AF4F4932}"/>
                </a:ext>
              </a:extLst>
            </p:cNvPr>
            <p:cNvSpPr/>
            <p:nvPr/>
          </p:nvSpPr>
          <p:spPr>
            <a:xfrm>
              <a:off x="6636794" y="660082"/>
              <a:ext cx="245745" cy="245744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4" name="object 9">
              <a:extLst>
                <a:ext uri="{FF2B5EF4-FFF2-40B4-BE49-F238E27FC236}">
                  <a16:creationId xmlns:a16="http://schemas.microsoft.com/office/drawing/2014/main" id="{E85F12EF-FB92-4009-AF8D-820A83817C08}"/>
                </a:ext>
              </a:extLst>
            </p:cNvPr>
            <p:cNvSpPr/>
            <p:nvPr/>
          </p:nvSpPr>
          <p:spPr>
            <a:xfrm>
              <a:off x="6636794" y="660082"/>
              <a:ext cx="245745" cy="245745"/>
            </a:xfrm>
            <a:custGeom>
              <a:avLst/>
              <a:gdLst/>
              <a:ahLst/>
              <a:cxnLst/>
              <a:rect l="l" t="t" r="r" b="b"/>
              <a:pathLst>
                <a:path w="245745" h="245744">
                  <a:moveTo>
                    <a:pt x="245745" y="122872"/>
                  </a:moveTo>
                  <a:lnTo>
                    <a:pt x="239479" y="162439"/>
                  </a:lnTo>
                  <a:lnTo>
                    <a:pt x="236391" y="169893"/>
                  </a:lnTo>
                  <a:lnTo>
                    <a:pt x="233304" y="177347"/>
                  </a:lnTo>
                  <a:lnTo>
                    <a:pt x="229519" y="184428"/>
                  </a:lnTo>
                  <a:lnTo>
                    <a:pt x="225037" y="191136"/>
                  </a:lnTo>
                  <a:lnTo>
                    <a:pt x="220554" y="197844"/>
                  </a:lnTo>
                  <a:lnTo>
                    <a:pt x="215461" y="204051"/>
                  </a:lnTo>
                  <a:lnTo>
                    <a:pt x="209756" y="209756"/>
                  </a:lnTo>
                  <a:lnTo>
                    <a:pt x="204051" y="215461"/>
                  </a:lnTo>
                  <a:lnTo>
                    <a:pt x="169893" y="236391"/>
                  </a:lnTo>
                  <a:lnTo>
                    <a:pt x="162439" y="239479"/>
                  </a:lnTo>
                  <a:lnTo>
                    <a:pt x="154756" y="241810"/>
                  </a:lnTo>
                  <a:lnTo>
                    <a:pt x="146843" y="243383"/>
                  </a:lnTo>
                  <a:lnTo>
                    <a:pt x="138930" y="244957"/>
                  </a:lnTo>
                  <a:lnTo>
                    <a:pt x="130940" y="245744"/>
                  </a:lnTo>
                  <a:lnTo>
                    <a:pt x="122872" y="245744"/>
                  </a:lnTo>
                  <a:lnTo>
                    <a:pt x="114804" y="245744"/>
                  </a:lnTo>
                  <a:lnTo>
                    <a:pt x="106814" y="244957"/>
                  </a:lnTo>
                  <a:lnTo>
                    <a:pt x="98901" y="243383"/>
                  </a:lnTo>
                  <a:lnTo>
                    <a:pt x="90988" y="241810"/>
                  </a:lnTo>
                  <a:lnTo>
                    <a:pt x="83304" y="239479"/>
                  </a:lnTo>
                  <a:lnTo>
                    <a:pt x="75851" y="236391"/>
                  </a:lnTo>
                  <a:lnTo>
                    <a:pt x="68397" y="233304"/>
                  </a:lnTo>
                  <a:lnTo>
                    <a:pt x="61316" y="229519"/>
                  </a:lnTo>
                  <a:lnTo>
                    <a:pt x="54608" y="225037"/>
                  </a:lnTo>
                  <a:lnTo>
                    <a:pt x="47899" y="220554"/>
                  </a:lnTo>
                  <a:lnTo>
                    <a:pt x="20707" y="191136"/>
                  </a:lnTo>
                  <a:lnTo>
                    <a:pt x="9353" y="169893"/>
                  </a:lnTo>
                  <a:lnTo>
                    <a:pt x="6265" y="162439"/>
                  </a:lnTo>
                  <a:lnTo>
                    <a:pt x="3934" y="154756"/>
                  </a:lnTo>
                  <a:lnTo>
                    <a:pt x="2360" y="146843"/>
                  </a:lnTo>
                  <a:lnTo>
                    <a:pt x="786" y="138930"/>
                  </a:lnTo>
                  <a:lnTo>
                    <a:pt x="0" y="130940"/>
                  </a:lnTo>
                  <a:lnTo>
                    <a:pt x="0" y="122872"/>
                  </a:lnTo>
                  <a:lnTo>
                    <a:pt x="0" y="114804"/>
                  </a:lnTo>
                  <a:lnTo>
                    <a:pt x="786" y="106814"/>
                  </a:lnTo>
                  <a:lnTo>
                    <a:pt x="2360" y="98901"/>
                  </a:lnTo>
                  <a:lnTo>
                    <a:pt x="3934" y="90988"/>
                  </a:lnTo>
                  <a:lnTo>
                    <a:pt x="6265" y="83304"/>
                  </a:lnTo>
                  <a:lnTo>
                    <a:pt x="9353" y="75851"/>
                  </a:lnTo>
                  <a:lnTo>
                    <a:pt x="12440" y="68397"/>
                  </a:lnTo>
                  <a:lnTo>
                    <a:pt x="35988" y="35988"/>
                  </a:lnTo>
                  <a:lnTo>
                    <a:pt x="41693" y="30283"/>
                  </a:lnTo>
                  <a:lnTo>
                    <a:pt x="47899" y="25190"/>
                  </a:lnTo>
                  <a:lnTo>
                    <a:pt x="54608" y="20707"/>
                  </a:lnTo>
                  <a:lnTo>
                    <a:pt x="61316" y="16225"/>
                  </a:lnTo>
                  <a:lnTo>
                    <a:pt x="98901" y="2360"/>
                  </a:lnTo>
                  <a:lnTo>
                    <a:pt x="114804" y="0"/>
                  </a:lnTo>
                  <a:lnTo>
                    <a:pt x="122872" y="0"/>
                  </a:lnTo>
                  <a:lnTo>
                    <a:pt x="130940" y="0"/>
                  </a:lnTo>
                  <a:lnTo>
                    <a:pt x="138930" y="786"/>
                  </a:lnTo>
                  <a:lnTo>
                    <a:pt x="146843" y="2360"/>
                  </a:lnTo>
                  <a:lnTo>
                    <a:pt x="154756" y="3934"/>
                  </a:lnTo>
                  <a:lnTo>
                    <a:pt x="191136" y="20707"/>
                  </a:lnTo>
                  <a:lnTo>
                    <a:pt x="209756" y="35988"/>
                  </a:lnTo>
                  <a:lnTo>
                    <a:pt x="215461" y="41693"/>
                  </a:lnTo>
                  <a:lnTo>
                    <a:pt x="220554" y="47899"/>
                  </a:lnTo>
                  <a:lnTo>
                    <a:pt x="225037" y="54608"/>
                  </a:lnTo>
                  <a:lnTo>
                    <a:pt x="229519" y="61316"/>
                  </a:lnTo>
                  <a:lnTo>
                    <a:pt x="233304" y="68397"/>
                  </a:lnTo>
                  <a:lnTo>
                    <a:pt x="236391" y="75851"/>
                  </a:lnTo>
                  <a:lnTo>
                    <a:pt x="239479" y="83304"/>
                  </a:lnTo>
                  <a:lnTo>
                    <a:pt x="241810" y="90988"/>
                  </a:lnTo>
                  <a:lnTo>
                    <a:pt x="243384" y="98901"/>
                  </a:lnTo>
                  <a:lnTo>
                    <a:pt x="244957" y="106814"/>
                  </a:lnTo>
                  <a:lnTo>
                    <a:pt x="245744" y="114804"/>
                  </a:lnTo>
                  <a:lnTo>
                    <a:pt x="245745" y="122872"/>
                  </a:lnTo>
                  <a:close/>
                </a:path>
              </a:pathLst>
            </a:custGeom>
            <a:ln w="20478">
              <a:solidFill>
                <a:srgbClr val="232E3F"/>
              </a:solidFill>
            </a:ln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5" name="object 10">
              <a:extLst>
                <a:ext uri="{FF2B5EF4-FFF2-40B4-BE49-F238E27FC236}">
                  <a16:creationId xmlns:a16="http://schemas.microsoft.com/office/drawing/2014/main" id="{8D1A47E8-4D24-459F-8F53-61404E436F8E}"/>
                </a:ext>
              </a:extLst>
            </p:cNvPr>
            <p:cNvSpPr/>
            <p:nvPr/>
          </p:nvSpPr>
          <p:spPr>
            <a:xfrm>
              <a:off x="8991850" y="660082"/>
              <a:ext cx="245745" cy="245744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6" name="object 11">
              <a:extLst>
                <a:ext uri="{FF2B5EF4-FFF2-40B4-BE49-F238E27FC236}">
                  <a16:creationId xmlns:a16="http://schemas.microsoft.com/office/drawing/2014/main" id="{D554AEDC-D06D-46DD-B358-539E18D0C803}"/>
                </a:ext>
              </a:extLst>
            </p:cNvPr>
            <p:cNvSpPr/>
            <p:nvPr/>
          </p:nvSpPr>
          <p:spPr>
            <a:xfrm>
              <a:off x="8991850" y="660082"/>
              <a:ext cx="245745" cy="245745"/>
            </a:xfrm>
            <a:custGeom>
              <a:avLst/>
              <a:gdLst/>
              <a:ahLst/>
              <a:cxnLst/>
              <a:rect l="l" t="t" r="r" b="b"/>
              <a:pathLst>
                <a:path w="245745" h="245744">
                  <a:moveTo>
                    <a:pt x="245745" y="122872"/>
                  </a:moveTo>
                  <a:lnTo>
                    <a:pt x="245745" y="130940"/>
                  </a:lnTo>
                  <a:lnTo>
                    <a:pt x="244958" y="138930"/>
                  </a:lnTo>
                  <a:lnTo>
                    <a:pt x="243384" y="146843"/>
                  </a:lnTo>
                  <a:lnTo>
                    <a:pt x="241810" y="154756"/>
                  </a:lnTo>
                  <a:lnTo>
                    <a:pt x="225036" y="191136"/>
                  </a:lnTo>
                  <a:lnTo>
                    <a:pt x="220554" y="197844"/>
                  </a:lnTo>
                  <a:lnTo>
                    <a:pt x="191136" y="225037"/>
                  </a:lnTo>
                  <a:lnTo>
                    <a:pt x="184428" y="229519"/>
                  </a:lnTo>
                  <a:lnTo>
                    <a:pt x="177347" y="233304"/>
                  </a:lnTo>
                  <a:lnTo>
                    <a:pt x="169893" y="236391"/>
                  </a:lnTo>
                  <a:lnTo>
                    <a:pt x="162440" y="239479"/>
                  </a:lnTo>
                  <a:lnTo>
                    <a:pt x="154756" y="241810"/>
                  </a:lnTo>
                  <a:lnTo>
                    <a:pt x="146843" y="243383"/>
                  </a:lnTo>
                  <a:lnTo>
                    <a:pt x="138930" y="244957"/>
                  </a:lnTo>
                  <a:lnTo>
                    <a:pt x="130940" y="245744"/>
                  </a:lnTo>
                  <a:lnTo>
                    <a:pt x="122872" y="245744"/>
                  </a:lnTo>
                  <a:lnTo>
                    <a:pt x="114804" y="245744"/>
                  </a:lnTo>
                  <a:lnTo>
                    <a:pt x="75851" y="236391"/>
                  </a:lnTo>
                  <a:lnTo>
                    <a:pt x="68397" y="233304"/>
                  </a:lnTo>
                  <a:lnTo>
                    <a:pt x="35988" y="209756"/>
                  </a:lnTo>
                  <a:lnTo>
                    <a:pt x="12440" y="177347"/>
                  </a:lnTo>
                  <a:lnTo>
                    <a:pt x="9353" y="169893"/>
                  </a:lnTo>
                  <a:lnTo>
                    <a:pt x="6265" y="162439"/>
                  </a:lnTo>
                  <a:lnTo>
                    <a:pt x="3934" y="154756"/>
                  </a:lnTo>
                  <a:lnTo>
                    <a:pt x="2360" y="146843"/>
                  </a:lnTo>
                  <a:lnTo>
                    <a:pt x="786" y="138930"/>
                  </a:lnTo>
                  <a:lnTo>
                    <a:pt x="0" y="130940"/>
                  </a:lnTo>
                  <a:lnTo>
                    <a:pt x="0" y="122872"/>
                  </a:lnTo>
                  <a:lnTo>
                    <a:pt x="0" y="114804"/>
                  </a:lnTo>
                  <a:lnTo>
                    <a:pt x="786" y="106814"/>
                  </a:lnTo>
                  <a:lnTo>
                    <a:pt x="2360" y="98901"/>
                  </a:lnTo>
                  <a:lnTo>
                    <a:pt x="3934" y="90988"/>
                  </a:lnTo>
                  <a:lnTo>
                    <a:pt x="6265" y="83304"/>
                  </a:lnTo>
                  <a:lnTo>
                    <a:pt x="9353" y="75851"/>
                  </a:lnTo>
                  <a:lnTo>
                    <a:pt x="12440" y="68397"/>
                  </a:lnTo>
                  <a:lnTo>
                    <a:pt x="16225" y="61316"/>
                  </a:lnTo>
                  <a:lnTo>
                    <a:pt x="20707" y="54608"/>
                  </a:lnTo>
                  <a:lnTo>
                    <a:pt x="25190" y="47899"/>
                  </a:lnTo>
                  <a:lnTo>
                    <a:pt x="30283" y="41693"/>
                  </a:lnTo>
                  <a:lnTo>
                    <a:pt x="35988" y="35988"/>
                  </a:lnTo>
                  <a:lnTo>
                    <a:pt x="41693" y="30283"/>
                  </a:lnTo>
                  <a:lnTo>
                    <a:pt x="47899" y="25190"/>
                  </a:lnTo>
                  <a:lnTo>
                    <a:pt x="54608" y="20707"/>
                  </a:lnTo>
                  <a:lnTo>
                    <a:pt x="61316" y="16225"/>
                  </a:lnTo>
                  <a:lnTo>
                    <a:pt x="98901" y="2360"/>
                  </a:lnTo>
                  <a:lnTo>
                    <a:pt x="114804" y="0"/>
                  </a:lnTo>
                  <a:lnTo>
                    <a:pt x="122872" y="0"/>
                  </a:lnTo>
                  <a:lnTo>
                    <a:pt x="130940" y="0"/>
                  </a:lnTo>
                  <a:lnTo>
                    <a:pt x="138930" y="786"/>
                  </a:lnTo>
                  <a:lnTo>
                    <a:pt x="146843" y="2360"/>
                  </a:lnTo>
                  <a:lnTo>
                    <a:pt x="154756" y="3934"/>
                  </a:lnTo>
                  <a:lnTo>
                    <a:pt x="162440" y="6265"/>
                  </a:lnTo>
                  <a:lnTo>
                    <a:pt x="169893" y="9353"/>
                  </a:lnTo>
                  <a:lnTo>
                    <a:pt x="177347" y="12440"/>
                  </a:lnTo>
                  <a:lnTo>
                    <a:pt x="184428" y="16225"/>
                  </a:lnTo>
                  <a:lnTo>
                    <a:pt x="191136" y="20707"/>
                  </a:lnTo>
                  <a:lnTo>
                    <a:pt x="197844" y="25190"/>
                  </a:lnTo>
                  <a:lnTo>
                    <a:pt x="204051" y="30283"/>
                  </a:lnTo>
                  <a:lnTo>
                    <a:pt x="209756" y="35988"/>
                  </a:lnTo>
                  <a:lnTo>
                    <a:pt x="215461" y="41693"/>
                  </a:lnTo>
                  <a:lnTo>
                    <a:pt x="220554" y="47899"/>
                  </a:lnTo>
                  <a:lnTo>
                    <a:pt x="225037" y="54608"/>
                  </a:lnTo>
                  <a:lnTo>
                    <a:pt x="229519" y="61316"/>
                  </a:lnTo>
                  <a:lnTo>
                    <a:pt x="243384" y="98901"/>
                  </a:lnTo>
                  <a:lnTo>
                    <a:pt x="245745" y="114804"/>
                  </a:lnTo>
                  <a:lnTo>
                    <a:pt x="245745" y="122872"/>
                  </a:lnTo>
                  <a:close/>
                </a:path>
              </a:pathLst>
            </a:custGeom>
            <a:ln w="20478">
              <a:solidFill>
                <a:srgbClr val="232E3F"/>
              </a:solidFill>
            </a:ln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</p:grp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EC4CB5F4-8F26-4B99-99A0-AE95022C4C4A}"/>
              </a:ext>
            </a:extLst>
          </p:cNvPr>
          <p:cNvGrpSpPr/>
          <p:nvPr/>
        </p:nvGrpSpPr>
        <p:grpSpPr>
          <a:xfrm>
            <a:off x="9390873" y="193505"/>
            <a:ext cx="2373835" cy="651351"/>
            <a:chOff x="9138521" y="167673"/>
            <a:chExt cx="2373835" cy="651351"/>
          </a:xfrm>
        </p:grpSpPr>
        <p:sp>
          <p:nvSpPr>
            <p:cNvPr id="339" name="object 2">
              <a:extLst>
                <a:ext uri="{FF2B5EF4-FFF2-40B4-BE49-F238E27FC236}">
                  <a16:creationId xmlns:a16="http://schemas.microsoft.com/office/drawing/2014/main" id="{2AC0AEDD-FD06-47C1-9D85-831901910811}"/>
                </a:ext>
              </a:extLst>
            </p:cNvPr>
            <p:cNvSpPr txBox="1"/>
            <p:nvPr/>
          </p:nvSpPr>
          <p:spPr>
            <a:xfrm>
              <a:off x="9138521" y="167673"/>
              <a:ext cx="1553301" cy="228455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lang="en-US" sz="1400" b="1" dirty="0">
                  <a:solidFill>
                    <a:srgbClr val="252423"/>
                  </a:solidFill>
                  <a:cs typeface="Arial Black"/>
                </a:rPr>
                <a:t>Review Category</a:t>
              </a:r>
            </a:p>
          </p:txBody>
        </p:sp>
        <p:grpSp>
          <p:nvGrpSpPr>
            <p:cNvPr id="340" name="Group 339">
              <a:extLst>
                <a:ext uri="{FF2B5EF4-FFF2-40B4-BE49-F238E27FC236}">
                  <a16:creationId xmlns:a16="http://schemas.microsoft.com/office/drawing/2014/main" id="{B8E286E5-38D8-43C9-85BB-C726862FAFFF}"/>
                </a:ext>
              </a:extLst>
            </p:cNvPr>
            <p:cNvGrpSpPr/>
            <p:nvPr/>
          </p:nvGrpSpPr>
          <p:grpSpPr>
            <a:xfrm>
              <a:off x="9147770" y="420493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347" name="Rectangle: Rounded Corners 346">
                <a:extLst>
                  <a:ext uri="{FF2B5EF4-FFF2-40B4-BE49-F238E27FC236}">
                    <a16:creationId xmlns:a16="http://schemas.microsoft.com/office/drawing/2014/main" id="{9B81EEC2-7DF9-4841-9112-A2CDC73C53CC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8" name="Rectangle: Rounded Corners 4">
                <a:extLst>
                  <a:ext uri="{FF2B5EF4-FFF2-40B4-BE49-F238E27FC236}">
                    <a16:creationId xmlns:a16="http://schemas.microsoft.com/office/drawing/2014/main" id="{157B1BBD-17B0-4A51-AB47-8AF223017C28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Books</a:t>
                </a:r>
              </a:p>
            </p:txBody>
          </p:sp>
        </p:grpSp>
        <p:grpSp>
          <p:nvGrpSpPr>
            <p:cNvPr id="341" name="Group 340">
              <a:extLst>
                <a:ext uri="{FF2B5EF4-FFF2-40B4-BE49-F238E27FC236}">
                  <a16:creationId xmlns:a16="http://schemas.microsoft.com/office/drawing/2014/main" id="{228385AC-68AB-4E46-94B9-0A2E09D885D7}"/>
                </a:ext>
              </a:extLst>
            </p:cNvPr>
            <p:cNvGrpSpPr/>
            <p:nvPr/>
          </p:nvGrpSpPr>
          <p:grpSpPr>
            <a:xfrm>
              <a:off x="9946109" y="423737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345" name="Rectangle: Rounded Corners 344">
                <a:extLst>
                  <a:ext uri="{FF2B5EF4-FFF2-40B4-BE49-F238E27FC236}">
                    <a16:creationId xmlns:a16="http://schemas.microsoft.com/office/drawing/2014/main" id="{20973C18-025D-43FA-8BFA-E3C4907DF239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6" name="Rectangle: Rounded Corners 4">
                <a:extLst>
                  <a:ext uri="{FF2B5EF4-FFF2-40B4-BE49-F238E27FC236}">
                    <a16:creationId xmlns:a16="http://schemas.microsoft.com/office/drawing/2014/main" id="{2C501869-035E-4A33-A8BD-21A7A4070B7D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Home &amp; Kitchen</a:t>
                </a:r>
              </a:p>
            </p:txBody>
          </p:sp>
        </p:grpSp>
        <p:grpSp>
          <p:nvGrpSpPr>
            <p:cNvPr id="342" name="Group 341">
              <a:extLst>
                <a:ext uri="{FF2B5EF4-FFF2-40B4-BE49-F238E27FC236}">
                  <a16:creationId xmlns:a16="http://schemas.microsoft.com/office/drawing/2014/main" id="{832C55CF-97A6-4AAC-90B8-1D3B1C1D68F0}"/>
                </a:ext>
              </a:extLst>
            </p:cNvPr>
            <p:cNvGrpSpPr/>
            <p:nvPr/>
          </p:nvGrpSpPr>
          <p:grpSpPr>
            <a:xfrm>
              <a:off x="10744260" y="427942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343" name="Rectangle: Rounded Corners 342">
                <a:extLst>
                  <a:ext uri="{FF2B5EF4-FFF2-40B4-BE49-F238E27FC236}">
                    <a16:creationId xmlns:a16="http://schemas.microsoft.com/office/drawing/2014/main" id="{085287EC-8D10-476C-AEA5-073D93743900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4" name="Rectangle: Rounded Corners 4">
                <a:extLst>
                  <a:ext uri="{FF2B5EF4-FFF2-40B4-BE49-F238E27FC236}">
                    <a16:creationId xmlns:a16="http://schemas.microsoft.com/office/drawing/2014/main" id="{60FA8302-5C75-480F-8307-03E50150CAB1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Video games</a:t>
                </a:r>
              </a:p>
            </p:txBody>
          </p:sp>
        </p:grp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D2E22B29-918D-4DB7-9FE5-7CC0AF360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64897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2393116-D76B-4D14-ABCD-99D9FAB53A5D}"/>
              </a:ext>
            </a:extLst>
          </p:cNvPr>
          <p:cNvGrpSpPr/>
          <p:nvPr/>
        </p:nvGrpSpPr>
        <p:grpSpPr>
          <a:xfrm>
            <a:off x="7369017" y="1160232"/>
            <a:ext cx="4473474" cy="5501204"/>
            <a:chOff x="7369017" y="1160232"/>
            <a:chExt cx="4473474" cy="5501204"/>
          </a:xfrm>
        </p:grpSpPr>
        <p:grpSp>
          <p:nvGrpSpPr>
            <p:cNvPr id="256" name="object 256"/>
            <p:cNvGrpSpPr/>
            <p:nvPr/>
          </p:nvGrpSpPr>
          <p:grpSpPr>
            <a:xfrm>
              <a:off x="7916181" y="1755598"/>
              <a:ext cx="3787588" cy="4537822"/>
              <a:chOff x="8616072" y="1989677"/>
              <a:chExt cx="4292600" cy="5142865"/>
            </a:xfrm>
          </p:grpSpPr>
          <p:sp>
            <p:nvSpPr>
              <p:cNvPr id="257" name="object 257"/>
              <p:cNvSpPr/>
              <p:nvPr/>
            </p:nvSpPr>
            <p:spPr>
              <a:xfrm>
                <a:off x="8616061" y="6937552"/>
                <a:ext cx="86677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86677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86677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86677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86677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866775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866775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866775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866775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8" name="object 258"/>
              <p:cNvSpPr/>
              <p:nvPr/>
            </p:nvSpPr>
            <p:spPr>
              <a:xfrm>
                <a:off x="8621193" y="6951593"/>
                <a:ext cx="142748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1427479" h="180975">
                    <a:moveTo>
                      <a:pt x="142731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1427310" y="0"/>
                    </a:lnTo>
                    <a:lnTo>
                      <a:pt x="142731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9" name="object 259"/>
              <p:cNvSpPr/>
              <p:nvPr/>
            </p:nvSpPr>
            <p:spPr>
              <a:xfrm>
                <a:off x="8616061" y="6691896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87"/>
                    </a:lnTo>
                    <a:lnTo>
                      <a:pt x="10248" y="194487"/>
                    </a:lnTo>
                    <a:lnTo>
                      <a:pt x="10248" y="184251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0" name="object 260"/>
              <p:cNvSpPr/>
              <p:nvPr/>
            </p:nvSpPr>
            <p:spPr>
              <a:xfrm>
                <a:off x="8621193" y="6726051"/>
                <a:ext cx="40386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03859" h="180975">
                    <a:moveTo>
                      <a:pt x="40375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03755" y="0"/>
                    </a:lnTo>
                    <a:lnTo>
                      <a:pt x="403755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1" name="object 261"/>
              <p:cNvSpPr/>
              <p:nvPr/>
            </p:nvSpPr>
            <p:spPr>
              <a:xfrm>
                <a:off x="8616061" y="6446253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2" name="object 262"/>
              <p:cNvSpPr/>
              <p:nvPr/>
            </p:nvSpPr>
            <p:spPr>
              <a:xfrm>
                <a:off x="8621193" y="6500509"/>
                <a:ext cx="4279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27990" h="180975">
                    <a:moveTo>
                      <a:pt x="42769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27695" y="0"/>
                    </a:lnTo>
                    <a:lnTo>
                      <a:pt x="427695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3" name="object 263"/>
              <p:cNvSpPr/>
              <p:nvPr/>
            </p:nvSpPr>
            <p:spPr>
              <a:xfrm>
                <a:off x="8616061" y="6262001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4" name="object 264"/>
              <p:cNvSpPr/>
              <p:nvPr/>
            </p:nvSpPr>
            <p:spPr>
              <a:xfrm>
                <a:off x="8621193" y="6274968"/>
                <a:ext cx="4889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88950" h="180975">
                    <a:moveTo>
                      <a:pt x="4887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88738" y="0"/>
                    </a:lnTo>
                    <a:lnTo>
                      <a:pt x="488738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5" name="object 265"/>
              <p:cNvSpPr/>
              <p:nvPr/>
            </p:nvSpPr>
            <p:spPr>
              <a:xfrm>
                <a:off x="8616061" y="6016358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6" name="object 266"/>
              <p:cNvSpPr/>
              <p:nvPr/>
            </p:nvSpPr>
            <p:spPr>
              <a:xfrm>
                <a:off x="8621193" y="6049426"/>
                <a:ext cx="42290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22909" h="180975">
                    <a:moveTo>
                      <a:pt x="42261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22613" y="0"/>
                    </a:lnTo>
                    <a:lnTo>
                      <a:pt x="422613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7" name="object 267"/>
              <p:cNvSpPr/>
              <p:nvPr/>
            </p:nvSpPr>
            <p:spPr>
              <a:xfrm>
                <a:off x="8616061" y="5770702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8" name="object 268"/>
              <p:cNvSpPr/>
              <p:nvPr/>
            </p:nvSpPr>
            <p:spPr>
              <a:xfrm>
                <a:off x="8621193" y="5823884"/>
                <a:ext cx="40576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05765" h="180975">
                    <a:moveTo>
                      <a:pt x="40570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05701" y="0"/>
                    </a:lnTo>
                    <a:lnTo>
                      <a:pt x="405701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9" name="object 269"/>
              <p:cNvSpPr/>
              <p:nvPr/>
            </p:nvSpPr>
            <p:spPr>
              <a:xfrm>
                <a:off x="8616061" y="5586463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0" name="object 270"/>
              <p:cNvSpPr/>
              <p:nvPr/>
            </p:nvSpPr>
            <p:spPr>
              <a:xfrm>
                <a:off x="8621193" y="5598343"/>
                <a:ext cx="43497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34975" h="180975">
                    <a:moveTo>
                      <a:pt x="434877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34877" y="0"/>
                    </a:lnTo>
                    <a:lnTo>
                      <a:pt x="434877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1" name="object 271"/>
              <p:cNvSpPr/>
              <p:nvPr/>
            </p:nvSpPr>
            <p:spPr>
              <a:xfrm>
                <a:off x="8616061" y="5340806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2" name="object 272"/>
              <p:cNvSpPr/>
              <p:nvPr/>
            </p:nvSpPr>
            <p:spPr>
              <a:xfrm>
                <a:off x="8621193" y="5372801"/>
                <a:ext cx="47561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75615" h="180975">
                    <a:moveTo>
                      <a:pt x="47520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75201" y="0"/>
                    </a:lnTo>
                    <a:lnTo>
                      <a:pt x="475201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3" name="object 273"/>
              <p:cNvSpPr/>
              <p:nvPr/>
            </p:nvSpPr>
            <p:spPr>
              <a:xfrm>
                <a:off x="8616061" y="5095151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4" name="object 274"/>
              <p:cNvSpPr/>
              <p:nvPr/>
            </p:nvSpPr>
            <p:spPr>
              <a:xfrm>
                <a:off x="8621193" y="5147260"/>
                <a:ext cx="51625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16254" h="180975">
                    <a:moveTo>
                      <a:pt x="51590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15905" y="0"/>
                    </a:lnTo>
                    <a:lnTo>
                      <a:pt x="515905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5" name="object 275"/>
              <p:cNvSpPr/>
              <p:nvPr/>
            </p:nvSpPr>
            <p:spPr>
              <a:xfrm>
                <a:off x="8616061" y="4910912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6" name="object 276"/>
              <p:cNvSpPr/>
              <p:nvPr/>
            </p:nvSpPr>
            <p:spPr>
              <a:xfrm>
                <a:off x="8621193" y="4921718"/>
                <a:ext cx="59563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5629" h="180975">
                    <a:moveTo>
                      <a:pt x="59504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5044" y="0"/>
                    </a:lnTo>
                    <a:lnTo>
                      <a:pt x="595044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7" name="object 277"/>
              <p:cNvSpPr/>
              <p:nvPr/>
            </p:nvSpPr>
            <p:spPr>
              <a:xfrm>
                <a:off x="8616061" y="4665255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8" name="object 278"/>
              <p:cNvSpPr/>
              <p:nvPr/>
            </p:nvSpPr>
            <p:spPr>
              <a:xfrm>
                <a:off x="8621193" y="4696176"/>
                <a:ext cx="5905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0550" h="180975">
                    <a:moveTo>
                      <a:pt x="5904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0438" y="0"/>
                    </a:lnTo>
                    <a:lnTo>
                      <a:pt x="590438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9" name="object 279"/>
              <p:cNvSpPr/>
              <p:nvPr/>
            </p:nvSpPr>
            <p:spPr>
              <a:xfrm>
                <a:off x="8616061" y="4419599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0" name="object 280"/>
              <p:cNvSpPr/>
              <p:nvPr/>
            </p:nvSpPr>
            <p:spPr>
              <a:xfrm>
                <a:off x="8621193" y="4470635"/>
                <a:ext cx="54102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41020" h="180975">
                    <a:moveTo>
                      <a:pt x="54102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41024" y="0"/>
                    </a:lnTo>
                    <a:lnTo>
                      <a:pt x="541024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1" name="object 281"/>
              <p:cNvSpPr/>
              <p:nvPr/>
            </p:nvSpPr>
            <p:spPr>
              <a:xfrm>
                <a:off x="8616061" y="4235360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2" name="object 282"/>
              <p:cNvSpPr/>
              <p:nvPr/>
            </p:nvSpPr>
            <p:spPr>
              <a:xfrm>
                <a:off x="8621193" y="4245093"/>
                <a:ext cx="5930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3090" h="180975">
                    <a:moveTo>
                      <a:pt x="59250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2500" y="0"/>
                    </a:lnTo>
                    <a:lnTo>
                      <a:pt x="59250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3" name="object 283"/>
              <p:cNvSpPr/>
              <p:nvPr/>
            </p:nvSpPr>
            <p:spPr>
              <a:xfrm>
                <a:off x="8616061" y="3989704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4" name="object 284"/>
              <p:cNvSpPr/>
              <p:nvPr/>
            </p:nvSpPr>
            <p:spPr>
              <a:xfrm>
                <a:off x="8621193" y="4019551"/>
                <a:ext cx="59753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7534" h="180975">
                    <a:moveTo>
                      <a:pt x="59717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7170" y="0"/>
                    </a:lnTo>
                    <a:lnTo>
                      <a:pt x="59717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5" name="object 285"/>
              <p:cNvSpPr/>
              <p:nvPr/>
            </p:nvSpPr>
            <p:spPr>
              <a:xfrm>
                <a:off x="8616061" y="3744048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6" name="object 286"/>
              <p:cNvSpPr/>
              <p:nvPr/>
            </p:nvSpPr>
            <p:spPr>
              <a:xfrm>
                <a:off x="8621193" y="3794010"/>
                <a:ext cx="59245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2454" h="180975">
                    <a:moveTo>
                      <a:pt x="5924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2438" y="0"/>
                    </a:lnTo>
                    <a:lnTo>
                      <a:pt x="592438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7" name="object 287"/>
              <p:cNvSpPr/>
              <p:nvPr/>
            </p:nvSpPr>
            <p:spPr>
              <a:xfrm>
                <a:off x="8616061" y="3559809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8" name="object 288"/>
              <p:cNvSpPr/>
              <p:nvPr/>
            </p:nvSpPr>
            <p:spPr>
              <a:xfrm>
                <a:off x="8621193" y="3568468"/>
                <a:ext cx="5981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8170" h="180975">
                    <a:moveTo>
                      <a:pt x="59811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8110" y="0"/>
                    </a:lnTo>
                    <a:lnTo>
                      <a:pt x="59811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9" name="object 289"/>
              <p:cNvSpPr/>
              <p:nvPr/>
            </p:nvSpPr>
            <p:spPr>
              <a:xfrm>
                <a:off x="8616061" y="3314153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51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0" name="object 290"/>
              <p:cNvSpPr/>
              <p:nvPr/>
            </p:nvSpPr>
            <p:spPr>
              <a:xfrm>
                <a:off x="8621193" y="3342926"/>
                <a:ext cx="52070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20700" h="180975">
                    <a:moveTo>
                      <a:pt x="52057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20570" y="0"/>
                    </a:lnTo>
                    <a:lnTo>
                      <a:pt x="52057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1" name="object 291"/>
              <p:cNvSpPr/>
              <p:nvPr/>
            </p:nvSpPr>
            <p:spPr>
              <a:xfrm>
                <a:off x="8616061" y="3068510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23"/>
                    </a:lnTo>
                    <a:lnTo>
                      <a:pt x="10248" y="10223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2" name="object 292"/>
              <p:cNvSpPr/>
              <p:nvPr/>
            </p:nvSpPr>
            <p:spPr>
              <a:xfrm>
                <a:off x="8621193" y="3117385"/>
                <a:ext cx="37973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79729" h="180975">
                    <a:moveTo>
                      <a:pt x="379607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79607" y="0"/>
                    </a:lnTo>
                    <a:lnTo>
                      <a:pt x="379607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3" name="object 293"/>
              <p:cNvSpPr/>
              <p:nvPr/>
            </p:nvSpPr>
            <p:spPr>
              <a:xfrm>
                <a:off x="8616061" y="2884258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4" name="object 294"/>
              <p:cNvSpPr/>
              <p:nvPr/>
            </p:nvSpPr>
            <p:spPr>
              <a:xfrm>
                <a:off x="8621193" y="2891843"/>
                <a:ext cx="35750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7504" h="180975">
                    <a:moveTo>
                      <a:pt x="35737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7376" y="0"/>
                    </a:lnTo>
                    <a:lnTo>
                      <a:pt x="357376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5" name="object 295"/>
              <p:cNvSpPr/>
              <p:nvPr/>
            </p:nvSpPr>
            <p:spPr>
              <a:xfrm>
                <a:off x="8616061" y="2638615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4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4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4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6" name="object 296"/>
              <p:cNvSpPr/>
              <p:nvPr/>
            </p:nvSpPr>
            <p:spPr>
              <a:xfrm>
                <a:off x="8621193" y="2666301"/>
                <a:ext cx="3492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49250" h="180975">
                    <a:moveTo>
                      <a:pt x="3490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49038" y="0"/>
                    </a:lnTo>
                    <a:lnTo>
                      <a:pt x="349038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7" name="object 297"/>
              <p:cNvSpPr/>
              <p:nvPr/>
            </p:nvSpPr>
            <p:spPr>
              <a:xfrm>
                <a:off x="8616061" y="2392959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4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4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4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8" name="object 298"/>
              <p:cNvSpPr/>
              <p:nvPr/>
            </p:nvSpPr>
            <p:spPr>
              <a:xfrm>
                <a:off x="8621193" y="2440760"/>
                <a:ext cx="3644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64490" h="180975">
                    <a:moveTo>
                      <a:pt x="364049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64049" y="0"/>
                    </a:lnTo>
                    <a:lnTo>
                      <a:pt x="364049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9" name="object 299"/>
              <p:cNvSpPr/>
              <p:nvPr/>
            </p:nvSpPr>
            <p:spPr>
              <a:xfrm>
                <a:off x="8616061" y="2208720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0" name="object 300"/>
              <p:cNvSpPr/>
              <p:nvPr/>
            </p:nvSpPr>
            <p:spPr>
              <a:xfrm>
                <a:off x="8621193" y="2215218"/>
                <a:ext cx="3949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94970" h="180975">
                    <a:moveTo>
                      <a:pt x="394519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94519" y="0"/>
                    </a:lnTo>
                    <a:lnTo>
                      <a:pt x="394519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1" name="object 301"/>
              <p:cNvSpPr/>
              <p:nvPr/>
            </p:nvSpPr>
            <p:spPr>
              <a:xfrm>
                <a:off x="8616061" y="2024468"/>
                <a:ext cx="571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5715" h="133350">
                    <a:moveTo>
                      <a:pt x="5130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5130" y="133070"/>
                    </a:lnTo>
                    <a:lnTo>
                      <a:pt x="5130" y="122834"/>
                    </a:lnTo>
                    <a:close/>
                  </a:path>
                  <a:path w="5715" h="133350">
                    <a:moveTo>
                      <a:pt x="5130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5130" y="71653"/>
                    </a:lnTo>
                    <a:lnTo>
                      <a:pt x="5130" y="61417"/>
                    </a:lnTo>
                    <a:close/>
                  </a:path>
                  <a:path w="5715" h="133350">
                    <a:moveTo>
                      <a:pt x="5130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5130" y="10236"/>
                    </a:lnTo>
                    <a:lnTo>
                      <a:pt x="5130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2" name="object 302"/>
              <p:cNvSpPr/>
              <p:nvPr/>
            </p:nvSpPr>
            <p:spPr>
              <a:xfrm>
                <a:off x="8621193" y="1989677"/>
                <a:ext cx="4076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07670" h="180975">
                    <a:moveTo>
                      <a:pt x="407482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07482" y="0"/>
                    </a:lnTo>
                    <a:lnTo>
                      <a:pt x="407482" y="180433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3" name="object 303"/>
              <p:cNvSpPr/>
              <p:nvPr/>
            </p:nvSpPr>
            <p:spPr>
              <a:xfrm>
                <a:off x="9024937" y="6500520"/>
                <a:ext cx="330200" cy="406400"/>
              </a:xfrm>
              <a:custGeom>
                <a:avLst/>
                <a:gdLst/>
                <a:ahLst/>
                <a:cxnLst/>
                <a:rect l="l" t="t" r="r" b="b"/>
                <a:pathLst>
                  <a:path w="330200" h="406400">
                    <a:moveTo>
                      <a:pt x="276263" y="225539"/>
                    </a:moveTo>
                    <a:lnTo>
                      <a:pt x="0" y="225539"/>
                    </a:lnTo>
                    <a:lnTo>
                      <a:pt x="0" y="405968"/>
                    </a:lnTo>
                    <a:lnTo>
                      <a:pt x="276263" y="405968"/>
                    </a:lnTo>
                    <a:lnTo>
                      <a:pt x="276263" y="225539"/>
                    </a:lnTo>
                    <a:close/>
                  </a:path>
                  <a:path w="330200" h="406400">
                    <a:moveTo>
                      <a:pt x="329793" y="0"/>
                    </a:moveTo>
                    <a:lnTo>
                      <a:pt x="23939" y="0"/>
                    </a:lnTo>
                    <a:lnTo>
                      <a:pt x="23939" y="180428"/>
                    </a:lnTo>
                    <a:lnTo>
                      <a:pt x="329793" y="180428"/>
                    </a:lnTo>
                    <a:lnTo>
                      <a:pt x="329793" y="0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4" name="object 304"/>
              <p:cNvSpPr/>
              <p:nvPr/>
            </p:nvSpPr>
            <p:spPr>
              <a:xfrm>
                <a:off x="9472447" y="6262001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87"/>
                    </a:lnTo>
                    <a:lnTo>
                      <a:pt x="10248" y="194487"/>
                    </a:lnTo>
                    <a:lnTo>
                      <a:pt x="10248" y="184251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5" name="object 305"/>
              <p:cNvSpPr/>
              <p:nvPr/>
            </p:nvSpPr>
            <p:spPr>
              <a:xfrm>
                <a:off x="9109931" y="6274968"/>
                <a:ext cx="3898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89890" h="180975">
                    <a:moveTo>
                      <a:pt x="38953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89531" y="0"/>
                    </a:lnTo>
                    <a:lnTo>
                      <a:pt x="389531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6" name="object 306"/>
              <p:cNvSpPr/>
              <p:nvPr/>
            </p:nvSpPr>
            <p:spPr>
              <a:xfrm>
                <a:off x="9472447" y="6016358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7" name="object 307"/>
              <p:cNvSpPr/>
              <p:nvPr/>
            </p:nvSpPr>
            <p:spPr>
              <a:xfrm>
                <a:off x="9043806" y="6049426"/>
                <a:ext cx="42608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26084" h="180975">
                    <a:moveTo>
                      <a:pt x="425662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25662" y="0"/>
                    </a:lnTo>
                    <a:lnTo>
                      <a:pt x="425662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8" name="object 308"/>
              <p:cNvSpPr/>
              <p:nvPr/>
            </p:nvSpPr>
            <p:spPr>
              <a:xfrm>
                <a:off x="9472447" y="5770702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9" name="object 309"/>
              <p:cNvSpPr/>
              <p:nvPr/>
            </p:nvSpPr>
            <p:spPr>
              <a:xfrm>
                <a:off x="9026894" y="5823884"/>
                <a:ext cx="45402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54025" h="180975">
                    <a:moveTo>
                      <a:pt x="45361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53611" y="0"/>
                    </a:lnTo>
                    <a:lnTo>
                      <a:pt x="453611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0" name="object 310"/>
              <p:cNvSpPr/>
              <p:nvPr/>
            </p:nvSpPr>
            <p:spPr>
              <a:xfrm>
                <a:off x="9472447" y="5586463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1" name="object 311"/>
              <p:cNvSpPr/>
              <p:nvPr/>
            </p:nvSpPr>
            <p:spPr>
              <a:xfrm>
                <a:off x="9056070" y="5598343"/>
                <a:ext cx="47053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70534" h="180975">
                    <a:moveTo>
                      <a:pt x="47050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70500" y="0"/>
                    </a:lnTo>
                    <a:lnTo>
                      <a:pt x="470500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2" name="object 312"/>
              <p:cNvSpPr/>
              <p:nvPr/>
            </p:nvSpPr>
            <p:spPr>
              <a:xfrm>
                <a:off x="9472447" y="5340806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3" name="object 313"/>
              <p:cNvSpPr/>
              <p:nvPr/>
            </p:nvSpPr>
            <p:spPr>
              <a:xfrm>
                <a:off x="9096395" y="5372801"/>
                <a:ext cx="48958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89584" h="180975">
                    <a:moveTo>
                      <a:pt x="48916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89166" y="0"/>
                    </a:lnTo>
                    <a:lnTo>
                      <a:pt x="489166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4" name="object 314"/>
              <p:cNvSpPr/>
              <p:nvPr/>
            </p:nvSpPr>
            <p:spPr>
              <a:xfrm>
                <a:off x="9472447" y="5095151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5" name="object 315"/>
              <p:cNvSpPr/>
              <p:nvPr/>
            </p:nvSpPr>
            <p:spPr>
              <a:xfrm>
                <a:off x="9137098" y="5147260"/>
                <a:ext cx="5041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04190" h="180975">
                    <a:moveTo>
                      <a:pt x="50372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03725" y="0"/>
                    </a:lnTo>
                    <a:lnTo>
                      <a:pt x="503725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6" name="object 316"/>
              <p:cNvSpPr/>
              <p:nvPr/>
            </p:nvSpPr>
            <p:spPr>
              <a:xfrm>
                <a:off x="9472447" y="4910912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7" name="object 317"/>
              <p:cNvSpPr/>
              <p:nvPr/>
            </p:nvSpPr>
            <p:spPr>
              <a:xfrm>
                <a:off x="9216237" y="4921718"/>
                <a:ext cx="49466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94665" h="180975">
                    <a:moveTo>
                      <a:pt x="49432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94323" y="0"/>
                    </a:lnTo>
                    <a:lnTo>
                      <a:pt x="494323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8" name="object 318"/>
              <p:cNvSpPr/>
              <p:nvPr/>
            </p:nvSpPr>
            <p:spPr>
              <a:xfrm>
                <a:off x="9472447" y="4665255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9" name="object 319"/>
              <p:cNvSpPr/>
              <p:nvPr/>
            </p:nvSpPr>
            <p:spPr>
              <a:xfrm>
                <a:off x="9211631" y="4696176"/>
                <a:ext cx="4965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96570" h="180975">
                    <a:moveTo>
                      <a:pt x="496217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96217" y="0"/>
                    </a:lnTo>
                    <a:lnTo>
                      <a:pt x="496217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0" name="object 320"/>
              <p:cNvSpPr/>
              <p:nvPr/>
            </p:nvSpPr>
            <p:spPr>
              <a:xfrm>
                <a:off x="9472447" y="4419599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1" name="object 321"/>
              <p:cNvSpPr/>
              <p:nvPr/>
            </p:nvSpPr>
            <p:spPr>
              <a:xfrm>
                <a:off x="9162217" y="4470635"/>
                <a:ext cx="4660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66090" h="180975">
                    <a:moveTo>
                      <a:pt x="46557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65573" y="0"/>
                    </a:lnTo>
                    <a:lnTo>
                      <a:pt x="465573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2" name="object 322"/>
              <p:cNvSpPr/>
              <p:nvPr/>
            </p:nvSpPr>
            <p:spPr>
              <a:xfrm>
                <a:off x="9472447" y="4235360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3" name="object 323"/>
              <p:cNvSpPr/>
              <p:nvPr/>
            </p:nvSpPr>
            <p:spPr>
              <a:xfrm>
                <a:off x="9213693" y="4245093"/>
                <a:ext cx="4838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83870" h="180975">
                    <a:moveTo>
                      <a:pt x="48324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83245" y="0"/>
                    </a:lnTo>
                    <a:lnTo>
                      <a:pt x="483245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4" name="object 324"/>
              <p:cNvSpPr/>
              <p:nvPr/>
            </p:nvSpPr>
            <p:spPr>
              <a:xfrm>
                <a:off x="9472447" y="3989704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5" name="object 325"/>
              <p:cNvSpPr/>
              <p:nvPr/>
            </p:nvSpPr>
            <p:spPr>
              <a:xfrm>
                <a:off x="9218363" y="4019551"/>
                <a:ext cx="47752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77520" h="180975">
                    <a:moveTo>
                      <a:pt x="47721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77214" y="0"/>
                    </a:lnTo>
                    <a:lnTo>
                      <a:pt x="477214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6" name="object 326"/>
              <p:cNvSpPr/>
              <p:nvPr/>
            </p:nvSpPr>
            <p:spPr>
              <a:xfrm>
                <a:off x="9472447" y="3744048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7" name="object 327"/>
              <p:cNvSpPr/>
              <p:nvPr/>
            </p:nvSpPr>
            <p:spPr>
              <a:xfrm>
                <a:off x="9213631" y="3794010"/>
                <a:ext cx="46037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60375" h="180975">
                    <a:moveTo>
                      <a:pt x="45990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59905" y="0"/>
                    </a:lnTo>
                    <a:lnTo>
                      <a:pt x="459905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8" name="object 328"/>
              <p:cNvSpPr/>
              <p:nvPr/>
            </p:nvSpPr>
            <p:spPr>
              <a:xfrm>
                <a:off x="9472447" y="3559809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9" name="object 329"/>
              <p:cNvSpPr/>
              <p:nvPr/>
            </p:nvSpPr>
            <p:spPr>
              <a:xfrm>
                <a:off x="9219303" y="3568468"/>
                <a:ext cx="43497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34975" h="180975">
                    <a:moveTo>
                      <a:pt x="43491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34914" y="0"/>
                    </a:lnTo>
                    <a:lnTo>
                      <a:pt x="434914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0" name="object 330"/>
              <p:cNvSpPr/>
              <p:nvPr/>
            </p:nvSpPr>
            <p:spPr>
              <a:xfrm>
                <a:off x="9472447" y="3314153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51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1" name="object 331"/>
              <p:cNvSpPr/>
              <p:nvPr/>
            </p:nvSpPr>
            <p:spPr>
              <a:xfrm>
                <a:off x="8970226" y="1989683"/>
                <a:ext cx="572135" cy="1534160"/>
              </a:xfrm>
              <a:custGeom>
                <a:avLst/>
                <a:gdLst/>
                <a:ahLst/>
                <a:cxnLst/>
                <a:rect l="l" t="t" r="r" b="b"/>
                <a:pathLst>
                  <a:path w="572134" h="1534160">
                    <a:moveTo>
                      <a:pt x="319913" y="676630"/>
                    </a:moveTo>
                    <a:lnTo>
                      <a:pt x="0" y="676630"/>
                    </a:lnTo>
                    <a:lnTo>
                      <a:pt x="0" y="857059"/>
                    </a:lnTo>
                    <a:lnTo>
                      <a:pt x="319913" y="857059"/>
                    </a:lnTo>
                    <a:lnTo>
                      <a:pt x="319913" y="676630"/>
                    </a:lnTo>
                    <a:close/>
                  </a:path>
                  <a:path w="572134" h="1534160">
                    <a:moveTo>
                      <a:pt x="330923" y="451078"/>
                    </a:moveTo>
                    <a:lnTo>
                      <a:pt x="15011" y="451078"/>
                    </a:lnTo>
                    <a:lnTo>
                      <a:pt x="15011" y="631520"/>
                    </a:lnTo>
                    <a:lnTo>
                      <a:pt x="330923" y="631520"/>
                    </a:lnTo>
                    <a:lnTo>
                      <a:pt x="330923" y="451078"/>
                    </a:lnTo>
                    <a:close/>
                  </a:path>
                  <a:path w="572134" h="1534160">
                    <a:moveTo>
                      <a:pt x="355574" y="225539"/>
                    </a:moveTo>
                    <a:lnTo>
                      <a:pt x="45478" y="225539"/>
                    </a:lnTo>
                    <a:lnTo>
                      <a:pt x="45478" y="405980"/>
                    </a:lnTo>
                    <a:lnTo>
                      <a:pt x="355574" y="405980"/>
                    </a:lnTo>
                    <a:lnTo>
                      <a:pt x="355574" y="225539"/>
                    </a:lnTo>
                    <a:close/>
                  </a:path>
                  <a:path w="572134" h="1534160">
                    <a:moveTo>
                      <a:pt x="359181" y="902169"/>
                    </a:moveTo>
                    <a:lnTo>
                      <a:pt x="8331" y="902169"/>
                    </a:lnTo>
                    <a:lnTo>
                      <a:pt x="8331" y="1082598"/>
                    </a:lnTo>
                    <a:lnTo>
                      <a:pt x="359181" y="1082598"/>
                    </a:lnTo>
                    <a:lnTo>
                      <a:pt x="359181" y="902169"/>
                    </a:lnTo>
                    <a:close/>
                  </a:path>
                  <a:path w="572134" h="1534160">
                    <a:moveTo>
                      <a:pt x="360845" y="0"/>
                    </a:moveTo>
                    <a:lnTo>
                      <a:pt x="58445" y="0"/>
                    </a:lnTo>
                    <a:lnTo>
                      <a:pt x="58445" y="180428"/>
                    </a:lnTo>
                    <a:lnTo>
                      <a:pt x="360845" y="180428"/>
                    </a:lnTo>
                    <a:lnTo>
                      <a:pt x="360845" y="0"/>
                    </a:lnTo>
                    <a:close/>
                  </a:path>
                  <a:path w="572134" h="1534160">
                    <a:moveTo>
                      <a:pt x="402259" y="1127709"/>
                    </a:moveTo>
                    <a:lnTo>
                      <a:pt x="30568" y="1127709"/>
                    </a:lnTo>
                    <a:lnTo>
                      <a:pt x="30568" y="1308138"/>
                    </a:lnTo>
                    <a:lnTo>
                      <a:pt x="402259" y="1308138"/>
                    </a:lnTo>
                    <a:lnTo>
                      <a:pt x="402259" y="1127709"/>
                    </a:lnTo>
                    <a:close/>
                  </a:path>
                  <a:path w="572134" h="1534160">
                    <a:moveTo>
                      <a:pt x="571855" y="1353248"/>
                    </a:moveTo>
                    <a:lnTo>
                      <a:pt x="171526" y="1353248"/>
                    </a:lnTo>
                    <a:lnTo>
                      <a:pt x="171526" y="1533677"/>
                    </a:lnTo>
                    <a:lnTo>
                      <a:pt x="571855" y="1533677"/>
                    </a:lnTo>
                    <a:lnTo>
                      <a:pt x="571855" y="1353248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2" name="object 332"/>
              <p:cNvSpPr/>
              <p:nvPr/>
            </p:nvSpPr>
            <p:spPr>
              <a:xfrm>
                <a:off x="10328834" y="6937552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3" name="object 333"/>
              <p:cNvSpPr/>
              <p:nvPr/>
            </p:nvSpPr>
            <p:spPr>
              <a:xfrm>
                <a:off x="10048503" y="6951593"/>
                <a:ext cx="285496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2854959" h="180975">
                    <a:moveTo>
                      <a:pt x="285462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2854621" y="0"/>
                    </a:lnTo>
                    <a:lnTo>
                      <a:pt x="2854621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4" name="object 334"/>
              <p:cNvSpPr/>
              <p:nvPr/>
            </p:nvSpPr>
            <p:spPr>
              <a:xfrm>
                <a:off x="9472447" y="6691896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87"/>
                    </a:lnTo>
                    <a:lnTo>
                      <a:pt x="10248" y="194487"/>
                    </a:lnTo>
                    <a:lnTo>
                      <a:pt x="10248" y="184251"/>
                    </a:lnTo>
                    <a:close/>
                  </a:path>
                  <a:path w="343598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343598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343598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94945">
                    <a:moveTo>
                      <a:pt x="866635" y="184251"/>
                    </a:moveTo>
                    <a:lnTo>
                      <a:pt x="856386" y="184251"/>
                    </a:lnTo>
                    <a:lnTo>
                      <a:pt x="856386" y="194487"/>
                    </a:lnTo>
                    <a:lnTo>
                      <a:pt x="866635" y="194487"/>
                    </a:lnTo>
                    <a:lnTo>
                      <a:pt x="866635" y="184251"/>
                    </a:lnTo>
                    <a:close/>
                  </a:path>
                  <a:path w="343598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343598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343598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94945">
                    <a:moveTo>
                      <a:pt x="1723021" y="184251"/>
                    </a:moveTo>
                    <a:lnTo>
                      <a:pt x="1712772" y="184251"/>
                    </a:lnTo>
                    <a:lnTo>
                      <a:pt x="1712772" y="194487"/>
                    </a:lnTo>
                    <a:lnTo>
                      <a:pt x="1723021" y="194487"/>
                    </a:lnTo>
                    <a:lnTo>
                      <a:pt x="1723021" y="184251"/>
                    </a:lnTo>
                    <a:close/>
                  </a:path>
                  <a:path w="343598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343598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343598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94945">
                    <a:moveTo>
                      <a:pt x="2579408" y="184251"/>
                    </a:moveTo>
                    <a:lnTo>
                      <a:pt x="2569159" y="184251"/>
                    </a:lnTo>
                    <a:lnTo>
                      <a:pt x="2569159" y="194487"/>
                    </a:lnTo>
                    <a:lnTo>
                      <a:pt x="2579408" y="194487"/>
                    </a:lnTo>
                    <a:lnTo>
                      <a:pt x="2579408" y="184251"/>
                    </a:lnTo>
                    <a:close/>
                  </a:path>
                  <a:path w="343598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343598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343598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94945">
                    <a:moveTo>
                      <a:pt x="3435794" y="184251"/>
                    </a:moveTo>
                    <a:lnTo>
                      <a:pt x="3425545" y="184251"/>
                    </a:lnTo>
                    <a:lnTo>
                      <a:pt x="3425545" y="194487"/>
                    </a:lnTo>
                    <a:lnTo>
                      <a:pt x="3435794" y="194487"/>
                    </a:lnTo>
                    <a:lnTo>
                      <a:pt x="3435794" y="184251"/>
                    </a:lnTo>
                    <a:close/>
                  </a:path>
                  <a:path w="3435984" h="194945">
                    <a:moveTo>
                      <a:pt x="3435794" y="122834"/>
                    </a:moveTo>
                    <a:lnTo>
                      <a:pt x="3425545" y="122834"/>
                    </a:lnTo>
                    <a:lnTo>
                      <a:pt x="3425545" y="133070"/>
                    </a:lnTo>
                    <a:lnTo>
                      <a:pt x="3435794" y="133070"/>
                    </a:lnTo>
                    <a:lnTo>
                      <a:pt x="3435794" y="122834"/>
                    </a:lnTo>
                    <a:close/>
                  </a:path>
                  <a:path w="3435984" h="194945">
                    <a:moveTo>
                      <a:pt x="3435794" y="61417"/>
                    </a:moveTo>
                    <a:lnTo>
                      <a:pt x="3425545" y="61417"/>
                    </a:lnTo>
                    <a:lnTo>
                      <a:pt x="3425545" y="71653"/>
                    </a:lnTo>
                    <a:lnTo>
                      <a:pt x="3435794" y="71653"/>
                    </a:lnTo>
                    <a:lnTo>
                      <a:pt x="3435794" y="61417"/>
                    </a:lnTo>
                    <a:close/>
                  </a:path>
                  <a:path w="3435984" h="194945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5" name="object 335"/>
              <p:cNvSpPr/>
              <p:nvPr/>
            </p:nvSpPr>
            <p:spPr>
              <a:xfrm>
                <a:off x="9301202" y="6726051"/>
                <a:ext cx="360235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602354" h="180975">
                    <a:moveTo>
                      <a:pt x="3601922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601922" y="0"/>
                    </a:lnTo>
                    <a:lnTo>
                      <a:pt x="3601922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6" name="object 336"/>
              <p:cNvSpPr/>
              <p:nvPr/>
            </p:nvSpPr>
            <p:spPr>
              <a:xfrm>
                <a:off x="9472447" y="6446253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343598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343598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94945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343598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94945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343598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94945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94945">
                    <a:moveTo>
                      <a:pt x="3435794" y="184238"/>
                    </a:moveTo>
                    <a:lnTo>
                      <a:pt x="3425545" y="184238"/>
                    </a:lnTo>
                    <a:lnTo>
                      <a:pt x="3425545" y="194475"/>
                    </a:lnTo>
                    <a:lnTo>
                      <a:pt x="3435794" y="194475"/>
                    </a:lnTo>
                    <a:lnTo>
                      <a:pt x="3435794" y="184238"/>
                    </a:lnTo>
                    <a:close/>
                  </a:path>
                  <a:path w="3435984" h="194945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94945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94945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7" name="object 337"/>
              <p:cNvSpPr/>
              <p:nvPr/>
            </p:nvSpPr>
            <p:spPr>
              <a:xfrm>
                <a:off x="9354741" y="6500509"/>
                <a:ext cx="354837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48379" h="180975">
                    <a:moveTo>
                      <a:pt x="354838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48383" y="0"/>
                    </a:lnTo>
                    <a:lnTo>
                      <a:pt x="354838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8" name="object 338"/>
              <p:cNvSpPr/>
              <p:nvPr/>
            </p:nvSpPr>
            <p:spPr>
              <a:xfrm>
                <a:off x="10328834" y="6262001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9" name="object 339"/>
              <p:cNvSpPr/>
              <p:nvPr/>
            </p:nvSpPr>
            <p:spPr>
              <a:xfrm>
                <a:off x="9499463" y="6274968"/>
                <a:ext cx="340423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404234" h="180975">
                    <a:moveTo>
                      <a:pt x="340366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403661" y="0"/>
                    </a:lnTo>
                    <a:lnTo>
                      <a:pt x="3403661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0" name="object 340"/>
              <p:cNvSpPr/>
              <p:nvPr/>
            </p:nvSpPr>
            <p:spPr>
              <a:xfrm>
                <a:off x="10328834" y="6016358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1" name="object 341"/>
              <p:cNvSpPr/>
              <p:nvPr/>
            </p:nvSpPr>
            <p:spPr>
              <a:xfrm>
                <a:off x="9469468" y="6049426"/>
                <a:ext cx="343407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434079" h="180975">
                    <a:moveTo>
                      <a:pt x="343365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433656" y="0"/>
                    </a:lnTo>
                    <a:lnTo>
                      <a:pt x="3433656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2" name="object 342"/>
              <p:cNvSpPr/>
              <p:nvPr/>
            </p:nvSpPr>
            <p:spPr>
              <a:xfrm>
                <a:off x="10328834" y="5770702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3" name="object 343"/>
              <p:cNvSpPr/>
              <p:nvPr/>
            </p:nvSpPr>
            <p:spPr>
              <a:xfrm>
                <a:off x="9480505" y="5823884"/>
                <a:ext cx="34226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422650" h="180975">
                    <a:moveTo>
                      <a:pt x="342261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422618" y="0"/>
                    </a:lnTo>
                    <a:lnTo>
                      <a:pt x="3422618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4" name="object 344"/>
              <p:cNvSpPr/>
              <p:nvPr/>
            </p:nvSpPr>
            <p:spPr>
              <a:xfrm>
                <a:off x="10328834" y="5586463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33350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33350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33350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5" name="object 345"/>
              <p:cNvSpPr/>
              <p:nvPr/>
            </p:nvSpPr>
            <p:spPr>
              <a:xfrm>
                <a:off x="9526570" y="5598343"/>
                <a:ext cx="337692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376929" h="180975">
                    <a:moveTo>
                      <a:pt x="337655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376553" y="0"/>
                    </a:lnTo>
                    <a:lnTo>
                      <a:pt x="337655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6" name="object 346"/>
              <p:cNvSpPr/>
              <p:nvPr/>
            </p:nvSpPr>
            <p:spPr>
              <a:xfrm>
                <a:off x="10328834" y="5340806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7" name="object 347"/>
              <p:cNvSpPr/>
              <p:nvPr/>
            </p:nvSpPr>
            <p:spPr>
              <a:xfrm>
                <a:off x="9585561" y="5372801"/>
                <a:ext cx="331787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317875" h="180975">
                    <a:moveTo>
                      <a:pt x="3317562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317562" y="0"/>
                    </a:lnTo>
                    <a:lnTo>
                      <a:pt x="3317562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8" name="object 348"/>
              <p:cNvSpPr/>
              <p:nvPr/>
            </p:nvSpPr>
            <p:spPr>
              <a:xfrm>
                <a:off x="10328834" y="5095151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9" name="object 349"/>
              <p:cNvSpPr/>
              <p:nvPr/>
            </p:nvSpPr>
            <p:spPr>
              <a:xfrm>
                <a:off x="9640824" y="5147260"/>
                <a:ext cx="326262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62629" h="180975">
                    <a:moveTo>
                      <a:pt x="3262299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62299" y="0"/>
                    </a:lnTo>
                    <a:lnTo>
                      <a:pt x="3262299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0" name="object 350"/>
              <p:cNvSpPr/>
              <p:nvPr/>
            </p:nvSpPr>
            <p:spPr>
              <a:xfrm>
                <a:off x="10328834" y="4910912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1" name="object 351"/>
              <p:cNvSpPr/>
              <p:nvPr/>
            </p:nvSpPr>
            <p:spPr>
              <a:xfrm>
                <a:off x="9710560" y="4921718"/>
                <a:ext cx="319278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192779" h="180975">
                    <a:moveTo>
                      <a:pt x="319256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192563" y="0"/>
                    </a:lnTo>
                    <a:lnTo>
                      <a:pt x="319256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2" name="object 352"/>
              <p:cNvSpPr/>
              <p:nvPr/>
            </p:nvSpPr>
            <p:spPr>
              <a:xfrm>
                <a:off x="10328834" y="4665255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3" name="object 353"/>
              <p:cNvSpPr/>
              <p:nvPr/>
            </p:nvSpPr>
            <p:spPr>
              <a:xfrm>
                <a:off x="9707848" y="4696176"/>
                <a:ext cx="319532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195320" h="180975">
                    <a:moveTo>
                      <a:pt x="319527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195275" y="0"/>
                    </a:lnTo>
                    <a:lnTo>
                      <a:pt x="3195275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4" name="object 354"/>
              <p:cNvSpPr/>
              <p:nvPr/>
            </p:nvSpPr>
            <p:spPr>
              <a:xfrm>
                <a:off x="10328834" y="4419599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5" name="object 355"/>
              <p:cNvSpPr/>
              <p:nvPr/>
            </p:nvSpPr>
            <p:spPr>
              <a:xfrm>
                <a:off x="9627790" y="4470635"/>
                <a:ext cx="327532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75329" h="180975">
                    <a:moveTo>
                      <a:pt x="327533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75333" y="0"/>
                    </a:lnTo>
                    <a:lnTo>
                      <a:pt x="327533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6" name="object 356"/>
              <p:cNvSpPr/>
              <p:nvPr/>
            </p:nvSpPr>
            <p:spPr>
              <a:xfrm>
                <a:off x="10328834" y="4235360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7" name="object 357"/>
              <p:cNvSpPr/>
              <p:nvPr/>
            </p:nvSpPr>
            <p:spPr>
              <a:xfrm>
                <a:off x="9696938" y="4245093"/>
                <a:ext cx="32067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06750" h="180975">
                    <a:moveTo>
                      <a:pt x="320618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06185" y="0"/>
                    </a:lnTo>
                    <a:lnTo>
                      <a:pt x="3206185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8" name="object 358"/>
              <p:cNvSpPr/>
              <p:nvPr/>
            </p:nvSpPr>
            <p:spPr>
              <a:xfrm>
                <a:off x="10328834" y="3989704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9" name="object 359"/>
              <p:cNvSpPr/>
              <p:nvPr/>
            </p:nvSpPr>
            <p:spPr>
              <a:xfrm>
                <a:off x="9695577" y="4019551"/>
                <a:ext cx="320802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08020" h="180975">
                    <a:moveTo>
                      <a:pt x="3207547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07547" y="0"/>
                    </a:lnTo>
                    <a:lnTo>
                      <a:pt x="3207547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0" name="object 360"/>
              <p:cNvSpPr/>
              <p:nvPr/>
            </p:nvSpPr>
            <p:spPr>
              <a:xfrm>
                <a:off x="10328834" y="3744048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1" name="object 361"/>
              <p:cNvSpPr/>
              <p:nvPr/>
            </p:nvSpPr>
            <p:spPr>
              <a:xfrm>
                <a:off x="9673536" y="3794010"/>
                <a:ext cx="322961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29609" h="180975">
                    <a:moveTo>
                      <a:pt x="322958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29588" y="0"/>
                    </a:lnTo>
                    <a:lnTo>
                      <a:pt x="3229588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2" name="object 362"/>
              <p:cNvSpPr/>
              <p:nvPr/>
            </p:nvSpPr>
            <p:spPr>
              <a:xfrm>
                <a:off x="10328834" y="3559809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3" name="object 363"/>
              <p:cNvSpPr/>
              <p:nvPr/>
            </p:nvSpPr>
            <p:spPr>
              <a:xfrm>
                <a:off x="9654217" y="3568468"/>
                <a:ext cx="324929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49295" h="180975">
                    <a:moveTo>
                      <a:pt x="324890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48906" y="0"/>
                    </a:lnTo>
                    <a:lnTo>
                      <a:pt x="3248906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4" name="object 364"/>
              <p:cNvSpPr/>
              <p:nvPr/>
            </p:nvSpPr>
            <p:spPr>
              <a:xfrm>
                <a:off x="10328834" y="3314153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51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51"/>
                    </a:moveTo>
                    <a:lnTo>
                      <a:pt x="856386" y="184251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51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51"/>
                    </a:moveTo>
                    <a:lnTo>
                      <a:pt x="1712772" y="184251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51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51"/>
                    </a:moveTo>
                    <a:lnTo>
                      <a:pt x="2569159" y="184251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51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5" name="object 365"/>
              <p:cNvSpPr/>
              <p:nvPr/>
            </p:nvSpPr>
            <p:spPr>
              <a:xfrm>
                <a:off x="9542085" y="3342926"/>
                <a:ext cx="336105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361054" h="180975">
                    <a:moveTo>
                      <a:pt x="33610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361038" y="0"/>
                    </a:lnTo>
                    <a:lnTo>
                      <a:pt x="3361038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6" name="object 366"/>
              <p:cNvSpPr/>
              <p:nvPr/>
            </p:nvSpPr>
            <p:spPr>
              <a:xfrm>
                <a:off x="9472447" y="3068510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343598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23"/>
                    </a:lnTo>
                    <a:lnTo>
                      <a:pt x="10248" y="10223"/>
                    </a:lnTo>
                    <a:lnTo>
                      <a:pt x="10248" y="0"/>
                    </a:lnTo>
                    <a:close/>
                  </a:path>
                  <a:path w="343598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343598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94945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23"/>
                    </a:lnTo>
                    <a:lnTo>
                      <a:pt x="866635" y="10223"/>
                    </a:lnTo>
                    <a:lnTo>
                      <a:pt x="866635" y="0"/>
                    </a:lnTo>
                    <a:close/>
                  </a:path>
                  <a:path w="343598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343598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94945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23"/>
                    </a:lnTo>
                    <a:lnTo>
                      <a:pt x="1723021" y="10223"/>
                    </a:lnTo>
                    <a:lnTo>
                      <a:pt x="1723021" y="0"/>
                    </a:lnTo>
                    <a:close/>
                  </a:path>
                  <a:path w="343598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343598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94945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23"/>
                    </a:lnTo>
                    <a:lnTo>
                      <a:pt x="2579408" y="10223"/>
                    </a:lnTo>
                    <a:lnTo>
                      <a:pt x="2579408" y="0"/>
                    </a:lnTo>
                    <a:close/>
                  </a:path>
                  <a:path w="3435984" h="194945">
                    <a:moveTo>
                      <a:pt x="3435794" y="184238"/>
                    </a:moveTo>
                    <a:lnTo>
                      <a:pt x="3425545" y="184238"/>
                    </a:lnTo>
                    <a:lnTo>
                      <a:pt x="3425545" y="194475"/>
                    </a:lnTo>
                    <a:lnTo>
                      <a:pt x="3435794" y="194475"/>
                    </a:lnTo>
                    <a:lnTo>
                      <a:pt x="3435794" y="184238"/>
                    </a:lnTo>
                    <a:close/>
                  </a:path>
                  <a:path w="3435984" h="194945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94945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94945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23"/>
                    </a:lnTo>
                    <a:lnTo>
                      <a:pt x="3435794" y="10223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7" name="object 367"/>
              <p:cNvSpPr/>
              <p:nvPr/>
            </p:nvSpPr>
            <p:spPr>
              <a:xfrm>
                <a:off x="9372490" y="3117385"/>
                <a:ext cx="353123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31234" h="180975">
                    <a:moveTo>
                      <a:pt x="353063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30634" y="0"/>
                    </a:lnTo>
                    <a:lnTo>
                      <a:pt x="3530634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8" name="object 368"/>
              <p:cNvSpPr/>
              <p:nvPr/>
            </p:nvSpPr>
            <p:spPr>
              <a:xfrm>
                <a:off x="9472447" y="2884258"/>
                <a:ext cx="343598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343598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343598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33350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343598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343598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33350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343598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343598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33350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343598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343598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33350">
                    <a:moveTo>
                      <a:pt x="3435794" y="122834"/>
                    </a:moveTo>
                    <a:lnTo>
                      <a:pt x="3425545" y="122834"/>
                    </a:lnTo>
                    <a:lnTo>
                      <a:pt x="3425545" y="133070"/>
                    </a:lnTo>
                    <a:lnTo>
                      <a:pt x="3435794" y="133070"/>
                    </a:lnTo>
                    <a:lnTo>
                      <a:pt x="3435794" y="122834"/>
                    </a:lnTo>
                    <a:close/>
                  </a:path>
                  <a:path w="3435984" h="133350">
                    <a:moveTo>
                      <a:pt x="3435794" y="61417"/>
                    </a:moveTo>
                    <a:lnTo>
                      <a:pt x="3425545" y="61417"/>
                    </a:lnTo>
                    <a:lnTo>
                      <a:pt x="3425545" y="71653"/>
                    </a:lnTo>
                    <a:lnTo>
                      <a:pt x="3435794" y="71653"/>
                    </a:lnTo>
                    <a:lnTo>
                      <a:pt x="3435794" y="61417"/>
                    </a:lnTo>
                    <a:close/>
                  </a:path>
                  <a:path w="3435984" h="133350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9" name="object 369"/>
              <p:cNvSpPr/>
              <p:nvPr/>
            </p:nvSpPr>
            <p:spPr>
              <a:xfrm>
                <a:off x="9329408" y="2891843"/>
                <a:ext cx="357377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73779" h="180975">
                    <a:moveTo>
                      <a:pt x="357371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73716" y="0"/>
                    </a:lnTo>
                    <a:lnTo>
                      <a:pt x="3573716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0" name="object 370"/>
              <p:cNvSpPr/>
              <p:nvPr/>
            </p:nvSpPr>
            <p:spPr>
              <a:xfrm>
                <a:off x="9472447" y="2638615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4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3435984" h="194944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94944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9494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94944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3435984" h="194944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94944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94944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94944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3435984" h="194944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94944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94944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94944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3435984" h="194944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94944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94944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94944">
                    <a:moveTo>
                      <a:pt x="3435794" y="184238"/>
                    </a:moveTo>
                    <a:lnTo>
                      <a:pt x="3425545" y="184238"/>
                    </a:lnTo>
                    <a:lnTo>
                      <a:pt x="3425545" y="194475"/>
                    </a:lnTo>
                    <a:lnTo>
                      <a:pt x="3435794" y="194475"/>
                    </a:lnTo>
                    <a:lnTo>
                      <a:pt x="3435794" y="184238"/>
                    </a:lnTo>
                    <a:close/>
                  </a:path>
                  <a:path w="3435984" h="194944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94944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94944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1" name="object 371"/>
              <p:cNvSpPr/>
              <p:nvPr/>
            </p:nvSpPr>
            <p:spPr>
              <a:xfrm>
                <a:off x="9290140" y="2666301"/>
                <a:ext cx="36131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613150" h="180975">
                    <a:moveTo>
                      <a:pt x="361298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612983" y="0"/>
                    </a:lnTo>
                    <a:lnTo>
                      <a:pt x="361298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2" name="object 372"/>
              <p:cNvSpPr/>
              <p:nvPr/>
            </p:nvSpPr>
            <p:spPr>
              <a:xfrm>
                <a:off x="9472447" y="2392959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4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3435984" h="194944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94944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9494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94944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3435984" h="194944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94944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94944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94944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3435984" h="194944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94944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94944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94944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3435984" h="194944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94944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94944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94944">
                    <a:moveTo>
                      <a:pt x="3435794" y="184238"/>
                    </a:moveTo>
                    <a:lnTo>
                      <a:pt x="3425545" y="184238"/>
                    </a:lnTo>
                    <a:lnTo>
                      <a:pt x="3425545" y="194475"/>
                    </a:lnTo>
                    <a:lnTo>
                      <a:pt x="3435794" y="194475"/>
                    </a:lnTo>
                    <a:lnTo>
                      <a:pt x="3435794" y="184238"/>
                    </a:lnTo>
                    <a:close/>
                  </a:path>
                  <a:path w="3435984" h="194944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94944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94944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3" name="object 373"/>
              <p:cNvSpPr/>
              <p:nvPr/>
            </p:nvSpPr>
            <p:spPr>
              <a:xfrm>
                <a:off x="9301159" y="2440760"/>
                <a:ext cx="360235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602354" h="180975">
                    <a:moveTo>
                      <a:pt x="360196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601964" y="0"/>
                    </a:lnTo>
                    <a:lnTo>
                      <a:pt x="3601964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4" name="object 374"/>
              <p:cNvSpPr/>
              <p:nvPr/>
            </p:nvSpPr>
            <p:spPr>
              <a:xfrm>
                <a:off x="9472447" y="2208720"/>
                <a:ext cx="343598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33350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33350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33350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33350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33350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33350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33350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33350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33350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5" name="object 375"/>
              <p:cNvSpPr/>
              <p:nvPr/>
            </p:nvSpPr>
            <p:spPr>
              <a:xfrm>
                <a:off x="9325804" y="2215218"/>
                <a:ext cx="35775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77590" h="180975">
                    <a:moveTo>
                      <a:pt x="3577319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77319" y="0"/>
                    </a:lnTo>
                    <a:lnTo>
                      <a:pt x="3577319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6" name="object 376"/>
              <p:cNvSpPr/>
              <p:nvPr/>
            </p:nvSpPr>
            <p:spPr>
              <a:xfrm>
                <a:off x="9472447" y="2024468"/>
                <a:ext cx="343598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343598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343598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33350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343598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343598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33350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343598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343598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33350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343598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343598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33350">
                    <a:moveTo>
                      <a:pt x="3435794" y="122834"/>
                    </a:moveTo>
                    <a:lnTo>
                      <a:pt x="3425545" y="122834"/>
                    </a:lnTo>
                    <a:lnTo>
                      <a:pt x="3425545" y="133070"/>
                    </a:lnTo>
                    <a:lnTo>
                      <a:pt x="3435794" y="133070"/>
                    </a:lnTo>
                    <a:lnTo>
                      <a:pt x="3435794" y="122834"/>
                    </a:lnTo>
                    <a:close/>
                  </a:path>
                  <a:path w="3435984" h="133350">
                    <a:moveTo>
                      <a:pt x="3435794" y="61417"/>
                    </a:moveTo>
                    <a:lnTo>
                      <a:pt x="3425545" y="61417"/>
                    </a:lnTo>
                    <a:lnTo>
                      <a:pt x="3425545" y="71653"/>
                    </a:lnTo>
                    <a:lnTo>
                      <a:pt x="3435794" y="71653"/>
                    </a:lnTo>
                    <a:lnTo>
                      <a:pt x="3435794" y="61417"/>
                    </a:lnTo>
                    <a:close/>
                  </a:path>
                  <a:path w="3435984" h="133350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7" name="object 377"/>
              <p:cNvSpPr/>
              <p:nvPr/>
            </p:nvSpPr>
            <p:spPr>
              <a:xfrm>
                <a:off x="9331083" y="1989677"/>
                <a:ext cx="357251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72509" h="180975">
                    <a:moveTo>
                      <a:pt x="357204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72041" y="0"/>
                    </a:lnTo>
                    <a:lnTo>
                      <a:pt x="3572041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378" name="object 378"/>
            <p:cNvSpPr txBox="1"/>
            <p:nvPr/>
          </p:nvSpPr>
          <p:spPr>
            <a:xfrm>
              <a:off x="7835899" y="6308853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79" name="object 379"/>
            <p:cNvSpPr txBox="1"/>
            <p:nvPr/>
          </p:nvSpPr>
          <p:spPr>
            <a:xfrm>
              <a:off x="8562307" y="6308853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2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0" name="object 380"/>
            <p:cNvSpPr txBox="1"/>
            <p:nvPr/>
          </p:nvSpPr>
          <p:spPr>
            <a:xfrm>
              <a:off x="9156448" y="6293887"/>
              <a:ext cx="1307166" cy="367549"/>
            </a:xfrm>
            <a:prstGeom prst="rect">
              <a:avLst/>
            </a:prstGeom>
          </p:spPr>
          <p:txBody>
            <a:bodyPr vert="horz" wrap="square" lIns="0" tIns="28015" rIns="0" bIns="0" rtlCol="0">
              <a:spAutoFit/>
            </a:bodyPr>
            <a:lstStyle/>
            <a:p>
              <a:pPr algn="ctr">
                <a:spcBef>
                  <a:spcPts val="221"/>
                </a:spcBef>
                <a:tabLst>
                  <a:tab pos="755317" algn="l"/>
                </a:tabLst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40%	60%</a:t>
              </a:r>
              <a:endParaRPr sz="838" dirty="0">
                <a:latin typeface="Segoe UI"/>
                <a:cs typeface="Segoe UI"/>
              </a:endParaRPr>
            </a:p>
            <a:p>
              <a:pPr algn="ctr">
                <a:spcBef>
                  <a:spcPts val="194"/>
                </a:spcBef>
              </a:pPr>
              <a:r>
                <a:rPr sz="1200" spc="-26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Sentiment</a:t>
              </a:r>
              <a:r>
                <a:rPr sz="1200" spc="-119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 </a:t>
              </a:r>
              <a:r>
                <a:rPr sz="1200" spc="-31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Percentage</a:t>
              </a:r>
              <a:endParaRPr sz="1200" dirty="0">
                <a:latin typeface="Arial Narrow" panose="020B0606020202030204" pitchFamily="34" charset="0"/>
                <a:cs typeface="Tahoma"/>
              </a:endParaRPr>
            </a:p>
          </p:txBody>
        </p:sp>
        <p:sp>
          <p:nvSpPr>
            <p:cNvPr id="381" name="object 381"/>
            <p:cNvSpPr txBox="1"/>
            <p:nvPr/>
          </p:nvSpPr>
          <p:spPr>
            <a:xfrm>
              <a:off x="10829213" y="6308853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8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2" name="object 382"/>
            <p:cNvSpPr txBox="1"/>
            <p:nvPr/>
          </p:nvSpPr>
          <p:spPr>
            <a:xfrm>
              <a:off x="11555620" y="6308853"/>
              <a:ext cx="286871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10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3" name="object 383"/>
            <p:cNvSpPr txBox="1"/>
            <p:nvPr/>
          </p:nvSpPr>
          <p:spPr>
            <a:xfrm>
              <a:off x="7373828" y="3885083"/>
              <a:ext cx="153888" cy="418286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1204"/>
                </a:lnSpc>
              </a:pPr>
              <a:r>
                <a:rPr sz="1147" spc="-93" dirty="0">
                  <a:solidFill>
                    <a:srgbClr val="252423"/>
                  </a:solidFill>
                  <a:latin typeface="Tahoma"/>
                  <a:cs typeface="Tahoma"/>
                </a:rPr>
                <a:t>Y</a:t>
              </a:r>
              <a:r>
                <a:rPr sz="1147" dirty="0">
                  <a:solidFill>
                    <a:srgbClr val="252423"/>
                  </a:solidFill>
                  <a:latin typeface="Tahoma"/>
                  <a:cs typeface="Tahoma"/>
                </a:rPr>
                <a:t>ear</a:t>
              </a:r>
              <a:endParaRPr sz="1147" dirty="0">
                <a:latin typeface="Tahoma"/>
                <a:cs typeface="Tahoma"/>
              </a:endParaRPr>
            </a:p>
          </p:txBody>
        </p:sp>
        <p:sp>
          <p:nvSpPr>
            <p:cNvPr id="384" name="object 384"/>
            <p:cNvSpPr txBox="1"/>
            <p:nvPr/>
          </p:nvSpPr>
          <p:spPr>
            <a:xfrm>
              <a:off x="7585321" y="5332430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5" name="object 385"/>
            <p:cNvSpPr txBox="1"/>
            <p:nvPr/>
          </p:nvSpPr>
          <p:spPr>
            <a:xfrm>
              <a:off x="7585321" y="4337393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6" name="object 386"/>
            <p:cNvSpPr txBox="1"/>
            <p:nvPr/>
          </p:nvSpPr>
          <p:spPr>
            <a:xfrm>
              <a:off x="7585321" y="3342357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7" name="object 387"/>
            <p:cNvSpPr txBox="1"/>
            <p:nvPr/>
          </p:nvSpPr>
          <p:spPr>
            <a:xfrm>
              <a:off x="7585321" y="2347320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8" name="object 388"/>
            <p:cNvSpPr/>
            <p:nvPr/>
          </p:nvSpPr>
          <p:spPr>
            <a:xfrm>
              <a:off x="7389761" y="1507062"/>
              <a:ext cx="89416" cy="92417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9" name="object 389"/>
            <p:cNvSpPr/>
            <p:nvPr/>
          </p:nvSpPr>
          <p:spPr>
            <a:xfrm>
              <a:off x="8031228" y="1507062"/>
              <a:ext cx="89416" cy="92417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0" name="object 390"/>
            <p:cNvSpPr/>
            <p:nvPr/>
          </p:nvSpPr>
          <p:spPr>
            <a:xfrm>
              <a:off x="8591381" y="1507062"/>
              <a:ext cx="89416" cy="92417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1" name="object 391"/>
            <p:cNvSpPr txBox="1"/>
            <p:nvPr/>
          </p:nvSpPr>
          <p:spPr>
            <a:xfrm>
              <a:off x="7369017" y="1160232"/>
              <a:ext cx="2057400" cy="460915"/>
            </a:xfrm>
            <a:prstGeom prst="rect">
              <a:avLst/>
            </a:prstGeom>
          </p:spPr>
          <p:txBody>
            <a:bodyPr vert="horz" wrap="square" lIns="0" tIns="11766" rIns="0" bIns="0" rtlCol="0">
              <a:spAutoFit/>
            </a:bodyPr>
            <a:lstStyle/>
            <a:p>
              <a:pPr marL="11206">
                <a:spcBef>
                  <a:spcPts val="93"/>
                </a:spcBef>
              </a:pPr>
              <a:r>
                <a:rPr sz="1324" b="1" spc="-53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Sentiment Percentage </a:t>
              </a:r>
              <a:r>
                <a:rPr sz="1324" b="1" spc="-66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by</a:t>
              </a:r>
              <a:r>
                <a:rPr sz="1324" b="1" spc="-212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 </a:t>
              </a:r>
              <a:r>
                <a:rPr sz="1324" b="1" spc="-75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Year</a:t>
              </a:r>
              <a:endParaRPr sz="1324" b="1" dirty="0">
                <a:latin typeface="Arial Narrow" panose="020B0606020202030204" pitchFamily="34" charset="0"/>
                <a:cs typeface="Tahoma"/>
              </a:endParaRPr>
            </a:p>
            <a:p>
              <a:pPr marL="129435">
                <a:spcBef>
                  <a:spcPts val="799"/>
                </a:spcBef>
                <a:tabLst>
                  <a:tab pos="769885" algn="l"/>
                  <a:tab pos="1328528" algn="l"/>
                </a:tabLst>
              </a:pPr>
              <a:r>
                <a:rPr sz="927" spc="9" dirty="0">
                  <a:solidFill>
                    <a:srgbClr val="605D5C"/>
                  </a:solidFill>
                  <a:latin typeface="Segoe UI"/>
                  <a:cs typeface="Segoe UI"/>
                </a:rPr>
                <a:t>Negative	Neutral	</a:t>
              </a:r>
              <a:r>
                <a:rPr sz="927" spc="4" dirty="0">
                  <a:solidFill>
                    <a:srgbClr val="605D5C"/>
                  </a:solidFill>
                  <a:latin typeface="Segoe UI"/>
                  <a:cs typeface="Segoe UI"/>
                </a:rPr>
                <a:t>Positive</a:t>
              </a:r>
              <a:endParaRPr sz="927" dirty="0">
                <a:latin typeface="Segoe UI"/>
                <a:cs typeface="Segoe UI"/>
              </a:endParaRPr>
            </a:p>
          </p:txBody>
        </p:sp>
      </p:grpSp>
      <p:pic>
        <p:nvPicPr>
          <p:cNvPr id="400" name="Picture 39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1593" y="1176858"/>
            <a:ext cx="6630983" cy="5687568"/>
          </a:xfrm>
          <a:prstGeom prst="rect">
            <a:avLst/>
          </a:prstGeom>
        </p:spPr>
      </p:pic>
      <p:sp>
        <p:nvSpPr>
          <p:cNvPr id="411" name="object 156"/>
          <p:cNvSpPr/>
          <p:nvPr/>
        </p:nvSpPr>
        <p:spPr>
          <a:xfrm>
            <a:off x="318561" y="310720"/>
            <a:ext cx="6370503" cy="488016"/>
          </a:xfrm>
          <a:custGeom>
            <a:avLst/>
            <a:gdLst/>
            <a:ahLst/>
            <a:cxnLst/>
            <a:rect l="l" t="t" r="r" b="b"/>
            <a:pathLst>
              <a:path w="6492240" h="553085">
                <a:moveTo>
                  <a:pt x="6491763" y="552926"/>
                </a:moveTo>
                <a:lnTo>
                  <a:pt x="0" y="552926"/>
                </a:lnTo>
                <a:lnTo>
                  <a:pt x="0" y="0"/>
                </a:lnTo>
                <a:lnTo>
                  <a:pt x="6491763" y="0"/>
                </a:lnTo>
                <a:lnTo>
                  <a:pt x="6491763" y="552926"/>
                </a:lnTo>
                <a:close/>
              </a:path>
            </a:pathLst>
          </a:custGeom>
          <a:solidFill>
            <a:srgbClr val="FFB618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412" name="object 157"/>
          <p:cNvSpPr txBox="1"/>
          <p:nvPr/>
        </p:nvSpPr>
        <p:spPr>
          <a:xfrm>
            <a:off x="495772" y="398451"/>
            <a:ext cx="5504329" cy="273360"/>
          </a:xfrm>
          <a:prstGeom prst="rect">
            <a:avLst/>
          </a:prstGeom>
        </p:spPr>
        <p:txBody>
          <a:bodyPr vert="horz" wrap="square" lIns="0" tIns="15128" rIns="0" bIns="0" rtlCol="0">
            <a:spAutoFit/>
          </a:bodyPr>
          <a:lstStyle/>
          <a:p>
            <a:pPr marL="11206">
              <a:spcBef>
                <a:spcPts val="119"/>
              </a:spcBef>
            </a:pPr>
            <a:r>
              <a:rPr sz="1677" b="1" i="1" spc="18" dirty="0">
                <a:latin typeface="Segoe UI"/>
                <a:cs typeface="Segoe UI"/>
              </a:rPr>
              <a:t>Has </a:t>
            </a:r>
            <a:r>
              <a:rPr sz="1677" b="1" i="1" spc="13" dirty="0">
                <a:latin typeface="Segoe UI"/>
                <a:cs typeface="Segoe UI"/>
              </a:rPr>
              <a:t>the overall content of reviews changed over</a:t>
            </a:r>
            <a:r>
              <a:rPr sz="1677" b="1" i="1" spc="-49" dirty="0">
                <a:latin typeface="Segoe UI"/>
                <a:cs typeface="Segoe UI"/>
              </a:rPr>
              <a:t> </a:t>
            </a:r>
            <a:r>
              <a:rPr sz="1677" b="1" i="1" spc="13" dirty="0">
                <a:latin typeface="Segoe UI"/>
                <a:cs typeface="Segoe UI"/>
              </a:rPr>
              <a:t>time?</a:t>
            </a:r>
            <a:endParaRPr sz="1677" dirty="0">
              <a:latin typeface="Segoe UI"/>
              <a:cs typeface="Segoe UI"/>
            </a:endParaRPr>
          </a:p>
        </p:txBody>
      </p:sp>
      <p:sp>
        <p:nvSpPr>
          <p:cNvPr id="419" name="Oval 418"/>
          <p:cNvSpPr/>
          <p:nvPr/>
        </p:nvSpPr>
        <p:spPr>
          <a:xfrm rot="18181976">
            <a:off x="3902779" y="1584754"/>
            <a:ext cx="867948" cy="368741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0" name="Oval 419"/>
          <p:cNvSpPr/>
          <p:nvPr/>
        </p:nvSpPr>
        <p:spPr>
          <a:xfrm rot="17820000">
            <a:off x="5186480" y="4514022"/>
            <a:ext cx="1562020" cy="394088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1" name="Oval 420"/>
          <p:cNvSpPr/>
          <p:nvPr/>
        </p:nvSpPr>
        <p:spPr>
          <a:xfrm rot="18181976">
            <a:off x="4986487" y="5632221"/>
            <a:ext cx="975049" cy="302726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2" name="Oval 421"/>
          <p:cNvSpPr/>
          <p:nvPr/>
        </p:nvSpPr>
        <p:spPr>
          <a:xfrm rot="1215349">
            <a:off x="2786170" y="2691739"/>
            <a:ext cx="735018" cy="277473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4" name="Oval 423"/>
          <p:cNvSpPr/>
          <p:nvPr/>
        </p:nvSpPr>
        <p:spPr>
          <a:xfrm rot="18181976">
            <a:off x="3594163" y="2917051"/>
            <a:ext cx="917043" cy="293263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7" name="Oval 426"/>
          <p:cNvSpPr/>
          <p:nvPr/>
        </p:nvSpPr>
        <p:spPr>
          <a:xfrm rot="273386">
            <a:off x="5700650" y="3117679"/>
            <a:ext cx="611837" cy="277149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8" name="Oval 427"/>
          <p:cNvSpPr/>
          <p:nvPr/>
        </p:nvSpPr>
        <p:spPr>
          <a:xfrm rot="17460769">
            <a:off x="3265318" y="4873869"/>
            <a:ext cx="795436" cy="253550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BB90586C-F77B-48C1-BE05-D2FDA78B2938}"/>
              </a:ext>
            </a:extLst>
          </p:cNvPr>
          <p:cNvSpPr/>
          <p:nvPr/>
        </p:nvSpPr>
        <p:spPr>
          <a:xfrm rot="18181976">
            <a:off x="1803200" y="4193433"/>
            <a:ext cx="751407" cy="350812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5" name="object 2">
            <a:extLst>
              <a:ext uri="{FF2B5EF4-FFF2-40B4-BE49-F238E27FC236}">
                <a16:creationId xmlns:a16="http://schemas.microsoft.com/office/drawing/2014/main" id="{129DCE49-06B8-48B5-B441-20506C626FBE}"/>
              </a:ext>
            </a:extLst>
          </p:cNvPr>
          <p:cNvSpPr txBox="1"/>
          <p:nvPr/>
        </p:nvSpPr>
        <p:spPr>
          <a:xfrm>
            <a:off x="6814959" y="358999"/>
            <a:ext cx="660026" cy="196886"/>
          </a:xfrm>
          <a:prstGeom prst="rect">
            <a:avLst/>
          </a:prstGeom>
          <a:solidFill>
            <a:srgbClr val="FFC823"/>
          </a:solidFill>
          <a:ln w="10239">
            <a:solidFill>
              <a:srgbClr val="E9E9E9"/>
            </a:solidFill>
          </a:ln>
        </p:spPr>
        <p:txBody>
          <a:bodyPr vert="horz" wrap="square" lIns="0" tIns="42582" rIns="0" bIns="0" rtlCol="0">
            <a:spAutoFit/>
          </a:bodyPr>
          <a:lstStyle/>
          <a:p>
            <a:pPr marL="58274">
              <a:spcBef>
                <a:spcPts val="335"/>
              </a:spcBef>
            </a:pPr>
            <a:r>
              <a:rPr sz="1000" spc="9" dirty="0">
                <a:latin typeface="Arial Black"/>
                <a:cs typeface="Arial Black"/>
              </a:rPr>
              <a:t>1996</a:t>
            </a:r>
            <a:endParaRPr sz="1000" dirty="0">
              <a:latin typeface="Arial Black"/>
              <a:cs typeface="Arial Black"/>
            </a:endParaRPr>
          </a:p>
        </p:txBody>
      </p:sp>
      <p:sp>
        <p:nvSpPr>
          <p:cNvPr id="166" name="object 3">
            <a:extLst>
              <a:ext uri="{FF2B5EF4-FFF2-40B4-BE49-F238E27FC236}">
                <a16:creationId xmlns:a16="http://schemas.microsoft.com/office/drawing/2014/main" id="{4C820359-C52D-451E-8BAE-835E991346C7}"/>
              </a:ext>
            </a:extLst>
          </p:cNvPr>
          <p:cNvSpPr txBox="1"/>
          <p:nvPr/>
        </p:nvSpPr>
        <p:spPr>
          <a:xfrm>
            <a:off x="8407641" y="369160"/>
            <a:ext cx="660026" cy="196886"/>
          </a:xfrm>
          <a:prstGeom prst="rect">
            <a:avLst/>
          </a:prstGeom>
          <a:solidFill>
            <a:srgbClr val="FFC823"/>
          </a:solidFill>
          <a:ln w="10239">
            <a:solidFill>
              <a:srgbClr val="E9E9E9"/>
            </a:solidFill>
          </a:ln>
        </p:spPr>
        <p:txBody>
          <a:bodyPr vert="horz" wrap="square" lIns="0" tIns="42582" rIns="0" bIns="0" rtlCol="0">
            <a:spAutoFit/>
          </a:bodyPr>
          <a:lstStyle/>
          <a:p>
            <a:pPr marL="57713">
              <a:spcBef>
                <a:spcPts val="335"/>
              </a:spcBef>
            </a:pPr>
            <a:r>
              <a:rPr sz="1000" spc="9" dirty="0">
                <a:latin typeface="Arial Black"/>
                <a:cs typeface="Arial Black"/>
              </a:rPr>
              <a:t>2018</a:t>
            </a:r>
            <a:endParaRPr sz="1000" dirty="0">
              <a:latin typeface="Arial Black"/>
              <a:cs typeface="Arial Black"/>
            </a:endParaRPr>
          </a:p>
        </p:txBody>
      </p:sp>
      <p:grpSp>
        <p:nvGrpSpPr>
          <p:cNvPr id="167" name="object 4">
            <a:extLst>
              <a:ext uri="{FF2B5EF4-FFF2-40B4-BE49-F238E27FC236}">
                <a16:creationId xmlns:a16="http://schemas.microsoft.com/office/drawing/2014/main" id="{9E502434-9CFB-497E-A166-DF019D291A7A}"/>
              </a:ext>
            </a:extLst>
          </p:cNvPr>
          <p:cNvGrpSpPr/>
          <p:nvPr/>
        </p:nvGrpSpPr>
        <p:grpSpPr>
          <a:xfrm>
            <a:off x="6819461" y="662789"/>
            <a:ext cx="2312894" cy="235324"/>
            <a:chOff x="6626555" y="649843"/>
            <a:chExt cx="2621280" cy="266700"/>
          </a:xfrm>
        </p:grpSpPr>
        <p:sp>
          <p:nvSpPr>
            <p:cNvPr id="168" name="object 5">
              <a:extLst>
                <a:ext uri="{FF2B5EF4-FFF2-40B4-BE49-F238E27FC236}">
                  <a16:creationId xmlns:a16="http://schemas.microsoft.com/office/drawing/2014/main" id="{CA019C46-2909-4B37-98CB-20889BC84F70}"/>
                </a:ext>
              </a:extLst>
            </p:cNvPr>
            <p:cNvSpPr/>
            <p:nvPr/>
          </p:nvSpPr>
          <p:spPr>
            <a:xfrm>
              <a:off x="6759667" y="762476"/>
              <a:ext cx="2375535" cy="31115"/>
            </a:xfrm>
            <a:custGeom>
              <a:avLst/>
              <a:gdLst/>
              <a:ahLst/>
              <a:cxnLst/>
              <a:rect l="l" t="t" r="r" b="b"/>
              <a:pathLst>
                <a:path w="2375534" h="31115">
                  <a:moveTo>
                    <a:pt x="2375534" y="30718"/>
                  </a:moveTo>
                  <a:lnTo>
                    <a:pt x="0" y="30718"/>
                  </a:lnTo>
                  <a:lnTo>
                    <a:pt x="0" y="0"/>
                  </a:lnTo>
                  <a:lnTo>
                    <a:pt x="2375534" y="0"/>
                  </a:lnTo>
                  <a:lnTo>
                    <a:pt x="2375534" y="30718"/>
                  </a:lnTo>
                  <a:close/>
                </a:path>
              </a:pathLst>
            </a:custGeom>
            <a:solidFill>
              <a:srgbClr val="E9E9E9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69" name="object 6">
              <a:extLst>
                <a:ext uri="{FF2B5EF4-FFF2-40B4-BE49-F238E27FC236}">
                  <a16:creationId xmlns:a16="http://schemas.microsoft.com/office/drawing/2014/main" id="{D467C5F6-2C42-46D9-AACB-AEDF3E8D7F61}"/>
                </a:ext>
              </a:extLst>
            </p:cNvPr>
            <p:cNvSpPr/>
            <p:nvPr/>
          </p:nvSpPr>
          <p:spPr>
            <a:xfrm>
              <a:off x="6759667" y="762476"/>
              <a:ext cx="2375535" cy="31115"/>
            </a:xfrm>
            <a:custGeom>
              <a:avLst/>
              <a:gdLst/>
              <a:ahLst/>
              <a:cxnLst/>
              <a:rect l="l" t="t" r="r" b="b"/>
              <a:pathLst>
                <a:path w="2375534" h="31115">
                  <a:moveTo>
                    <a:pt x="2368122" y="30718"/>
                  </a:moveTo>
                  <a:lnTo>
                    <a:pt x="7411" y="30718"/>
                  </a:lnTo>
                  <a:lnTo>
                    <a:pt x="4998" y="29718"/>
                  </a:lnTo>
                  <a:lnTo>
                    <a:pt x="999" y="25719"/>
                  </a:lnTo>
                  <a:lnTo>
                    <a:pt x="0" y="23306"/>
                  </a:lnTo>
                  <a:lnTo>
                    <a:pt x="0" y="20478"/>
                  </a:lnTo>
                  <a:lnTo>
                    <a:pt x="0" y="7411"/>
                  </a:lnTo>
                  <a:lnTo>
                    <a:pt x="999" y="4998"/>
                  </a:lnTo>
                  <a:lnTo>
                    <a:pt x="4998" y="999"/>
                  </a:lnTo>
                  <a:lnTo>
                    <a:pt x="7411" y="0"/>
                  </a:lnTo>
                  <a:lnTo>
                    <a:pt x="2368122" y="0"/>
                  </a:lnTo>
                  <a:lnTo>
                    <a:pt x="2370536" y="999"/>
                  </a:lnTo>
                  <a:lnTo>
                    <a:pt x="2374534" y="4998"/>
                  </a:lnTo>
                  <a:lnTo>
                    <a:pt x="2375534" y="7411"/>
                  </a:lnTo>
                  <a:lnTo>
                    <a:pt x="2375534" y="23306"/>
                  </a:lnTo>
                  <a:lnTo>
                    <a:pt x="2374534" y="25719"/>
                  </a:lnTo>
                  <a:lnTo>
                    <a:pt x="2370536" y="29718"/>
                  </a:lnTo>
                  <a:lnTo>
                    <a:pt x="2368122" y="30718"/>
                  </a:lnTo>
                  <a:close/>
                </a:path>
              </a:pathLst>
            </a:custGeom>
            <a:solidFill>
              <a:srgbClr val="232E3F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0" name="object 7">
              <a:extLst>
                <a:ext uri="{FF2B5EF4-FFF2-40B4-BE49-F238E27FC236}">
                  <a16:creationId xmlns:a16="http://schemas.microsoft.com/office/drawing/2014/main" id="{7A9AAE6F-07B0-49AD-BD35-12F211764CD4}"/>
                </a:ext>
              </a:extLst>
            </p:cNvPr>
            <p:cNvSpPr/>
            <p:nvPr/>
          </p:nvSpPr>
          <p:spPr>
            <a:xfrm>
              <a:off x="9114723" y="762476"/>
              <a:ext cx="20955" cy="31115"/>
            </a:xfrm>
            <a:custGeom>
              <a:avLst/>
              <a:gdLst/>
              <a:ahLst/>
              <a:cxnLst/>
              <a:rect l="l" t="t" r="r" b="b"/>
              <a:pathLst>
                <a:path w="20954" h="31115">
                  <a:moveTo>
                    <a:pt x="20478" y="30718"/>
                  </a:moveTo>
                  <a:lnTo>
                    <a:pt x="0" y="30718"/>
                  </a:lnTo>
                  <a:lnTo>
                    <a:pt x="0" y="0"/>
                  </a:lnTo>
                  <a:lnTo>
                    <a:pt x="20478" y="0"/>
                  </a:lnTo>
                  <a:lnTo>
                    <a:pt x="20478" y="30718"/>
                  </a:lnTo>
                  <a:close/>
                </a:path>
              </a:pathLst>
            </a:custGeom>
            <a:solidFill>
              <a:srgbClr val="E9E9E9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1" name="object 8">
              <a:extLst>
                <a:ext uri="{FF2B5EF4-FFF2-40B4-BE49-F238E27FC236}">
                  <a16:creationId xmlns:a16="http://schemas.microsoft.com/office/drawing/2014/main" id="{E94AE503-C25E-49C9-A21B-75426E651C03}"/>
                </a:ext>
              </a:extLst>
            </p:cNvPr>
            <p:cNvSpPr/>
            <p:nvPr/>
          </p:nvSpPr>
          <p:spPr>
            <a:xfrm>
              <a:off x="6636794" y="660082"/>
              <a:ext cx="245745" cy="245744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2" name="object 9">
              <a:extLst>
                <a:ext uri="{FF2B5EF4-FFF2-40B4-BE49-F238E27FC236}">
                  <a16:creationId xmlns:a16="http://schemas.microsoft.com/office/drawing/2014/main" id="{9288DFF6-C94E-4CA8-A944-949FA5E40E6C}"/>
                </a:ext>
              </a:extLst>
            </p:cNvPr>
            <p:cNvSpPr/>
            <p:nvPr/>
          </p:nvSpPr>
          <p:spPr>
            <a:xfrm>
              <a:off x="6636794" y="660082"/>
              <a:ext cx="245745" cy="245745"/>
            </a:xfrm>
            <a:custGeom>
              <a:avLst/>
              <a:gdLst/>
              <a:ahLst/>
              <a:cxnLst/>
              <a:rect l="l" t="t" r="r" b="b"/>
              <a:pathLst>
                <a:path w="245745" h="245744">
                  <a:moveTo>
                    <a:pt x="245745" y="122872"/>
                  </a:moveTo>
                  <a:lnTo>
                    <a:pt x="239479" y="162439"/>
                  </a:lnTo>
                  <a:lnTo>
                    <a:pt x="236391" y="169893"/>
                  </a:lnTo>
                  <a:lnTo>
                    <a:pt x="233304" y="177347"/>
                  </a:lnTo>
                  <a:lnTo>
                    <a:pt x="229519" y="184428"/>
                  </a:lnTo>
                  <a:lnTo>
                    <a:pt x="225037" y="191136"/>
                  </a:lnTo>
                  <a:lnTo>
                    <a:pt x="220554" y="197844"/>
                  </a:lnTo>
                  <a:lnTo>
                    <a:pt x="215461" y="204051"/>
                  </a:lnTo>
                  <a:lnTo>
                    <a:pt x="209756" y="209756"/>
                  </a:lnTo>
                  <a:lnTo>
                    <a:pt x="204051" y="215461"/>
                  </a:lnTo>
                  <a:lnTo>
                    <a:pt x="169893" y="236391"/>
                  </a:lnTo>
                  <a:lnTo>
                    <a:pt x="162439" y="239479"/>
                  </a:lnTo>
                  <a:lnTo>
                    <a:pt x="154756" y="241810"/>
                  </a:lnTo>
                  <a:lnTo>
                    <a:pt x="146843" y="243383"/>
                  </a:lnTo>
                  <a:lnTo>
                    <a:pt x="138930" y="244957"/>
                  </a:lnTo>
                  <a:lnTo>
                    <a:pt x="130940" y="245744"/>
                  </a:lnTo>
                  <a:lnTo>
                    <a:pt x="122872" y="245744"/>
                  </a:lnTo>
                  <a:lnTo>
                    <a:pt x="114804" y="245744"/>
                  </a:lnTo>
                  <a:lnTo>
                    <a:pt x="106814" y="244957"/>
                  </a:lnTo>
                  <a:lnTo>
                    <a:pt x="98901" y="243383"/>
                  </a:lnTo>
                  <a:lnTo>
                    <a:pt x="90988" y="241810"/>
                  </a:lnTo>
                  <a:lnTo>
                    <a:pt x="83304" y="239479"/>
                  </a:lnTo>
                  <a:lnTo>
                    <a:pt x="75851" y="236391"/>
                  </a:lnTo>
                  <a:lnTo>
                    <a:pt x="68397" y="233304"/>
                  </a:lnTo>
                  <a:lnTo>
                    <a:pt x="61316" y="229519"/>
                  </a:lnTo>
                  <a:lnTo>
                    <a:pt x="54608" y="225037"/>
                  </a:lnTo>
                  <a:lnTo>
                    <a:pt x="47899" y="220554"/>
                  </a:lnTo>
                  <a:lnTo>
                    <a:pt x="20707" y="191136"/>
                  </a:lnTo>
                  <a:lnTo>
                    <a:pt x="9353" y="169893"/>
                  </a:lnTo>
                  <a:lnTo>
                    <a:pt x="6265" y="162439"/>
                  </a:lnTo>
                  <a:lnTo>
                    <a:pt x="3934" y="154756"/>
                  </a:lnTo>
                  <a:lnTo>
                    <a:pt x="2360" y="146843"/>
                  </a:lnTo>
                  <a:lnTo>
                    <a:pt x="786" y="138930"/>
                  </a:lnTo>
                  <a:lnTo>
                    <a:pt x="0" y="130940"/>
                  </a:lnTo>
                  <a:lnTo>
                    <a:pt x="0" y="122872"/>
                  </a:lnTo>
                  <a:lnTo>
                    <a:pt x="0" y="114804"/>
                  </a:lnTo>
                  <a:lnTo>
                    <a:pt x="786" y="106814"/>
                  </a:lnTo>
                  <a:lnTo>
                    <a:pt x="2360" y="98901"/>
                  </a:lnTo>
                  <a:lnTo>
                    <a:pt x="3934" y="90988"/>
                  </a:lnTo>
                  <a:lnTo>
                    <a:pt x="6265" y="83304"/>
                  </a:lnTo>
                  <a:lnTo>
                    <a:pt x="9353" y="75851"/>
                  </a:lnTo>
                  <a:lnTo>
                    <a:pt x="12440" y="68397"/>
                  </a:lnTo>
                  <a:lnTo>
                    <a:pt x="35988" y="35988"/>
                  </a:lnTo>
                  <a:lnTo>
                    <a:pt x="41693" y="30283"/>
                  </a:lnTo>
                  <a:lnTo>
                    <a:pt x="47899" y="25190"/>
                  </a:lnTo>
                  <a:lnTo>
                    <a:pt x="54608" y="20707"/>
                  </a:lnTo>
                  <a:lnTo>
                    <a:pt x="61316" y="16225"/>
                  </a:lnTo>
                  <a:lnTo>
                    <a:pt x="98901" y="2360"/>
                  </a:lnTo>
                  <a:lnTo>
                    <a:pt x="114804" y="0"/>
                  </a:lnTo>
                  <a:lnTo>
                    <a:pt x="122872" y="0"/>
                  </a:lnTo>
                  <a:lnTo>
                    <a:pt x="130940" y="0"/>
                  </a:lnTo>
                  <a:lnTo>
                    <a:pt x="138930" y="786"/>
                  </a:lnTo>
                  <a:lnTo>
                    <a:pt x="146843" y="2360"/>
                  </a:lnTo>
                  <a:lnTo>
                    <a:pt x="154756" y="3934"/>
                  </a:lnTo>
                  <a:lnTo>
                    <a:pt x="191136" y="20707"/>
                  </a:lnTo>
                  <a:lnTo>
                    <a:pt x="209756" y="35988"/>
                  </a:lnTo>
                  <a:lnTo>
                    <a:pt x="215461" y="41693"/>
                  </a:lnTo>
                  <a:lnTo>
                    <a:pt x="220554" y="47899"/>
                  </a:lnTo>
                  <a:lnTo>
                    <a:pt x="225037" y="54608"/>
                  </a:lnTo>
                  <a:lnTo>
                    <a:pt x="229519" y="61316"/>
                  </a:lnTo>
                  <a:lnTo>
                    <a:pt x="233304" y="68397"/>
                  </a:lnTo>
                  <a:lnTo>
                    <a:pt x="236391" y="75851"/>
                  </a:lnTo>
                  <a:lnTo>
                    <a:pt x="239479" y="83304"/>
                  </a:lnTo>
                  <a:lnTo>
                    <a:pt x="241810" y="90988"/>
                  </a:lnTo>
                  <a:lnTo>
                    <a:pt x="243384" y="98901"/>
                  </a:lnTo>
                  <a:lnTo>
                    <a:pt x="244957" y="106814"/>
                  </a:lnTo>
                  <a:lnTo>
                    <a:pt x="245744" y="114804"/>
                  </a:lnTo>
                  <a:lnTo>
                    <a:pt x="245745" y="122872"/>
                  </a:lnTo>
                  <a:close/>
                </a:path>
              </a:pathLst>
            </a:custGeom>
            <a:ln w="20478">
              <a:solidFill>
                <a:srgbClr val="232E3F"/>
              </a:solidFill>
            </a:ln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3" name="object 10">
              <a:extLst>
                <a:ext uri="{FF2B5EF4-FFF2-40B4-BE49-F238E27FC236}">
                  <a16:creationId xmlns:a16="http://schemas.microsoft.com/office/drawing/2014/main" id="{7CCCFAEA-EFC8-4AF2-B88E-B2B69BB78BF2}"/>
                </a:ext>
              </a:extLst>
            </p:cNvPr>
            <p:cNvSpPr/>
            <p:nvPr/>
          </p:nvSpPr>
          <p:spPr>
            <a:xfrm>
              <a:off x="8991850" y="660082"/>
              <a:ext cx="245745" cy="245744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4" name="object 11">
              <a:extLst>
                <a:ext uri="{FF2B5EF4-FFF2-40B4-BE49-F238E27FC236}">
                  <a16:creationId xmlns:a16="http://schemas.microsoft.com/office/drawing/2014/main" id="{2CC8533C-CCA8-49C4-93E8-58030526E0C7}"/>
                </a:ext>
              </a:extLst>
            </p:cNvPr>
            <p:cNvSpPr/>
            <p:nvPr/>
          </p:nvSpPr>
          <p:spPr>
            <a:xfrm>
              <a:off x="8991850" y="660082"/>
              <a:ext cx="245745" cy="245745"/>
            </a:xfrm>
            <a:custGeom>
              <a:avLst/>
              <a:gdLst/>
              <a:ahLst/>
              <a:cxnLst/>
              <a:rect l="l" t="t" r="r" b="b"/>
              <a:pathLst>
                <a:path w="245745" h="245744">
                  <a:moveTo>
                    <a:pt x="245745" y="122872"/>
                  </a:moveTo>
                  <a:lnTo>
                    <a:pt x="245745" y="130940"/>
                  </a:lnTo>
                  <a:lnTo>
                    <a:pt x="244958" y="138930"/>
                  </a:lnTo>
                  <a:lnTo>
                    <a:pt x="243384" y="146843"/>
                  </a:lnTo>
                  <a:lnTo>
                    <a:pt x="241810" y="154756"/>
                  </a:lnTo>
                  <a:lnTo>
                    <a:pt x="225036" y="191136"/>
                  </a:lnTo>
                  <a:lnTo>
                    <a:pt x="220554" y="197844"/>
                  </a:lnTo>
                  <a:lnTo>
                    <a:pt x="191136" y="225037"/>
                  </a:lnTo>
                  <a:lnTo>
                    <a:pt x="184428" y="229519"/>
                  </a:lnTo>
                  <a:lnTo>
                    <a:pt x="177347" y="233304"/>
                  </a:lnTo>
                  <a:lnTo>
                    <a:pt x="169893" y="236391"/>
                  </a:lnTo>
                  <a:lnTo>
                    <a:pt x="162440" y="239479"/>
                  </a:lnTo>
                  <a:lnTo>
                    <a:pt x="154756" y="241810"/>
                  </a:lnTo>
                  <a:lnTo>
                    <a:pt x="146843" y="243383"/>
                  </a:lnTo>
                  <a:lnTo>
                    <a:pt x="138930" y="244957"/>
                  </a:lnTo>
                  <a:lnTo>
                    <a:pt x="130940" y="245744"/>
                  </a:lnTo>
                  <a:lnTo>
                    <a:pt x="122872" y="245744"/>
                  </a:lnTo>
                  <a:lnTo>
                    <a:pt x="114804" y="245744"/>
                  </a:lnTo>
                  <a:lnTo>
                    <a:pt x="75851" y="236391"/>
                  </a:lnTo>
                  <a:lnTo>
                    <a:pt x="68397" y="233304"/>
                  </a:lnTo>
                  <a:lnTo>
                    <a:pt x="35988" y="209756"/>
                  </a:lnTo>
                  <a:lnTo>
                    <a:pt x="12440" y="177347"/>
                  </a:lnTo>
                  <a:lnTo>
                    <a:pt x="9353" y="169893"/>
                  </a:lnTo>
                  <a:lnTo>
                    <a:pt x="6265" y="162439"/>
                  </a:lnTo>
                  <a:lnTo>
                    <a:pt x="3934" y="154756"/>
                  </a:lnTo>
                  <a:lnTo>
                    <a:pt x="2360" y="146843"/>
                  </a:lnTo>
                  <a:lnTo>
                    <a:pt x="786" y="138930"/>
                  </a:lnTo>
                  <a:lnTo>
                    <a:pt x="0" y="130940"/>
                  </a:lnTo>
                  <a:lnTo>
                    <a:pt x="0" y="122872"/>
                  </a:lnTo>
                  <a:lnTo>
                    <a:pt x="0" y="114804"/>
                  </a:lnTo>
                  <a:lnTo>
                    <a:pt x="786" y="106814"/>
                  </a:lnTo>
                  <a:lnTo>
                    <a:pt x="2360" y="98901"/>
                  </a:lnTo>
                  <a:lnTo>
                    <a:pt x="3934" y="90988"/>
                  </a:lnTo>
                  <a:lnTo>
                    <a:pt x="6265" y="83304"/>
                  </a:lnTo>
                  <a:lnTo>
                    <a:pt x="9353" y="75851"/>
                  </a:lnTo>
                  <a:lnTo>
                    <a:pt x="12440" y="68397"/>
                  </a:lnTo>
                  <a:lnTo>
                    <a:pt x="16225" y="61316"/>
                  </a:lnTo>
                  <a:lnTo>
                    <a:pt x="20707" y="54608"/>
                  </a:lnTo>
                  <a:lnTo>
                    <a:pt x="25190" y="47899"/>
                  </a:lnTo>
                  <a:lnTo>
                    <a:pt x="30283" y="41693"/>
                  </a:lnTo>
                  <a:lnTo>
                    <a:pt x="35988" y="35988"/>
                  </a:lnTo>
                  <a:lnTo>
                    <a:pt x="41693" y="30283"/>
                  </a:lnTo>
                  <a:lnTo>
                    <a:pt x="47899" y="25190"/>
                  </a:lnTo>
                  <a:lnTo>
                    <a:pt x="54608" y="20707"/>
                  </a:lnTo>
                  <a:lnTo>
                    <a:pt x="61316" y="16225"/>
                  </a:lnTo>
                  <a:lnTo>
                    <a:pt x="98901" y="2360"/>
                  </a:lnTo>
                  <a:lnTo>
                    <a:pt x="114804" y="0"/>
                  </a:lnTo>
                  <a:lnTo>
                    <a:pt x="122872" y="0"/>
                  </a:lnTo>
                  <a:lnTo>
                    <a:pt x="130940" y="0"/>
                  </a:lnTo>
                  <a:lnTo>
                    <a:pt x="138930" y="786"/>
                  </a:lnTo>
                  <a:lnTo>
                    <a:pt x="146843" y="2360"/>
                  </a:lnTo>
                  <a:lnTo>
                    <a:pt x="154756" y="3934"/>
                  </a:lnTo>
                  <a:lnTo>
                    <a:pt x="162440" y="6265"/>
                  </a:lnTo>
                  <a:lnTo>
                    <a:pt x="169893" y="9353"/>
                  </a:lnTo>
                  <a:lnTo>
                    <a:pt x="177347" y="12440"/>
                  </a:lnTo>
                  <a:lnTo>
                    <a:pt x="184428" y="16225"/>
                  </a:lnTo>
                  <a:lnTo>
                    <a:pt x="191136" y="20707"/>
                  </a:lnTo>
                  <a:lnTo>
                    <a:pt x="197844" y="25190"/>
                  </a:lnTo>
                  <a:lnTo>
                    <a:pt x="204051" y="30283"/>
                  </a:lnTo>
                  <a:lnTo>
                    <a:pt x="209756" y="35988"/>
                  </a:lnTo>
                  <a:lnTo>
                    <a:pt x="215461" y="41693"/>
                  </a:lnTo>
                  <a:lnTo>
                    <a:pt x="220554" y="47899"/>
                  </a:lnTo>
                  <a:lnTo>
                    <a:pt x="225037" y="54608"/>
                  </a:lnTo>
                  <a:lnTo>
                    <a:pt x="229519" y="61316"/>
                  </a:lnTo>
                  <a:lnTo>
                    <a:pt x="243384" y="98901"/>
                  </a:lnTo>
                  <a:lnTo>
                    <a:pt x="245745" y="114804"/>
                  </a:lnTo>
                  <a:lnTo>
                    <a:pt x="245745" y="122872"/>
                  </a:lnTo>
                  <a:close/>
                </a:path>
              </a:pathLst>
            </a:custGeom>
            <a:ln w="20478">
              <a:solidFill>
                <a:srgbClr val="232E3F"/>
              </a:solidFill>
            </a:ln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0F6DF0E9-DC7A-40BC-B7DA-91D6D0EA2BDB}"/>
              </a:ext>
            </a:extLst>
          </p:cNvPr>
          <p:cNvGrpSpPr/>
          <p:nvPr/>
        </p:nvGrpSpPr>
        <p:grpSpPr>
          <a:xfrm>
            <a:off x="9378760" y="212294"/>
            <a:ext cx="2373835" cy="651351"/>
            <a:chOff x="9138521" y="167673"/>
            <a:chExt cx="2373835" cy="651351"/>
          </a:xfrm>
        </p:grpSpPr>
        <p:sp>
          <p:nvSpPr>
            <p:cNvPr id="188" name="object 2">
              <a:extLst>
                <a:ext uri="{FF2B5EF4-FFF2-40B4-BE49-F238E27FC236}">
                  <a16:creationId xmlns:a16="http://schemas.microsoft.com/office/drawing/2014/main" id="{6E6F8CE8-5F5B-42E7-9757-5FB2053903EE}"/>
                </a:ext>
              </a:extLst>
            </p:cNvPr>
            <p:cNvSpPr txBox="1"/>
            <p:nvPr/>
          </p:nvSpPr>
          <p:spPr>
            <a:xfrm>
              <a:off x="9138521" y="167673"/>
              <a:ext cx="1553301" cy="228455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lang="en-US" sz="1400" b="1" dirty="0">
                  <a:solidFill>
                    <a:srgbClr val="252423"/>
                  </a:solidFill>
                  <a:cs typeface="Arial Black"/>
                </a:rPr>
                <a:t>Review Category</a:t>
              </a:r>
            </a:p>
          </p:txBody>
        </p:sp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E630D0DB-7ACE-4535-88DC-6CBC82A0CC67}"/>
                </a:ext>
              </a:extLst>
            </p:cNvPr>
            <p:cNvGrpSpPr/>
            <p:nvPr/>
          </p:nvGrpSpPr>
          <p:grpSpPr>
            <a:xfrm>
              <a:off x="9147770" y="420493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196" name="Rectangle: Rounded Corners 195">
                <a:extLst>
                  <a:ext uri="{FF2B5EF4-FFF2-40B4-BE49-F238E27FC236}">
                    <a16:creationId xmlns:a16="http://schemas.microsoft.com/office/drawing/2014/main" id="{138C9155-7DCA-471D-A8D9-4C307E1E47DB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7" name="Rectangle: Rounded Corners 4">
                <a:extLst>
                  <a:ext uri="{FF2B5EF4-FFF2-40B4-BE49-F238E27FC236}">
                    <a16:creationId xmlns:a16="http://schemas.microsoft.com/office/drawing/2014/main" id="{80FFA78B-9983-48EF-A015-0618A9CFE20D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Books</a:t>
                </a:r>
              </a:p>
            </p:txBody>
          </p:sp>
        </p:grpSp>
        <p:grpSp>
          <p:nvGrpSpPr>
            <p:cNvPr id="190" name="Group 189">
              <a:extLst>
                <a:ext uri="{FF2B5EF4-FFF2-40B4-BE49-F238E27FC236}">
                  <a16:creationId xmlns:a16="http://schemas.microsoft.com/office/drawing/2014/main" id="{31236209-ADB6-46D3-8B32-836329BEAB0C}"/>
                </a:ext>
              </a:extLst>
            </p:cNvPr>
            <p:cNvGrpSpPr/>
            <p:nvPr/>
          </p:nvGrpSpPr>
          <p:grpSpPr>
            <a:xfrm>
              <a:off x="9946109" y="423737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194" name="Rectangle: Rounded Corners 193">
                <a:extLst>
                  <a:ext uri="{FF2B5EF4-FFF2-40B4-BE49-F238E27FC236}">
                    <a16:creationId xmlns:a16="http://schemas.microsoft.com/office/drawing/2014/main" id="{88F6AA74-3A93-4B04-A192-74EE34366C46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5" name="Rectangle: Rounded Corners 4">
                <a:extLst>
                  <a:ext uri="{FF2B5EF4-FFF2-40B4-BE49-F238E27FC236}">
                    <a16:creationId xmlns:a16="http://schemas.microsoft.com/office/drawing/2014/main" id="{49D38027-93BA-4253-9FA8-B29F3A2AC337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Home &amp; Kitchen</a:t>
                </a:r>
              </a:p>
            </p:txBody>
          </p:sp>
        </p:grp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5E13CB99-794A-4C5A-9746-1FA42D36903C}"/>
                </a:ext>
              </a:extLst>
            </p:cNvPr>
            <p:cNvGrpSpPr/>
            <p:nvPr/>
          </p:nvGrpSpPr>
          <p:grpSpPr>
            <a:xfrm>
              <a:off x="10744260" y="427942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192" name="Rectangle: Rounded Corners 191">
                <a:extLst>
                  <a:ext uri="{FF2B5EF4-FFF2-40B4-BE49-F238E27FC236}">
                    <a16:creationId xmlns:a16="http://schemas.microsoft.com/office/drawing/2014/main" id="{3E573F3A-C6B5-4EE8-91C9-61F06E9EBC9F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3" name="Rectangle: Rounded Corners 4">
                <a:extLst>
                  <a:ext uri="{FF2B5EF4-FFF2-40B4-BE49-F238E27FC236}">
                    <a16:creationId xmlns:a16="http://schemas.microsoft.com/office/drawing/2014/main" id="{628B8087-6768-467B-9A2C-EA7E7D120174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Video games</a:t>
                </a:r>
              </a:p>
            </p:txBody>
          </p:sp>
        </p:grp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6DF5E3-A6A4-4521-A151-B853D3DC4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9235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AC814303-A757-46C5-8629-03B58462FCFD}"/>
              </a:ext>
            </a:extLst>
          </p:cNvPr>
          <p:cNvGrpSpPr/>
          <p:nvPr/>
        </p:nvGrpSpPr>
        <p:grpSpPr>
          <a:xfrm>
            <a:off x="7369016" y="1160232"/>
            <a:ext cx="4473475" cy="5501204"/>
            <a:chOff x="7369016" y="1160232"/>
            <a:chExt cx="4473475" cy="5501204"/>
          </a:xfrm>
        </p:grpSpPr>
        <p:grpSp>
          <p:nvGrpSpPr>
            <p:cNvPr id="255" name="object 255"/>
            <p:cNvGrpSpPr/>
            <p:nvPr/>
          </p:nvGrpSpPr>
          <p:grpSpPr>
            <a:xfrm>
              <a:off x="7916181" y="1755598"/>
              <a:ext cx="3787588" cy="4537822"/>
              <a:chOff x="8616072" y="1989677"/>
              <a:chExt cx="4292600" cy="5142865"/>
            </a:xfrm>
          </p:grpSpPr>
          <p:sp>
            <p:nvSpPr>
              <p:cNvPr id="256" name="object 256"/>
              <p:cNvSpPr/>
              <p:nvPr/>
            </p:nvSpPr>
            <p:spPr>
              <a:xfrm>
                <a:off x="8616061" y="6937552"/>
                <a:ext cx="86677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86677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86677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86677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86677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866775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866775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866775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866775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7" name="object 257"/>
              <p:cNvSpPr/>
              <p:nvPr/>
            </p:nvSpPr>
            <p:spPr>
              <a:xfrm>
                <a:off x="8621193" y="6951593"/>
                <a:ext cx="142748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1427479" h="180975">
                    <a:moveTo>
                      <a:pt x="142731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1427310" y="0"/>
                    </a:lnTo>
                    <a:lnTo>
                      <a:pt x="142731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8" name="object 258"/>
              <p:cNvSpPr/>
              <p:nvPr/>
            </p:nvSpPr>
            <p:spPr>
              <a:xfrm>
                <a:off x="8616061" y="6691896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5130" y="184251"/>
                    </a:moveTo>
                    <a:lnTo>
                      <a:pt x="0" y="184251"/>
                    </a:lnTo>
                    <a:lnTo>
                      <a:pt x="0" y="194487"/>
                    </a:lnTo>
                    <a:lnTo>
                      <a:pt x="5130" y="194487"/>
                    </a:lnTo>
                    <a:lnTo>
                      <a:pt x="5130" y="184251"/>
                    </a:lnTo>
                    <a:close/>
                  </a:path>
                  <a:path w="10795" h="194945">
                    <a:moveTo>
                      <a:pt x="5130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5130" y="133070"/>
                    </a:lnTo>
                    <a:lnTo>
                      <a:pt x="5130" y="122834"/>
                    </a:lnTo>
                    <a:close/>
                  </a:path>
                  <a:path w="10795" h="194945">
                    <a:moveTo>
                      <a:pt x="5130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5130" y="71653"/>
                    </a:lnTo>
                    <a:lnTo>
                      <a:pt x="5130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9" name="object 259"/>
              <p:cNvSpPr/>
              <p:nvPr/>
            </p:nvSpPr>
            <p:spPr>
              <a:xfrm>
                <a:off x="8621193" y="6726051"/>
                <a:ext cx="40386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03859" h="180975">
                    <a:moveTo>
                      <a:pt x="40375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03755" y="0"/>
                    </a:lnTo>
                    <a:lnTo>
                      <a:pt x="403755" y="180433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0" name="object 260"/>
              <p:cNvSpPr/>
              <p:nvPr/>
            </p:nvSpPr>
            <p:spPr>
              <a:xfrm>
                <a:off x="8616061" y="6446253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1" name="object 261"/>
              <p:cNvSpPr/>
              <p:nvPr/>
            </p:nvSpPr>
            <p:spPr>
              <a:xfrm>
                <a:off x="8621193" y="6500509"/>
                <a:ext cx="4279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27990" h="180975">
                    <a:moveTo>
                      <a:pt x="42769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27695" y="0"/>
                    </a:lnTo>
                    <a:lnTo>
                      <a:pt x="427695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2" name="object 262"/>
              <p:cNvSpPr/>
              <p:nvPr/>
            </p:nvSpPr>
            <p:spPr>
              <a:xfrm>
                <a:off x="8616061" y="6262001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3" name="object 263"/>
              <p:cNvSpPr/>
              <p:nvPr/>
            </p:nvSpPr>
            <p:spPr>
              <a:xfrm>
                <a:off x="8621193" y="6274968"/>
                <a:ext cx="4889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88950" h="180975">
                    <a:moveTo>
                      <a:pt x="4887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88738" y="0"/>
                    </a:lnTo>
                    <a:lnTo>
                      <a:pt x="488738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4" name="object 264"/>
              <p:cNvSpPr/>
              <p:nvPr/>
            </p:nvSpPr>
            <p:spPr>
              <a:xfrm>
                <a:off x="8616061" y="6016358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5" name="object 265"/>
              <p:cNvSpPr/>
              <p:nvPr/>
            </p:nvSpPr>
            <p:spPr>
              <a:xfrm>
                <a:off x="8621193" y="6049426"/>
                <a:ext cx="42290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22909" h="180975">
                    <a:moveTo>
                      <a:pt x="42261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22613" y="0"/>
                    </a:lnTo>
                    <a:lnTo>
                      <a:pt x="422613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6" name="object 266"/>
              <p:cNvSpPr/>
              <p:nvPr/>
            </p:nvSpPr>
            <p:spPr>
              <a:xfrm>
                <a:off x="8616061" y="5770702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7" name="object 267"/>
              <p:cNvSpPr/>
              <p:nvPr/>
            </p:nvSpPr>
            <p:spPr>
              <a:xfrm>
                <a:off x="8621193" y="5823884"/>
                <a:ext cx="40576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05765" h="180975">
                    <a:moveTo>
                      <a:pt x="40570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05701" y="0"/>
                    </a:lnTo>
                    <a:lnTo>
                      <a:pt x="405701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8" name="object 268"/>
              <p:cNvSpPr/>
              <p:nvPr/>
            </p:nvSpPr>
            <p:spPr>
              <a:xfrm>
                <a:off x="8616061" y="5586463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9" name="object 269"/>
              <p:cNvSpPr/>
              <p:nvPr/>
            </p:nvSpPr>
            <p:spPr>
              <a:xfrm>
                <a:off x="8621193" y="5598343"/>
                <a:ext cx="43497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34975" h="180975">
                    <a:moveTo>
                      <a:pt x="434877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34877" y="0"/>
                    </a:lnTo>
                    <a:lnTo>
                      <a:pt x="434877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0" name="object 270"/>
              <p:cNvSpPr/>
              <p:nvPr/>
            </p:nvSpPr>
            <p:spPr>
              <a:xfrm>
                <a:off x="8616061" y="5340806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1" name="object 271"/>
              <p:cNvSpPr/>
              <p:nvPr/>
            </p:nvSpPr>
            <p:spPr>
              <a:xfrm>
                <a:off x="8621193" y="5372801"/>
                <a:ext cx="47561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75615" h="180975">
                    <a:moveTo>
                      <a:pt x="47520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75201" y="0"/>
                    </a:lnTo>
                    <a:lnTo>
                      <a:pt x="475201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2" name="object 272"/>
              <p:cNvSpPr/>
              <p:nvPr/>
            </p:nvSpPr>
            <p:spPr>
              <a:xfrm>
                <a:off x="8616061" y="5095151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3" name="object 273"/>
              <p:cNvSpPr/>
              <p:nvPr/>
            </p:nvSpPr>
            <p:spPr>
              <a:xfrm>
                <a:off x="8621193" y="5147260"/>
                <a:ext cx="51625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16254" h="180975">
                    <a:moveTo>
                      <a:pt x="51590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15905" y="0"/>
                    </a:lnTo>
                    <a:lnTo>
                      <a:pt x="515905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4" name="object 274"/>
              <p:cNvSpPr/>
              <p:nvPr/>
            </p:nvSpPr>
            <p:spPr>
              <a:xfrm>
                <a:off x="8616061" y="4910912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5" name="object 275"/>
              <p:cNvSpPr/>
              <p:nvPr/>
            </p:nvSpPr>
            <p:spPr>
              <a:xfrm>
                <a:off x="8621193" y="4921718"/>
                <a:ext cx="59563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5629" h="180975">
                    <a:moveTo>
                      <a:pt x="59504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5044" y="0"/>
                    </a:lnTo>
                    <a:lnTo>
                      <a:pt x="595044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6" name="object 276"/>
              <p:cNvSpPr/>
              <p:nvPr/>
            </p:nvSpPr>
            <p:spPr>
              <a:xfrm>
                <a:off x="8616061" y="4665255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7" name="object 277"/>
              <p:cNvSpPr/>
              <p:nvPr/>
            </p:nvSpPr>
            <p:spPr>
              <a:xfrm>
                <a:off x="8621193" y="4696176"/>
                <a:ext cx="5905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0550" h="180975">
                    <a:moveTo>
                      <a:pt x="5904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0438" y="0"/>
                    </a:lnTo>
                    <a:lnTo>
                      <a:pt x="590438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8" name="object 278"/>
              <p:cNvSpPr/>
              <p:nvPr/>
            </p:nvSpPr>
            <p:spPr>
              <a:xfrm>
                <a:off x="8616061" y="4419599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9" name="object 279"/>
              <p:cNvSpPr/>
              <p:nvPr/>
            </p:nvSpPr>
            <p:spPr>
              <a:xfrm>
                <a:off x="8621193" y="4470635"/>
                <a:ext cx="54102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41020" h="180975">
                    <a:moveTo>
                      <a:pt x="54102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41024" y="0"/>
                    </a:lnTo>
                    <a:lnTo>
                      <a:pt x="541024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0" name="object 280"/>
              <p:cNvSpPr/>
              <p:nvPr/>
            </p:nvSpPr>
            <p:spPr>
              <a:xfrm>
                <a:off x="8616061" y="4235360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1" name="object 281"/>
              <p:cNvSpPr/>
              <p:nvPr/>
            </p:nvSpPr>
            <p:spPr>
              <a:xfrm>
                <a:off x="8621193" y="4245093"/>
                <a:ext cx="5930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3090" h="180975">
                    <a:moveTo>
                      <a:pt x="59250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2500" y="0"/>
                    </a:lnTo>
                    <a:lnTo>
                      <a:pt x="59250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2" name="object 282"/>
              <p:cNvSpPr/>
              <p:nvPr/>
            </p:nvSpPr>
            <p:spPr>
              <a:xfrm>
                <a:off x="8616061" y="3989704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3" name="object 283"/>
              <p:cNvSpPr/>
              <p:nvPr/>
            </p:nvSpPr>
            <p:spPr>
              <a:xfrm>
                <a:off x="8621193" y="4019551"/>
                <a:ext cx="59753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7534" h="180975">
                    <a:moveTo>
                      <a:pt x="59717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7170" y="0"/>
                    </a:lnTo>
                    <a:lnTo>
                      <a:pt x="59717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4" name="object 284"/>
              <p:cNvSpPr/>
              <p:nvPr/>
            </p:nvSpPr>
            <p:spPr>
              <a:xfrm>
                <a:off x="8616061" y="3744048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5" name="object 285"/>
              <p:cNvSpPr/>
              <p:nvPr/>
            </p:nvSpPr>
            <p:spPr>
              <a:xfrm>
                <a:off x="8621193" y="3794010"/>
                <a:ext cx="59245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2454" h="180975">
                    <a:moveTo>
                      <a:pt x="5924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2438" y="0"/>
                    </a:lnTo>
                    <a:lnTo>
                      <a:pt x="592438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6" name="object 286"/>
              <p:cNvSpPr/>
              <p:nvPr/>
            </p:nvSpPr>
            <p:spPr>
              <a:xfrm>
                <a:off x="8616061" y="3559809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7" name="object 287"/>
              <p:cNvSpPr/>
              <p:nvPr/>
            </p:nvSpPr>
            <p:spPr>
              <a:xfrm>
                <a:off x="8621193" y="3568468"/>
                <a:ext cx="5981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98170" h="180975">
                    <a:moveTo>
                      <a:pt x="59811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98110" y="0"/>
                    </a:lnTo>
                    <a:lnTo>
                      <a:pt x="59811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8" name="object 288"/>
              <p:cNvSpPr/>
              <p:nvPr/>
            </p:nvSpPr>
            <p:spPr>
              <a:xfrm>
                <a:off x="8616061" y="3314153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51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9" name="object 289"/>
              <p:cNvSpPr/>
              <p:nvPr/>
            </p:nvSpPr>
            <p:spPr>
              <a:xfrm>
                <a:off x="8621193" y="3342926"/>
                <a:ext cx="52070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20700" h="180975">
                    <a:moveTo>
                      <a:pt x="52057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20570" y="0"/>
                    </a:lnTo>
                    <a:lnTo>
                      <a:pt x="520570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0" name="object 290"/>
              <p:cNvSpPr/>
              <p:nvPr/>
            </p:nvSpPr>
            <p:spPr>
              <a:xfrm>
                <a:off x="8616061" y="3068510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23"/>
                    </a:lnTo>
                    <a:lnTo>
                      <a:pt x="10248" y="10223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1" name="object 291"/>
              <p:cNvSpPr/>
              <p:nvPr/>
            </p:nvSpPr>
            <p:spPr>
              <a:xfrm>
                <a:off x="8621193" y="3117385"/>
                <a:ext cx="37973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79729" h="180975">
                    <a:moveTo>
                      <a:pt x="379607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79607" y="0"/>
                    </a:lnTo>
                    <a:lnTo>
                      <a:pt x="379607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2" name="object 292"/>
              <p:cNvSpPr/>
              <p:nvPr/>
            </p:nvSpPr>
            <p:spPr>
              <a:xfrm>
                <a:off x="8616061" y="2884258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3" name="object 293"/>
              <p:cNvSpPr/>
              <p:nvPr/>
            </p:nvSpPr>
            <p:spPr>
              <a:xfrm>
                <a:off x="8621193" y="2891843"/>
                <a:ext cx="35750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7504" h="180975">
                    <a:moveTo>
                      <a:pt x="35737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7376" y="0"/>
                    </a:lnTo>
                    <a:lnTo>
                      <a:pt x="357376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4" name="object 294"/>
              <p:cNvSpPr/>
              <p:nvPr/>
            </p:nvSpPr>
            <p:spPr>
              <a:xfrm>
                <a:off x="8616061" y="2638615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4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4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4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5" name="object 295"/>
              <p:cNvSpPr/>
              <p:nvPr/>
            </p:nvSpPr>
            <p:spPr>
              <a:xfrm>
                <a:off x="8621193" y="2666301"/>
                <a:ext cx="3492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49250" h="180975">
                    <a:moveTo>
                      <a:pt x="3490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49038" y="0"/>
                    </a:lnTo>
                    <a:lnTo>
                      <a:pt x="349038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6" name="object 296"/>
              <p:cNvSpPr/>
              <p:nvPr/>
            </p:nvSpPr>
            <p:spPr>
              <a:xfrm>
                <a:off x="8616061" y="2392959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4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4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4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7" name="object 297"/>
              <p:cNvSpPr/>
              <p:nvPr/>
            </p:nvSpPr>
            <p:spPr>
              <a:xfrm>
                <a:off x="8621193" y="2440760"/>
                <a:ext cx="3644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64490" h="180975">
                    <a:moveTo>
                      <a:pt x="364049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64049" y="0"/>
                    </a:lnTo>
                    <a:lnTo>
                      <a:pt x="364049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8" name="object 298"/>
              <p:cNvSpPr/>
              <p:nvPr/>
            </p:nvSpPr>
            <p:spPr>
              <a:xfrm>
                <a:off x="8616061" y="2208720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9" name="object 299"/>
              <p:cNvSpPr/>
              <p:nvPr/>
            </p:nvSpPr>
            <p:spPr>
              <a:xfrm>
                <a:off x="8621193" y="2215218"/>
                <a:ext cx="3949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94970" h="180975">
                    <a:moveTo>
                      <a:pt x="394519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94519" y="0"/>
                    </a:lnTo>
                    <a:lnTo>
                      <a:pt x="394519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0" name="object 300"/>
              <p:cNvSpPr/>
              <p:nvPr/>
            </p:nvSpPr>
            <p:spPr>
              <a:xfrm>
                <a:off x="8616061" y="2024468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1" name="object 301"/>
              <p:cNvSpPr/>
              <p:nvPr/>
            </p:nvSpPr>
            <p:spPr>
              <a:xfrm>
                <a:off x="8621193" y="1989677"/>
                <a:ext cx="4076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07670" h="180975">
                    <a:moveTo>
                      <a:pt x="407482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07482" y="0"/>
                    </a:lnTo>
                    <a:lnTo>
                      <a:pt x="407482" y="180433"/>
                    </a:lnTo>
                    <a:close/>
                  </a:path>
                </a:pathLst>
              </a:custGeom>
              <a:solidFill>
                <a:srgbClr val="12239D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2" name="object 302"/>
              <p:cNvSpPr/>
              <p:nvPr/>
            </p:nvSpPr>
            <p:spPr>
              <a:xfrm>
                <a:off x="9024937" y="6500520"/>
                <a:ext cx="330200" cy="406400"/>
              </a:xfrm>
              <a:custGeom>
                <a:avLst/>
                <a:gdLst/>
                <a:ahLst/>
                <a:cxnLst/>
                <a:rect l="l" t="t" r="r" b="b"/>
                <a:pathLst>
                  <a:path w="330200" h="406400">
                    <a:moveTo>
                      <a:pt x="276263" y="225539"/>
                    </a:moveTo>
                    <a:lnTo>
                      <a:pt x="0" y="225539"/>
                    </a:lnTo>
                    <a:lnTo>
                      <a:pt x="0" y="405968"/>
                    </a:lnTo>
                    <a:lnTo>
                      <a:pt x="276263" y="405968"/>
                    </a:lnTo>
                    <a:lnTo>
                      <a:pt x="276263" y="225539"/>
                    </a:lnTo>
                    <a:close/>
                  </a:path>
                  <a:path w="330200" h="406400">
                    <a:moveTo>
                      <a:pt x="329793" y="0"/>
                    </a:moveTo>
                    <a:lnTo>
                      <a:pt x="23939" y="0"/>
                    </a:lnTo>
                    <a:lnTo>
                      <a:pt x="23939" y="180428"/>
                    </a:lnTo>
                    <a:lnTo>
                      <a:pt x="329793" y="180428"/>
                    </a:lnTo>
                    <a:lnTo>
                      <a:pt x="329793" y="0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3" name="object 303"/>
              <p:cNvSpPr/>
              <p:nvPr/>
            </p:nvSpPr>
            <p:spPr>
              <a:xfrm>
                <a:off x="9472447" y="6262001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87"/>
                    </a:lnTo>
                    <a:lnTo>
                      <a:pt x="10248" y="194487"/>
                    </a:lnTo>
                    <a:lnTo>
                      <a:pt x="10248" y="184251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4" name="object 304"/>
              <p:cNvSpPr/>
              <p:nvPr/>
            </p:nvSpPr>
            <p:spPr>
              <a:xfrm>
                <a:off x="9109931" y="6274968"/>
                <a:ext cx="3898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89890" h="180975">
                    <a:moveTo>
                      <a:pt x="38953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89531" y="0"/>
                    </a:lnTo>
                    <a:lnTo>
                      <a:pt x="389531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5" name="object 305"/>
              <p:cNvSpPr/>
              <p:nvPr/>
            </p:nvSpPr>
            <p:spPr>
              <a:xfrm>
                <a:off x="9472447" y="6016358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6" name="object 306"/>
              <p:cNvSpPr/>
              <p:nvPr/>
            </p:nvSpPr>
            <p:spPr>
              <a:xfrm>
                <a:off x="9043806" y="6049426"/>
                <a:ext cx="42608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26084" h="180975">
                    <a:moveTo>
                      <a:pt x="425662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25662" y="0"/>
                    </a:lnTo>
                    <a:lnTo>
                      <a:pt x="425662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7" name="object 307"/>
              <p:cNvSpPr/>
              <p:nvPr/>
            </p:nvSpPr>
            <p:spPr>
              <a:xfrm>
                <a:off x="9472447" y="5770702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8" name="object 308"/>
              <p:cNvSpPr/>
              <p:nvPr/>
            </p:nvSpPr>
            <p:spPr>
              <a:xfrm>
                <a:off x="9026894" y="5823884"/>
                <a:ext cx="45402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54025" h="180975">
                    <a:moveTo>
                      <a:pt x="45361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53611" y="0"/>
                    </a:lnTo>
                    <a:lnTo>
                      <a:pt x="453611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9" name="object 309"/>
              <p:cNvSpPr/>
              <p:nvPr/>
            </p:nvSpPr>
            <p:spPr>
              <a:xfrm>
                <a:off x="9472447" y="5586463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0" name="object 310"/>
              <p:cNvSpPr/>
              <p:nvPr/>
            </p:nvSpPr>
            <p:spPr>
              <a:xfrm>
                <a:off x="9056070" y="5598343"/>
                <a:ext cx="47053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70534" h="180975">
                    <a:moveTo>
                      <a:pt x="470500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70500" y="0"/>
                    </a:lnTo>
                    <a:lnTo>
                      <a:pt x="470500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1" name="object 311"/>
              <p:cNvSpPr/>
              <p:nvPr/>
            </p:nvSpPr>
            <p:spPr>
              <a:xfrm>
                <a:off x="9472447" y="5340806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2" name="object 312"/>
              <p:cNvSpPr/>
              <p:nvPr/>
            </p:nvSpPr>
            <p:spPr>
              <a:xfrm>
                <a:off x="9096395" y="5372801"/>
                <a:ext cx="48958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89584" h="180975">
                    <a:moveTo>
                      <a:pt x="48916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89166" y="0"/>
                    </a:lnTo>
                    <a:lnTo>
                      <a:pt x="489166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3" name="object 313"/>
              <p:cNvSpPr/>
              <p:nvPr/>
            </p:nvSpPr>
            <p:spPr>
              <a:xfrm>
                <a:off x="9472447" y="5095151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4" name="object 314"/>
              <p:cNvSpPr/>
              <p:nvPr/>
            </p:nvSpPr>
            <p:spPr>
              <a:xfrm>
                <a:off x="9137098" y="5147260"/>
                <a:ext cx="5041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504190" h="180975">
                    <a:moveTo>
                      <a:pt x="50372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503725" y="0"/>
                    </a:lnTo>
                    <a:lnTo>
                      <a:pt x="503725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5" name="object 315"/>
              <p:cNvSpPr/>
              <p:nvPr/>
            </p:nvSpPr>
            <p:spPr>
              <a:xfrm>
                <a:off x="9472447" y="4910912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6" name="object 316"/>
              <p:cNvSpPr/>
              <p:nvPr/>
            </p:nvSpPr>
            <p:spPr>
              <a:xfrm>
                <a:off x="9216237" y="4921718"/>
                <a:ext cx="49466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94665" h="180975">
                    <a:moveTo>
                      <a:pt x="49432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94323" y="0"/>
                    </a:lnTo>
                    <a:lnTo>
                      <a:pt x="494323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7" name="object 317"/>
              <p:cNvSpPr/>
              <p:nvPr/>
            </p:nvSpPr>
            <p:spPr>
              <a:xfrm>
                <a:off x="9472447" y="4665255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8" name="object 318"/>
              <p:cNvSpPr/>
              <p:nvPr/>
            </p:nvSpPr>
            <p:spPr>
              <a:xfrm>
                <a:off x="9211631" y="4696176"/>
                <a:ext cx="4965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96570" h="180975">
                    <a:moveTo>
                      <a:pt x="496217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96217" y="0"/>
                    </a:lnTo>
                    <a:lnTo>
                      <a:pt x="496217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9" name="object 319"/>
              <p:cNvSpPr/>
              <p:nvPr/>
            </p:nvSpPr>
            <p:spPr>
              <a:xfrm>
                <a:off x="9472447" y="4419599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0" name="object 320"/>
              <p:cNvSpPr/>
              <p:nvPr/>
            </p:nvSpPr>
            <p:spPr>
              <a:xfrm>
                <a:off x="9162217" y="4470635"/>
                <a:ext cx="4660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66090" h="180975">
                    <a:moveTo>
                      <a:pt x="46557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65573" y="0"/>
                    </a:lnTo>
                    <a:lnTo>
                      <a:pt x="465573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1" name="object 321"/>
              <p:cNvSpPr/>
              <p:nvPr/>
            </p:nvSpPr>
            <p:spPr>
              <a:xfrm>
                <a:off x="9472447" y="4235360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2" name="object 322"/>
              <p:cNvSpPr/>
              <p:nvPr/>
            </p:nvSpPr>
            <p:spPr>
              <a:xfrm>
                <a:off x="9213693" y="4245093"/>
                <a:ext cx="48387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83870" h="180975">
                    <a:moveTo>
                      <a:pt x="48324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83245" y="0"/>
                    </a:lnTo>
                    <a:lnTo>
                      <a:pt x="483245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3" name="object 323"/>
              <p:cNvSpPr/>
              <p:nvPr/>
            </p:nvSpPr>
            <p:spPr>
              <a:xfrm>
                <a:off x="9472447" y="3989704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4" name="object 324"/>
              <p:cNvSpPr/>
              <p:nvPr/>
            </p:nvSpPr>
            <p:spPr>
              <a:xfrm>
                <a:off x="9218363" y="4019551"/>
                <a:ext cx="47752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77520" h="180975">
                    <a:moveTo>
                      <a:pt x="47721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77214" y="0"/>
                    </a:lnTo>
                    <a:lnTo>
                      <a:pt x="477214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5" name="object 325"/>
              <p:cNvSpPr/>
              <p:nvPr/>
            </p:nvSpPr>
            <p:spPr>
              <a:xfrm>
                <a:off x="9472447" y="3744048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6" name="object 326"/>
              <p:cNvSpPr/>
              <p:nvPr/>
            </p:nvSpPr>
            <p:spPr>
              <a:xfrm>
                <a:off x="9213631" y="3794010"/>
                <a:ext cx="46037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60375" h="180975">
                    <a:moveTo>
                      <a:pt x="45990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59905" y="0"/>
                    </a:lnTo>
                    <a:lnTo>
                      <a:pt x="459905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7" name="object 327"/>
              <p:cNvSpPr/>
              <p:nvPr/>
            </p:nvSpPr>
            <p:spPr>
              <a:xfrm>
                <a:off x="9472447" y="3559809"/>
                <a:ext cx="1079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8" name="object 328"/>
              <p:cNvSpPr/>
              <p:nvPr/>
            </p:nvSpPr>
            <p:spPr>
              <a:xfrm>
                <a:off x="9219303" y="3568468"/>
                <a:ext cx="43497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434975" h="180975">
                    <a:moveTo>
                      <a:pt x="43491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434914" y="0"/>
                    </a:lnTo>
                    <a:lnTo>
                      <a:pt x="434914" y="180433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9" name="object 329"/>
              <p:cNvSpPr/>
              <p:nvPr/>
            </p:nvSpPr>
            <p:spPr>
              <a:xfrm>
                <a:off x="9472447" y="3314153"/>
                <a:ext cx="1079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51"/>
                    </a:lnTo>
                    <a:close/>
                  </a:path>
                  <a:path w="10795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10795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10795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0" name="object 330"/>
              <p:cNvSpPr/>
              <p:nvPr/>
            </p:nvSpPr>
            <p:spPr>
              <a:xfrm>
                <a:off x="8970226" y="1989683"/>
                <a:ext cx="572135" cy="1534160"/>
              </a:xfrm>
              <a:custGeom>
                <a:avLst/>
                <a:gdLst/>
                <a:ahLst/>
                <a:cxnLst/>
                <a:rect l="l" t="t" r="r" b="b"/>
                <a:pathLst>
                  <a:path w="572134" h="1534160">
                    <a:moveTo>
                      <a:pt x="319913" y="676630"/>
                    </a:moveTo>
                    <a:lnTo>
                      <a:pt x="0" y="676630"/>
                    </a:lnTo>
                    <a:lnTo>
                      <a:pt x="0" y="857059"/>
                    </a:lnTo>
                    <a:lnTo>
                      <a:pt x="319913" y="857059"/>
                    </a:lnTo>
                    <a:lnTo>
                      <a:pt x="319913" y="676630"/>
                    </a:lnTo>
                    <a:close/>
                  </a:path>
                  <a:path w="572134" h="1534160">
                    <a:moveTo>
                      <a:pt x="330923" y="451078"/>
                    </a:moveTo>
                    <a:lnTo>
                      <a:pt x="15011" y="451078"/>
                    </a:lnTo>
                    <a:lnTo>
                      <a:pt x="15011" y="631520"/>
                    </a:lnTo>
                    <a:lnTo>
                      <a:pt x="330923" y="631520"/>
                    </a:lnTo>
                    <a:lnTo>
                      <a:pt x="330923" y="451078"/>
                    </a:lnTo>
                    <a:close/>
                  </a:path>
                  <a:path w="572134" h="1534160">
                    <a:moveTo>
                      <a:pt x="355574" y="225539"/>
                    </a:moveTo>
                    <a:lnTo>
                      <a:pt x="45478" y="225539"/>
                    </a:lnTo>
                    <a:lnTo>
                      <a:pt x="45478" y="405980"/>
                    </a:lnTo>
                    <a:lnTo>
                      <a:pt x="355574" y="405980"/>
                    </a:lnTo>
                    <a:lnTo>
                      <a:pt x="355574" y="225539"/>
                    </a:lnTo>
                    <a:close/>
                  </a:path>
                  <a:path w="572134" h="1534160">
                    <a:moveTo>
                      <a:pt x="359181" y="902169"/>
                    </a:moveTo>
                    <a:lnTo>
                      <a:pt x="8331" y="902169"/>
                    </a:lnTo>
                    <a:lnTo>
                      <a:pt x="8331" y="1082598"/>
                    </a:lnTo>
                    <a:lnTo>
                      <a:pt x="359181" y="1082598"/>
                    </a:lnTo>
                    <a:lnTo>
                      <a:pt x="359181" y="902169"/>
                    </a:lnTo>
                    <a:close/>
                  </a:path>
                  <a:path w="572134" h="1534160">
                    <a:moveTo>
                      <a:pt x="360845" y="0"/>
                    </a:moveTo>
                    <a:lnTo>
                      <a:pt x="58445" y="0"/>
                    </a:lnTo>
                    <a:lnTo>
                      <a:pt x="58445" y="180428"/>
                    </a:lnTo>
                    <a:lnTo>
                      <a:pt x="360845" y="180428"/>
                    </a:lnTo>
                    <a:lnTo>
                      <a:pt x="360845" y="0"/>
                    </a:lnTo>
                    <a:close/>
                  </a:path>
                  <a:path w="572134" h="1534160">
                    <a:moveTo>
                      <a:pt x="402259" y="1127709"/>
                    </a:moveTo>
                    <a:lnTo>
                      <a:pt x="30568" y="1127709"/>
                    </a:lnTo>
                    <a:lnTo>
                      <a:pt x="30568" y="1308138"/>
                    </a:lnTo>
                    <a:lnTo>
                      <a:pt x="402259" y="1308138"/>
                    </a:lnTo>
                    <a:lnTo>
                      <a:pt x="402259" y="1127709"/>
                    </a:lnTo>
                    <a:close/>
                  </a:path>
                  <a:path w="572134" h="1534160">
                    <a:moveTo>
                      <a:pt x="571855" y="1353248"/>
                    </a:moveTo>
                    <a:lnTo>
                      <a:pt x="171526" y="1353248"/>
                    </a:lnTo>
                    <a:lnTo>
                      <a:pt x="171526" y="1533677"/>
                    </a:lnTo>
                    <a:lnTo>
                      <a:pt x="571855" y="1533677"/>
                    </a:lnTo>
                    <a:lnTo>
                      <a:pt x="571855" y="1353248"/>
                    </a:lnTo>
                    <a:close/>
                  </a:path>
                </a:pathLst>
              </a:custGeom>
              <a:solidFill>
                <a:srgbClr val="118CFF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1" name="object 331"/>
              <p:cNvSpPr/>
              <p:nvPr/>
            </p:nvSpPr>
            <p:spPr>
              <a:xfrm>
                <a:off x="10328834" y="6937552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2" name="object 332"/>
              <p:cNvSpPr/>
              <p:nvPr/>
            </p:nvSpPr>
            <p:spPr>
              <a:xfrm>
                <a:off x="10048503" y="6951593"/>
                <a:ext cx="285496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2854959" h="180975">
                    <a:moveTo>
                      <a:pt x="285462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2854621" y="0"/>
                    </a:lnTo>
                    <a:lnTo>
                      <a:pt x="2854621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3" name="object 333"/>
              <p:cNvSpPr/>
              <p:nvPr/>
            </p:nvSpPr>
            <p:spPr>
              <a:xfrm>
                <a:off x="9472447" y="6691896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87"/>
                    </a:lnTo>
                    <a:lnTo>
                      <a:pt x="10248" y="194487"/>
                    </a:lnTo>
                    <a:lnTo>
                      <a:pt x="10248" y="184251"/>
                    </a:lnTo>
                    <a:close/>
                  </a:path>
                  <a:path w="343598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343598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343598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94945">
                    <a:moveTo>
                      <a:pt x="866635" y="184251"/>
                    </a:moveTo>
                    <a:lnTo>
                      <a:pt x="856386" y="184251"/>
                    </a:lnTo>
                    <a:lnTo>
                      <a:pt x="856386" y="194487"/>
                    </a:lnTo>
                    <a:lnTo>
                      <a:pt x="866635" y="194487"/>
                    </a:lnTo>
                    <a:lnTo>
                      <a:pt x="866635" y="184251"/>
                    </a:lnTo>
                    <a:close/>
                  </a:path>
                  <a:path w="343598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343598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343598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94945">
                    <a:moveTo>
                      <a:pt x="1723021" y="184251"/>
                    </a:moveTo>
                    <a:lnTo>
                      <a:pt x="1712772" y="184251"/>
                    </a:lnTo>
                    <a:lnTo>
                      <a:pt x="1712772" y="194487"/>
                    </a:lnTo>
                    <a:lnTo>
                      <a:pt x="1723021" y="194487"/>
                    </a:lnTo>
                    <a:lnTo>
                      <a:pt x="1723021" y="184251"/>
                    </a:lnTo>
                    <a:close/>
                  </a:path>
                  <a:path w="343598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343598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343598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94945">
                    <a:moveTo>
                      <a:pt x="2579408" y="184251"/>
                    </a:moveTo>
                    <a:lnTo>
                      <a:pt x="2569159" y="184251"/>
                    </a:lnTo>
                    <a:lnTo>
                      <a:pt x="2569159" y="194487"/>
                    </a:lnTo>
                    <a:lnTo>
                      <a:pt x="2579408" y="194487"/>
                    </a:lnTo>
                    <a:lnTo>
                      <a:pt x="2579408" y="184251"/>
                    </a:lnTo>
                    <a:close/>
                  </a:path>
                  <a:path w="343598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343598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343598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94945">
                    <a:moveTo>
                      <a:pt x="3435794" y="184251"/>
                    </a:moveTo>
                    <a:lnTo>
                      <a:pt x="3425545" y="184251"/>
                    </a:lnTo>
                    <a:lnTo>
                      <a:pt x="3425545" y="194487"/>
                    </a:lnTo>
                    <a:lnTo>
                      <a:pt x="3435794" y="194487"/>
                    </a:lnTo>
                    <a:lnTo>
                      <a:pt x="3435794" y="184251"/>
                    </a:lnTo>
                    <a:close/>
                  </a:path>
                  <a:path w="3435984" h="194945">
                    <a:moveTo>
                      <a:pt x="3435794" y="122834"/>
                    </a:moveTo>
                    <a:lnTo>
                      <a:pt x="3425545" y="122834"/>
                    </a:lnTo>
                    <a:lnTo>
                      <a:pt x="3425545" y="133070"/>
                    </a:lnTo>
                    <a:lnTo>
                      <a:pt x="3435794" y="133070"/>
                    </a:lnTo>
                    <a:lnTo>
                      <a:pt x="3435794" y="122834"/>
                    </a:lnTo>
                    <a:close/>
                  </a:path>
                  <a:path w="3435984" h="194945">
                    <a:moveTo>
                      <a:pt x="3435794" y="61417"/>
                    </a:moveTo>
                    <a:lnTo>
                      <a:pt x="3425545" y="61417"/>
                    </a:lnTo>
                    <a:lnTo>
                      <a:pt x="3425545" y="71653"/>
                    </a:lnTo>
                    <a:lnTo>
                      <a:pt x="3435794" y="71653"/>
                    </a:lnTo>
                    <a:lnTo>
                      <a:pt x="3435794" y="61417"/>
                    </a:lnTo>
                    <a:close/>
                  </a:path>
                  <a:path w="3435984" h="194945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4" name="object 334"/>
              <p:cNvSpPr/>
              <p:nvPr/>
            </p:nvSpPr>
            <p:spPr>
              <a:xfrm>
                <a:off x="9301202" y="6726051"/>
                <a:ext cx="360235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602354" h="180975">
                    <a:moveTo>
                      <a:pt x="3601922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601922" y="0"/>
                    </a:lnTo>
                    <a:lnTo>
                      <a:pt x="3601922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5" name="object 335"/>
              <p:cNvSpPr/>
              <p:nvPr/>
            </p:nvSpPr>
            <p:spPr>
              <a:xfrm>
                <a:off x="9472447" y="6446253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343598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343598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94945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343598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94945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343598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94945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94945">
                    <a:moveTo>
                      <a:pt x="3435794" y="184238"/>
                    </a:moveTo>
                    <a:lnTo>
                      <a:pt x="3425545" y="184238"/>
                    </a:lnTo>
                    <a:lnTo>
                      <a:pt x="3425545" y="194475"/>
                    </a:lnTo>
                    <a:lnTo>
                      <a:pt x="3435794" y="194475"/>
                    </a:lnTo>
                    <a:lnTo>
                      <a:pt x="3435794" y="184238"/>
                    </a:lnTo>
                    <a:close/>
                  </a:path>
                  <a:path w="3435984" h="194945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94945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94945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6" name="object 336"/>
              <p:cNvSpPr/>
              <p:nvPr/>
            </p:nvSpPr>
            <p:spPr>
              <a:xfrm>
                <a:off x="9354741" y="6500509"/>
                <a:ext cx="354837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48379" h="180975">
                    <a:moveTo>
                      <a:pt x="354838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48383" y="0"/>
                    </a:lnTo>
                    <a:lnTo>
                      <a:pt x="354838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7" name="object 337"/>
              <p:cNvSpPr/>
              <p:nvPr/>
            </p:nvSpPr>
            <p:spPr>
              <a:xfrm>
                <a:off x="10328834" y="6262001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8" name="object 338"/>
              <p:cNvSpPr/>
              <p:nvPr/>
            </p:nvSpPr>
            <p:spPr>
              <a:xfrm>
                <a:off x="9499463" y="6274968"/>
                <a:ext cx="340423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404234" h="180975">
                    <a:moveTo>
                      <a:pt x="340366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403661" y="0"/>
                    </a:lnTo>
                    <a:lnTo>
                      <a:pt x="3403661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9" name="object 339"/>
              <p:cNvSpPr/>
              <p:nvPr/>
            </p:nvSpPr>
            <p:spPr>
              <a:xfrm>
                <a:off x="10328834" y="6016358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0" name="object 340"/>
              <p:cNvSpPr/>
              <p:nvPr/>
            </p:nvSpPr>
            <p:spPr>
              <a:xfrm>
                <a:off x="9469468" y="6049426"/>
                <a:ext cx="343407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434079" h="180975">
                    <a:moveTo>
                      <a:pt x="343365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433656" y="0"/>
                    </a:lnTo>
                    <a:lnTo>
                      <a:pt x="3433656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1" name="object 341"/>
              <p:cNvSpPr/>
              <p:nvPr/>
            </p:nvSpPr>
            <p:spPr>
              <a:xfrm>
                <a:off x="10328834" y="5770702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2" name="object 342"/>
              <p:cNvSpPr/>
              <p:nvPr/>
            </p:nvSpPr>
            <p:spPr>
              <a:xfrm>
                <a:off x="9480505" y="5823884"/>
                <a:ext cx="34226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422650" h="180975">
                    <a:moveTo>
                      <a:pt x="342261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422618" y="0"/>
                    </a:lnTo>
                    <a:lnTo>
                      <a:pt x="3422618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3" name="object 343"/>
              <p:cNvSpPr/>
              <p:nvPr/>
            </p:nvSpPr>
            <p:spPr>
              <a:xfrm>
                <a:off x="10328834" y="5586463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33350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33350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33350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4" name="object 344"/>
              <p:cNvSpPr/>
              <p:nvPr/>
            </p:nvSpPr>
            <p:spPr>
              <a:xfrm>
                <a:off x="9526570" y="5598343"/>
                <a:ext cx="337692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376929" h="180975">
                    <a:moveTo>
                      <a:pt x="337655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376553" y="0"/>
                    </a:lnTo>
                    <a:lnTo>
                      <a:pt x="337655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5" name="object 345"/>
              <p:cNvSpPr/>
              <p:nvPr/>
            </p:nvSpPr>
            <p:spPr>
              <a:xfrm>
                <a:off x="10328834" y="5340806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6" name="object 346"/>
              <p:cNvSpPr/>
              <p:nvPr/>
            </p:nvSpPr>
            <p:spPr>
              <a:xfrm>
                <a:off x="9585561" y="5372801"/>
                <a:ext cx="331787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317875" h="180975">
                    <a:moveTo>
                      <a:pt x="3317562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317562" y="0"/>
                    </a:lnTo>
                    <a:lnTo>
                      <a:pt x="3317562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7" name="object 347"/>
              <p:cNvSpPr/>
              <p:nvPr/>
            </p:nvSpPr>
            <p:spPr>
              <a:xfrm>
                <a:off x="10328834" y="5095151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8" name="object 348"/>
              <p:cNvSpPr/>
              <p:nvPr/>
            </p:nvSpPr>
            <p:spPr>
              <a:xfrm>
                <a:off x="9640824" y="5147260"/>
                <a:ext cx="326262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62629" h="180975">
                    <a:moveTo>
                      <a:pt x="3262299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62299" y="0"/>
                    </a:lnTo>
                    <a:lnTo>
                      <a:pt x="3262299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9" name="object 349"/>
              <p:cNvSpPr/>
              <p:nvPr/>
            </p:nvSpPr>
            <p:spPr>
              <a:xfrm>
                <a:off x="10328834" y="4910912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0" name="object 350"/>
              <p:cNvSpPr/>
              <p:nvPr/>
            </p:nvSpPr>
            <p:spPr>
              <a:xfrm>
                <a:off x="9710560" y="4921718"/>
                <a:ext cx="319278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192779" h="180975">
                    <a:moveTo>
                      <a:pt x="319256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192563" y="0"/>
                    </a:lnTo>
                    <a:lnTo>
                      <a:pt x="319256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1" name="object 351"/>
              <p:cNvSpPr/>
              <p:nvPr/>
            </p:nvSpPr>
            <p:spPr>
              <a:xfrm>
                <a:off x="10328834" y="4665255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2" name="object 352"/>
              <p:cNvSpPr/>
              <p:nvPr/>
            </p:nvSpPr>
            <p:spPr>
              <a:xfrm>
                <a:off x="9707848" y="4696176"/>
                <a:ext cx="319532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195320" h="180975">
                    <a:moveTo>
                      <a:pt x="319527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195275" y="0"/>
                    </a:lnTo>
                    <a:lnTo>
                      <a:pt x="3195275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3" name="object 353"/>
              <p:cNvSpPr/>
              <p:nvPr/>
            </p:nvSpPr>
            <p:spPr>
              <a:xfrm>
                <a:off x="10328834" y="4419599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4" name="object 354"/>
              <p:cNvSpPr/>
              <p:nvPr/>
            </p:nvSpPr>
            <p:spPr>
              <a:xfrm>
                <a:off x="9627790" y="4470635"/>
                <a:ext cx="327532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75329" h="180975">
                    <a:moveTo>
                      <a:pt x="327533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75333" y="0"/>
                    </a:lnTo>
                    <a:lnTo>
                      <a:pt x="327533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5" name="object 355"/>
              <p:cNvSpPr/>
              <p:nvPr/>
            </p:nvSpPr>
            <p:spPr>
              <a:xfrm>
                <a:off x="10328834" y="4235360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258000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258000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258000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258000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6" name="object 356"/>
              <p:cNvSpPr/>
              <p:nvPr/>
            </p:nvSpPr>
            <p:spPr>
              <a:xfrm>
                <a:off x="9696938" y="4245093"/>
                <a:ext cx="32067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06750" h="180975">
                    <a:moveTo>
                      <a:pt x="3206185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06185" y="0"/>
                    </a:lnTo>
                    <a:lnTo>
                      <a:pt x="3206185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7" name="object 357"/>
              <p:cNvSpPr/>
              <p:nvPr/>
            </p:nvSpPr>
            <p:spPr>
              <a:xfrm>
                <a:off x="10328834" y="3989704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8" name="object 358"/>
              <p:cNvSpPr/>
              <p:nvPr/>
            </p:nvSpPr>
            <p:spPr>
              <a:xfrm>
                <a:off x="9695577" y="4019551"/>
                <a:ext cx="320802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08020" h="180975">
                    <a:moveTo>
                      <a:pt x="3207547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07547" y="0"/>
                    </a:lnTo>
                    <a:lnTo>
                      <a:pt x="3207547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9" name="object 359"/>
              <p:cNvSpPr/>
              <p:nvPr/>
            </p:nvSpPr>
            <p:spPr>
              <a:xfrm>
                <a:off x="10328834" y="3744048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0" name="object 360"/>
              <p:cNvSpPr/>
              <p:nvPr/>
            </p:nvSpPr>
            <p:spPr>
              <a:xfrm>
                <a:off x="9673536" y="3794010"/>
                <a:ext cx="322961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29609" h="180975">
                    <a:moveTo>
                      <a:pt x="322958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29588" y="0"/>
                    </a:lnTo>
                    <a:lnTo>
                      <a:pt x="3229588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1" name="object 361"/>
              <p:cNvSpPr/>
              <p:nvPr/>
            </p:nvSpPr>
            <p:spPr>
              <a:xfrm>
                <a:off x="10328834" y="3559809"/>
                <a:ext cx="258000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33350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33350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33350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2" name="object 362"/>
              <p:cNvSpPr/>
              <p:nvPr/>
            </p:nvSpPr>
            <p:spPr>
              <a:xfrm>
                <a:off x="9654217" y="3568468"/>
                <a:ext cx="324929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249295" h="180975">
                    <a:moveTo>
                      <a:pt x="324890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248906" y="0"/>
                    </a:lnTo>
                    <a:lnTo>
                      <a:pt x="3248906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3" name="object 363"/>
              <p:cNvSpPr/>
              <p:nvPr/>
            </p:nvSpPr>
            <p:spPr>
              <a:xfrm>
                <a:off x="10328834" y="3314153"/>
                <a:ext cx="258000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2580004" h="194945">
                    <a:moveTo>
                      <a:pt x="10248" y="184251"/>
                    </a:moveTo>
                    <a:lnTo>
                      <a:pt x="0" y="184251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51"/>
                    </a:lnTo>
                    <a:close/>
                  </a:path>
                  <a:path w="2580004" h="194945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2580004" h="194945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258000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2580004" h="194945">
                    <a:moveTo>
                      <a:pt x="866635" y="184251"/>
                    </a:moveTo>
                    <a:lnTo>
                      <a:pt x="856386" y="184251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51"/>
                    </a:lnTo>
                    <a:close/>
                  </a:path>
                  <a:path w="2580004" h="194945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2580004" h="194945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258000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2580004" h="194945">
                    <a:moveTo>
                      <a:pt x="1723021" y="184251"/>
                    </a:moveTo>
                    <a:lnTo>
                      <a:pt x="1712772" y="184251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51"/>
                    </a:lnTo>
                    <a:close/>
                  </a:path>
                  <a:path w="2580004" h="194945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2580004" h="194945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258000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2580004" h="194945">
                    <a:moveTo>
                      <a:pt x="2579408" y="184251"/>
                    </a:moveTo>
                    <a:lnTo>
                      <a:pt x="2569159" y="184251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51"/>
                    </a:lnTo>
                    <a:close/>
                  </a:path>
                  <a:path w="2580004" h="194945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2580004" h="194945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258000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4" name="object 364"/>
              <p:cNvSpPr/>
              <p:nvPr/>
            </p:nvSpPr>
            <p:spPr>
              <a:xfrm>
                <a:off x="9542085" y="3342926"/>
                <a:ext cx="336105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361054" h="180975">
                    <a:moveTo>
                      <a:pt x="3361038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361038" y="0"/>
                    </a:lnTo>
                    <a:lnTo>
                      <a:pt x="3361038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5" name="object 365"/>
              <p:cNvSpPr/>
              <p:nvPr/>
            </p:nvSpPr>
            <p:spPr>
              <a:xfrm>
                <a:off x="9472447" y="3068510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5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3435984" h="194945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94945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9494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23"/>
                    </a:lnTo>
                    <a:lnTo>
                      <a:pt x="10248" y="10223"/>
                    </a:lnTo>
                    <a:lnTo>
                      <a:pt x="10248" y="0"/>
                    </a:lnTo>
                    <a:close/>
                  </a:path>
                  <a:path w="3435984" h="194945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3435984" h="194945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94945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94945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23"/>
                    </a:lnTo>
                    <a:lnTo>
                      <a:pt x="866635" y="10223"/>
                    </a:lnTo>
                    <a:lnTo>
                      <a:pt x="866635" y="0"/>
                    </a:lnTo>
                    <a:close/>
                  </a:path>
                  <a:path w="3435984" h="194945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3435984" h="194945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94945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94945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23"/>
                    </a:lnTo>
                    <a:lnTo>
                      <a:pt x="1723021" y="10223"/>
                    </a:lnTo>
                    <a:lnTo>
                      <a:pt x="1723021" y="0"/>
                    </a:lnTo>
                    <a:close/>
                  </a:path>
                  <a:path w="3435984" h="194945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3435984" h="194945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94945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94945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23"/>
                    </a:lnTo>
                    <a:lnTo>
                      <a:pt x="2579408" y="10223"/>
                    </a:lnTo>
                    <a:lnTo>
                      <a:pt x="2579408" y="0"/>
                    </a:lnTo>
                    <a:close/>
                  </a:path>
                  <a:path w="3435984" h="194945">
                    <a:moveTo>
                      <a:pt x="3435794" y="184238"/>
                    </a:moveTo>
                    <a:lnTo>
                      <a:pt x="3425545" y="184238"/>
                    </a:lnTo>
                    <a:lnTo>
                      <a:pt x="3425545" y="194475"/>
                    </a:lnTo>
                    <a:lnTo>
                      <a:pt x="3435794" y="194475"/>
                    </a:lnTo>
                    <a:lnTo>
                      <a:pt x="3435794" y="184238"/>
                    </a:lnTo>
                    <a:close/>
                  </a:path>
                  <a:path w="3435984" h="194945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94945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94945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23"/>
                    </a:lnTo>
                    <a:lnTo>
                      <a:pt x="3435794" y="10223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6" name="object 366"/>
              <p:cNvSpPr/>
              <p:nvPr/>
            </p:nvSpPr>
            <p:spPr>
              <a:xfrm>
                <a:off x="9372490" y="3117385"/>
                <a:ext cx="3531235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31234" h="180975">
                    <a:moveTo>
                      <a:pt x="353063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30634" y="0"/>
                    </a:lnTo>
                    <a:lnTo>
                      <a:pt x="3530634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7" name="object 367"/>
              <p:cNvSpPr/>
              <p:nvPr/>
            </p:nvSpPr>
            <p:spPr>
              <a:xfrm>
                <a:off x="9472447" y="2884258"/>
                <a:ext cx="343598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343598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343598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33350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343598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343598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33350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343598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343598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33350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343598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343598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33350">
                    <a:moveTo>
                      <a:pt x="3435794" y="122834"/>
                    </a:moveTo>
                    <a:lnTo>
                      <a:pt x="3425545" y="122834"/>
                    </a:lnTo>
                    <a:lnTo>
                      <a:pt x="3425545" y="133070"/>
                    </a:lnTo>
                    <a:lnTo>
                      <a:pt x="3435794" y="133070"/>
                    </a:lnTo>
                    <a:lnTo>
                      <a:pt x="3435794" y="122834"/>
                    </a:lnTo>
                    <a:close/>
                  </a:path>
                  <a:path w="3435984" h="133350">
                    <a:moveTo>
                      <a:pt x="3435794" y="61417"/>
                    </a:moveTo>
                    <a:lnTo>
                      <a:pt x="3425545" y="61417"/>
                    </a:lnTo>
                    <a:lnTo>
                      <a:pt x="3425545" y="71653"/>
                    </a:lnTo>
                    <a:lnTo>
                      <a:pt x="3435794" y="71653"/>
                    </a:lnTo>
                    <a:lnTo>
                      <a:pt x="3435794" y="61417"/>
                    </a:lnTo>
                    <a:close/>
                  </a:path>
                  <a:path w="3435984" h="133350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8" name="object 368"/>
              <p:cNvSpPr/>
              <p:nvPr/>
            </p:nvSpPr>
            <p:spPr>
              <a:xfrm>
                <a:off x="9329408" y="2891843"/>
                <a:ext cx="3573779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73779" h="180975">
                    <a:moveTo>
                      <a:pt x="3573716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73716" y="0"/>
                    </a:lnTo>
                    <a:lnTo>
                      <a:pt x="3573716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9" name="object 369"/>
              <p:cNvSpPr/>
              <p:nvPr/>
            </p:nvSpPr>
            <p:spPr>
              <a:xfrm>
                <a:off x="9472447" y="2638615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4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3435984" h="194944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94944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9494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94944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3435984" h="194944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94944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94944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94944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3435984" h="194944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94944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94944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94944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3435984" h="194944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94944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94944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94944">
                    <a:moveTo>
                      <a:pt x="3435794" y="184238"/>
                    </a:moveTo>
                    <a:lnTo>
                      <a:pt x="3425545" y="184238"/>
                    </a:lnTo>
                    <a:lnTo>
                      <a:pt x="3425545" y="194475"/>
                    </a:lnTo>
                    <a:lnTo>
                      <a:pt x="3435794" y="194475"/>
                    </a:lnTo>
                    <a:lnTo>
                      <a:pt x="3435794" y="184238"/>
                    </a:lnTo>
                    <a:close/>
                  </a:path>
                  <a:path w="3435984" h="194944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94944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94944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0" name="object 370"/>
              <p:cNvSpPr/>
              <p:nvPr/>
            </p:nvSpPr>
            <p:spPr>
              <a:xfrm>
                <a:off x="9290140" y="2666301"/>
                <a:ext cx="361315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613150" h="180975">
                    <a:moveTo>
                      <a:pt x="3612983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612983" y="0"/>
                    </a:lnTo>
                    <a:lnTo>
                      <a:pt x="3612983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1" name="object 371"/>
              <p:cNvSpPr/>
              <p:nvPr/>
            </p:nvSpPr>
            <p:spPr>
              <a:xfrm>
                <a:off x="9472447" y="2392959"/>
                <a:ext cx="3435985" cy="194945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94944">
                    <a:moveTo>
                      <a:pt x="10248" y="184238"/>
                    </a:moveTo>
                    <a:lnTo>
                      <a:pt x="0" y="184238"/>
                    </a:lnTo>
                    <a:lnTo>
                      <a:pt x="0" y="194475"/>
                    </a:lnTo>
                    <a:lnTo>
                      <a:pt x="10248" y="194475"/>
                    </a:lnTo>
                    <a:lnTo>
                      <a:pt x="10248" y="184238"/>
                    </a:lnTo>
                    <a:close/>
                  </a:path>
                  <a:path w="3435984" h="194944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94944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9494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94944">
                    <a:moveTo>
                      <a:pt x="866635" y="184238"/>
                    </a:moveTo>
                    <a:lnTo>
                      <a:pt x="856386" y="184238"/>
                    </a:lnTo>
                    <a:lnTo>
                      <a:pt x="856386" y="194475"/>
                    </a:lnTo>
                    <a:lnTo>
                      <a:pt x="866635" y="194475"/>
                    </a:lnTo>
                    <a:lnTo>
                      <a:pt x="866635" y="184238"/>
                    </a:lnTo>
                    <a:close/>
                  </a:path>
                  <a:path w="3435984" h="194944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94944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94944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94944">
                    <a:moveTo>
                      <a:pt x="1723021" y="184238"/>
                    </a:moveTo>
                    <a:lnTo>
                      <a:pt x="1712772" y="184238"/>
                    </a:lnTo>
                    <a:lnTo>
                      <a:pt x="1712772" y="194475"/>
                    </a:lnTo>
                    <a:lnTo>
                      <a:pt x="1723021" y="194475"/>
                    </a:lnTo>
                    <a:lnTo>
                      <a:pt x="1723021" y="184238"/>
                    </a:lnTo>
                    <a:close/>
                  </a:path>
                  <a:path w="3435984" h="194944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94944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94944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94944">
                    <a:moveTo>
                      <a:pt x="2579408" y="184238"/>
                    </a:moveTo>
                    <a:lnTo>
                      <a:pt x="2569159" y="184238"/>
                    </a:lnTo>
                    <a:lnTo>
                      <a:pt x="2569159" y="194475"/>
                    </a:lnTo>
                    <a:lnTo>
                      <a:pt x="2579408" y="194475"/>
                    </a:lnTo>
                    <a:lnTo>
                      <a:pt x="2579408" y="184238"/>
                    </a:lnTo>
                    <a:close/>
                  </a:path>
                  <a:path w="3435984" h="194944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94944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94944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94944">
                    <a:moveTo>
                      <a:pt x="3435794" y="184238"/>
                    </a:moveTo>
                    <a:lnTo>
                      <a:pt x="3425545" y="184238"/>
                    </a:lnTo>
                    <a:lnTo>
                      <a:pt x="3425545" y="194475"/>
                    </a:lnTo>
                    <a:lnTo>
                      <a:pt x="3435794" y="194475"/>
                    </a:lnTo>
                    <a:lnTo>
                      <a:pt x="3435794" y="184238"/>
                    </a:lnTo>
                    <a:close/>
                  </a:path>
                  <a:path w="3435984" h="194944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94944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94944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2" name="object 372"/>
              <p:cNvSpPr/>
              <p:nvPr/>
            </p:nvSpPr>
            <p:spPr>
              <a:xfrm>
                <a:off x="9301159" y="2440760"/>
                <a:ext cx="3602354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602354" h="180975">
                    <a:moveTo>
                      <a:pt x="3601964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601964" y="0"/>
                    </a:lnTo>
                    <a:lnTo>
                      <a:pt x="3601964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3" name="object 373"/>
              <p:cNvSpPr/>
              <p:nvPr/>
            </p:nvSpPr>
            <p:spPr>
              <a:xfrm>
                <a:off x="9472447" y="2208720"/>
                <a:ext cx="343598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33350">
                    <a:moveTo>
                      <a:pt x="10248" y="122821"/>
                    </a:moveTo>
                    <a:lnTo>
                      <a:pt x="0" y="122821"/>
                    </a:lnTo>
                    <a:lnTo>
                      <a:pt x="0" y="133057"/>
                    </a:lnTo>
                    <a:lnTo>
                      <a:pt x="10248" y="133057"/>
                    </a:lnTo>
                    <a:lnTo>
                      <a:pt x="10248" y="122821"/>
                    </a:lnTo>
                    <a:close/>
                  </a:path>
                  <a:path w="3435984" h="133350">
                    <a:moveTo>
                      <a:pt x="10248" y="61404"/>
                    </a:moveTo>
                    <a:lnTo>
                      <a:pt x="0" y="61404"/>
                    </a:lnTo>
                    <a:lnTo>
                      <a:pt x="0" y="71640"/>
                    </a:lnTo>
                    <a:lnTo>
                      <a:pt x="10248" y="71640"/>
                    </a:lnTo>
                    <a:lnTo>
                      <a:pt x="10248" y="61404"/>
                    </a:lnTo>
                    <a:close/>
                  </a:path>
                  <a:path w="343598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33350">
                    <a:moveTo>
                      <a:pt x="866635" y="122821"/>
                    </a:moveTo>
                    <a:lnTo>
                      <a:pt x="856386" y="122821"/>
                    </a:lnTo>
                    <a:lnTo>
                      <a:pt x="856386" y="133057"/>
                    </a:lnTo>
                    <a:lnTo>
                      <a:pt x="866635" y="133057"/>
                    </a:lnTo>
                    <a:lnTo>
                      <a:pt x="866635" y="122821"/>
                    </a:lnTo>
                    <a:close/>
                  </a:path>
                  <a:path w="3435984" h="133350">
                    <a:moveTo>
                      <a:pt x="866635" y="61404"/>
                    </a:moveTo>
                    <a:lnTo>
                      <a:pt x="856386" y="61404"/>
                    </a:lnTo>
                    <a:lnTo>
                      <a:pt x="856386" y="71640"/>
                    </a:lnTo>
                    <a:lnTo>
                      <a:pt x="866635" y="71640"/>
                    </a:lnTo>
                    <a:lnTo>
                      <a:pt x="866635" y="61404"/>
                    </a:lnTo>
                    <a:close/>
                  </a:path>
                  <a:path w="343598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33350">
                    <a:moveTo>
                      <a:pt x="1723021" y="122821"/>
                    </a:moveTo>
                    <a:lnTo>
                      <a:pt x="1712772" y="122821"/>
                    </a:lnTo>
                    <a:lnTo>
                      <a:pt x="1712772" y="133057"/>
                    </a:lnTo>
                    <a:lnTo>
                      <a:pt x="1723021" y="133057"/>
                    </a:lnTo>
                    <a:lnTo>
                      <a:pt x="1723021" y="122821"/>
                    </a:lnTo>
                    <a:close/>
                  </a:path>
                  <a:path w="3435984" h="133350">
                    <a:moveTo>
                      <a:pt x="1723021" y="61404"/>
                    </a:moveTo>
                    <a:lnTo>
                      <a:pt x="1712772" y="61404"/>
                    </a:lnTo>
                    <a:lnTo>
                      <a:pt x="1712772" y="71640"/>
                    </a:lnTo>
                    <a:lnTo>
                      <a:pt x="1723021" y="71640"/>
                    </a:lnTo>
                    <a:lnTo>
                      <a:pt x="1723021" y="61404"/>
                    </a:lnTo>
                    <a:close/>
                  </a:path>
                  <a:path w="343598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33350">
                    <a:moveTo>
                      <a:pt x="2579408" y="122821"/>
                    </a:moveTo>
                    <a:lnTo>
                      <a:pt x="2569159" y="122821"/>
                    </a:lnTo>
                    <a:lnTo>
                      <a:pt x="2569159" y="133057"/>
                    </a:lnTo>
                    <a:lnTo>
                      <a:pt x="2579408" y="133057"/>
                    </a:lnTo>
                    <a:lnTo>
                      <a:pt x="2579408" y="122821"/>
                    </a:lnTo>
                    <a:close/>
                  </a:path>
                  <a:path w="3435984" h="133350">
                    <a:moveTo>
                      <a:pt x="2579408" y="61404"/>
                    </a:moveTo>
                    <a:lnTo>
                      <a:pt x="2569159" y="61404"/>
                    </a:lnTo>
                    <a:lnTo>
                      <a:pt x="2569159" y="71640"/>
                    </a:lnTo>
                    <a:lnTo>
                      <a:pt x="2579408" y="71640"/>
                    </a:lnTo>
                    <a:lnTo>
                      <a:pt x="2579408" y="61404"/>
                    </a:lnTo>
                    <a:close/>
                  </a:path>
                  <a:path w="343598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33350">
                    <a:moveTo>
                      <a:pt x="3435794" y="122821"/>
                    </a:moveTo>
                    <a:lnTo>
                      <a:pt x="3425545" y="122821"/>
                    </a:lnTo>
                    <a:lnTo>
                      <a:pt x="3425545" y="133057"/>
                    </a:lnTo>
                    <a:lnTo>
                      <a:pt x="3435794" y="133057"/>
                    </a:lnTo>
                    <a:lnTo>
                      <a:pt x="3435794" y="122821"/>
                    </a:lnTo>
                    <a:close/>
                  </a:path>
                  <a:path w="3435984" h="133350">
                    <a:moveTo>
                      <a:pt x="3435794" y="61404"/>
                    </a:moveTo>
                    <a:lnTo>
                      <a:pt x="3425545" y="61404"/>
                    </a:lnTo>
                    <a:lnTo>
                      <a:pt x="3425545" y="71640"/>
                    </a:lnTo>
                    <a:lnTo>
                      <a:pt x="3435794" y="71640"/>
                    </a:lnTo>
                    <a:lnTo>
                      <a:pt x="3435794" y="61404"/>
                    </a:lnTo>
                    <a:close/>
                  </a:path>
                  <a:path w="3435984" h="133350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4" name="object 374"/>
              <p:cNvSpPr/>
              <p:nvPr/>
            </p:nvSpPr>
            <p:spPr>
              <a:xfrm>
                <a:off x="9325804" y="2215218"/>
                <a:ext cx="357759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77590" h="180975">
                    <a:moveTo>
                      <a:pt x="3577319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77319" y="0"/>
                    </a:lnTo>
                    <a:lnTo>
                      <a:pt x="3577319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5" name="object 375"/>
              <p:cNvSpPr/>
              <p:nvPr/>
            </p:nvSpPr>
            <p:spPr>
              <a:xfrm>
                <a:off x="9472447" y="2024468"/>
                <a:ext cx="343598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3435984" h="133350">
                    <a:moveTo>
                      <a:pt x="10248" y="122834"/>
                    </a:moveTo>
                    <a:lnTo>
                      <a:pt x="0" y="122834"/>
                    </a:lnTo>
                    <a:lnTo>
                      <a:pt x="0" y="133070"/>
                    </a:lnTo>
                    <a:lnTo>
                      <a:pt x="10248" y="133070"/>
                    </a:lnTo>
                    <a:lnTo>
                      <a:pt x="10248" y="122834"/>
                    </a:lnTo>
                    <a:close/>
                  </a:path>
                  <a:path w="3435984" h="133350">
                    <a:moveTo>
                      <a:pt x="10248" y="61417"/>
                    </a:moveTo>
                    <a:lnTo>
                      <a:pt x="0" y="61417"/>
                    </a:lnTo>
                    <a:lnTo>
                      <a:pt x="0" y="71653"/>
                    </a:lnTo>
                    <a:lnTo>
                      <a:pt x="10248" y="71653"/>
                    </a:lnTo>
                    <a:lnTo>
                      <a:pt x="10248" y="61417"/>
                    </a:lnTo>
                    <a:close/>
                  </a:path>
                  <a:path w="3435984" h="133350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0"/>
                    </a:lnTo>
                    <a:close/>
                  </a:path>
                  <a:path w="3435984" h="133350">
                    <a:moveTo>
                      <a:pt x="866635" y="122834"/>
                    </a:moveTo>
                    <a:lnTo>
                      <a:pt x="856386" y="122834"/>
                    </a:lnTo>
                    <a:lnTo>
                      <a:pt x="856386" y="133070"/>
                    </a:lnTo>
                    <a:lnTo>
                      <a:pt x="866635" y="133070"/>
                    </a:lnTo>
                    <a:lnTo>
                      <a:pt x="866635" y="122834"/>
                    </a:lnTo>
                    <a:close/>
                  </a:path>
                  <a:path w="3435984" h="133350">
                    <a:moveTo>
                      <a:pt x="866635" y="61417"/>
                    </a:moveTo>
                    <a:lnTo>
                      <a:pt x="856386" y="61417"/>
                    </a:lnTo>
                    <a:lnTo>
                      <a:pt x="856386" y="71653"/>
                    </a:lnTo>
                    <a:lnTo>
                      <a:pt x="866635" y="71653"/>
                    </a:lnTo>
                    <a:lnTo>
                      <a:pt x="866635" y="61417"/>
                    </a:lnTo>
                    <a:close/>
                  </a:path>
                  <a:path w="3435984" h="133350">
                    <a:moveTo>
                      <a:pt x="866635" y="0"/>
                    </a:moveTo>
                    <a:lnTo>
                      <a:pt x="856386" y="0"/>
                    </a:lnTo>
                    <a:lnTo>
                      <a:pt x="856386" y="10236"/>
                    </a:lnTo>
                    <a:lnTo>
                      <a:pt x="866635" y="10236"/>
                    </a:lnTo>
                    <a:lnTo>
                      <a:pt x="866635" y="0"/>
                    </a:lnTo>
                    <a:close/>
                  </a:path>
                  <a:path w="3435984" h="133350">
                    <a:moveTo>
                      <a:pt x="1723021" y="122834"/>
                    </a:moveTo>
                    <a:lnTo>
                      <a:pt x="1712772" y="122834"/>
                    </a:lnTo>
                    <a:lnTo>
                      <a:pt x="1712772" y="133070"/>
                    </a:lnTo>
                    <a:lnTo>
                      <a:pt x="1723021" y="133070"/>
                    </a:lnTo>
                    <a:lnTo>
                      <a:pt x="1723021" y="122834"/>
                    </a:lnTo>
                    <a:close/>
                  </a:path>
                  <a:path w="3435984" h="133350">
                    <a:moveTo>
                      <a:pt x="1723021" y="61417"/>
                    </a:moveTo>
                    <a:lnTo>
                      <a:pt x="1712772" y="61417"/>
                    </a:lnTo>
                    <a:lnTo>
                      <a:pt x="1712772" y="71653"/>
                    </a:lnTo>
                    <a:lnTo>
                      <a:pt x="1723021" y="71653"/>
                    </a:lnTo>
                    <a:lnTo>
                      <a:pt x="1723021" y="61417"/>
                    </a:lnTo>
                    <a:close/>
                  </a:path>
                  <a:path w="3435984" h="133350">
                    <a:moveTo>
                      <a:pt x="1723021" y="0"/>
                    </a:moveTo>
                    <a:lnTo>
                      <a:pt x="1712772" y="0"/>
                    </a:lnTo>
                    <a:lnTo>
                      <a:pt x="1712772" y="10236"/>
                    </a:lnTo>
                    <a:lnTo>
                      <a:pt x="1723021" y="10236"/>
                    </a:lnTo>
                    <a:lnTo>
                      <a:pt x="1723021" y="0"/>
                    </a:lnTo>
                    <a:close/>
                  </a:path>
                  <a:path w="3435984" h="133350">
                    <a:moveTo>
                      <a:pt x="2579408" y="122834"/>
                    </a:moveTo>
                    <a:lnTo>
                      <a:pt x="2569159" y="122834"/>
                    </a:lnTo>
                    <a:lnTo>
                      <a:pt x="2569159" y="133070"/>
                    </a:lnTo>
                    <a:lnTo>
                      <a:pt x="2579408" y="133070"/>
                    </a:lnTo>
                    <a:lnTo>
                      <a:pt x="2579408" y="122834"/>
                    </a:lnTo>
                    <a:close/>
                  </a:path>
                  <a:path w="3435984" h="133350">
                    <a:moveTo>
                      <a:pt x="2579408" y="61417"/>
                    </a:moveTo>
                    <a:lnTo>
                      <a:pt x="2569159" y="61417"/>
                    </a:lnTo>
                    <a:lnTo>
                      <a:pt x="2569159" y="71653"/>
                    </a:lnTo>
                    <a:lnTo>
                      <a:pt x="2579408" y="71653"/>
                    </a:lnTo>
                    <a:lnTo>
                      <a:pt x="2579408" y="61417"/>
                    </a:lnTo>
                    <a:close/>
                  </a:path>
                  <a:path w="3435984" h="133350">
                    <a:moveTo>
                      <a:pt x="2579408" y="0"/>
                    </a:moveTo>
                    <a:lnTo>
                      <a:pt x="2569159" y="0"/>
                    </a:lnTo>
                    <a:lnTo>
                      <a:pt x="2569159" y="10236"/>
                    </a:lnTo>
                    <a:lnTo>
                      <a:pt x="2579408" y="10236"/>
                    </a:lnTo>
                    <a:lnTo>
                      <a:pt x="2579408" y="0"/>
                    </a:lnTo>
                    <a:close/>
                  </a:path>
                  <a:path w="3435984" h="133350">
                    <a:moveTo>
                      <a:pt x="3435794" y="122834"/>
                    </a:moveTo>
                    <a:lnTo>
                      <a:pt x="3425545" y="122834"/>
                    </a:lnTo>
                    <a:lnTo>
                      <a:pt x="3425545" y="133070"/>
                    </a:lnTo>
                    <a:lnTo>
                      <a:pt x="3435794" y="133070"/>
                    </a:lnTo>
                    <a:lnTo>
                      <a:pt x="3435794" y="122834"/>
                    </a:lnTo>
                    <a:close/>
                  </a:path>
                  <a:path w="3435984" h="133350">
                    <a:moveTo>
                      <a:pt x="3435794" y="61417"/>
                    </a:moveTo>
                    <a:lnTo>
                      <a:pt x="3425545" y="61417"/>
                    </a:lnTo>
                    <a:lnTo>
                      <a:pt x="3425545" y="71653"/>
                    </a:lnTo>
                    <a:lnTo>
                      <a:pt x="3435794" y="71653"/>
                    </a:lnTo>
                    <a:lnTo>
                      <a:pt x="3435794" y="61417"/>
                    </a:lnTo>
                    <a:close/>
                  </a:path>
                  <a:path w="3435984" h="133350">
                    <a:moveTo>
                      <a:pt x="3435794" y="0"/>
                    </a:moveTo>
                    <a:lnTo>
                      <a:pt x="3425545" y="0"/>
                    </a:lnTo>
                    <a:lnTo>
                      <a:pt x="3425545" y="10236"/>
                    </a:lnTo>
                    <a:lnTo>
                      <a:pt x="3435794" y="10236"/>
                    </a:lnTo>
                    <a:lnTo>
                      <a:pt x="343579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6" name="object 376"/>
              <p:cNvSpPr/>
              <p:nvPr/>
            </p:nvSpPr>
            <p:spPr>
              <a:xfrm>
                <a:off x="9331083" y="1989677"/>
                <a:ext cx="3572510" cy="180975"/>
              </a:xfrm>
              <a:custGeom>
                <a:avLst/>
                <a:gdLst/>
                <a:ahLst/>
                <a:cxnLst/>
                <a:rect l="l" t="t" r="r" b="b"/>
                <a:pathLst>
                  <a:path w="3572509" h="180975">
                    <a:moveTo>
                      <a:pt x="3572041" y="180433"/>
                    </a:moveTo>
                    <a:lnTo>
                      <a:pt x="0" y="180433"/>
                    </a:lnTo>
                    <a:lnTo>
                      <a:pt x="0" y="0"/>
                    </a:lnTo>
                    <a:lnTo>
                      <a:pt x="3572041" y="0"/>
                    </a:lnTo>
                    <a:lnTo>
                      <a:pt x="3572041" y="180433"/>
                    </a:lnTo>
                    <a:close/>
                  </a:path>
                </a:pathLst>
              </a:custGeom>
              <a:solidFill>
                <a:srgbClr val="E66B37">
                  <a:alpha val="39999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377" name="object 377"/>
            <p:cNvSpPr txBox="1"/>
            <p:nvPr/>
          </p:nvSpPr>
          <p:spPr>
            <a:xfrm>
              <a:off x="7835899" y="6308853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78" name="object 378"/>
            <p:cNvSpPr txBox="1"/>
            <p:nvPr/>
          </p:nvSpPr>
          <p:spPr>
            <a:xfrm>
              <a:off x="8562307" y="6308853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2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79" name="object 379"/>
            <p:cNvSpPr txBox="1"/>
            <p:nvPr/>
          </p:nvSpPr>
          <p:spPr>
            <a:xfrm>
              <a:off x="9156448" y="6293887"/>
              <a:ext cx="1307166" cy="367549"/>
            </a:xfrm>
            <a:prstGeom prst="rect">
              <a:avLst/>
            </a:prstGeom>
          </p:spPr>
          <p:txBody>
            <a:bodyPr vert="horz" wrap="square" lIns="0" tIns="28015" rIns="0" bIns="0" rtlCol="0">
              <a:spAutoFit/>
            </a:bodyPr>
            <a:lstStyle/>
            <a:p>
              <a:pPr algn="ctr">
                <a:spcBef>
                  <a:spcPts val="221"/>
                </a:spcBef>
                <a:tabLst>
                  <a:tab pos="755317" algn="l"/>
                </a:tabLst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40%	60%</a:t>
              </a:r>
              <a:endParaRPr sz="838" dirty="0">
                <a:latin typeface="Segoe UI"/>
                <a:cs typeface="Segoe UI"/>
              </a:endParaRPr>
            </a:p>
            <a:p>
              <a:pPr algn="ctr">
                <a:spcBef>
                  <a:spcPts val="194"/>
                </a:spcBef>
              </a:pPr>
              <a:r>
                <a:rPr sz="1200" spc="-26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Sentiment</a:t>
              </a:r>
              <a:r>
                <a:rPr sz="1200" spc="-119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 </a:t>
              </a:r>
              <a:r>
                <a:rPr sz="1200" spc="-31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Percentage</a:t>
              </a:r>
              <a:endParaRPr sz="1200" dirty="0">
                <a:latin typeface="Arial Narrow" panose="020B0606020202030204" pitchFamily="34" charset="0"/>
                <a:cs typeface="Tahoma"/>
              </a:endParaRPr>
            </a:p>
          </p:txBody>
        </p:sp>
        <p:sp>
          <p:nvSpPr>
            <p:cNvPr id="380" name="object 380"/>
            <p:cNvSpPr txBox="1"/>
            <p:nvPr/>
          </p:nvSpPr>
          <p:spPr>
            <a:xfrm>
              <a:off x="10829213" y="6308853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8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1" name="object 381"/>
            <p:cNvSpPr txBox="1"/>
            <p:nvPr/>
          </p:nvSpPr>
          <p:spPr>
            <a:xfrm>
              <a:off x="11555620" y="6308853"/>
              <a:ext cx="286871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10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2" name="object 382"/>
            <p:cNvSpPr txBox="1"/>
            <p:nvPr/>
          </p:nvSpPr>
          <p:spPr>
            <a:xfrm>
              <a:off x="7373828" y="3885083"/>
              <a:ext cx="153888" cy="366192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1204"/>
                </a:lnSpc>
              </a:pPr>
              <a:r>
                <a:rPr sz="1147" spc="-93" dirty="0">
                  <a:solidFill>
                    <a:srgbClr val="252423"/>
                  </a:solidFill>
                  <a:latin typeface="Tahoma"/>
                  <a:cs typeface="Tahoma"/>
                </a:rPr>
                <a:t>Y</a:t>
              </a:r>
              <a:r>
                <a:rPr sz="1147" dirty="0">
                  <a:solidFill>
                    <a:srgbClr val="252423"/>
                  </a:solidFill>
                  <a:latin typeface="Tahoma"/>
                  <a:cs typeface="Tahoma"/>
                </a:rPr>
                <a:t>ear</a:t>
              </a:r>
              <a:endParaRPr sz="1147" dirty="0">
                <a:latin typeface="Tahoma"/>
                <a:cs typeface="Tahoma"/>
              </a:endParaRPr>
            </a:p>
          </p:txBody>
        </p:sp>
        <p:sp>
          <p:nvSpPr>
            <p:cNvPr id="383" name="object 383"/>
            <p:cNvSpPr txBox="1"/>
            <p:nvPr/>
          </p:nvSpPr>
          <p:spPr>
            <a:xfrm>
              <a:off x="7585321" y="5332430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4" name="object 384"/>
            <p:cNvSpPr txBox="1"/>
            <p:nvPr/>
          </p:nvSpPr>
          <p:spPr>
            <a:xfrm>
              <a:off x="7585321" y="4337393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5" name="object 385"/>
            <p:cNvSpPr txBox="1"/>
            <p:nvPr/>
          </p:nvSpPr>
          <p:spPr>
            <a:xfrm>
              <a:off x="7585321" y="3342357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6" name="object 386"/>
            <p:cNvSpPr txBox="1"/>
            <p:nvPr/>
          </p:nvSpPr>
          <p:spPr>
            <a:xfrm>
              <a:off x="7585321" y="2347320"/>
              <a:ext cx="25661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7" name="object 387"/>
            <p:cNvSpPr/>
            <p:nvPr/>
          </p:nvSpPr>
          <p:spPr>
            <a:xfrm>
              <a:off x="7389761" y="1507062"/>
              <a:ext cx="89416" cy="92417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8" name="object 388"/>
            <p:cNvSpPr/>
            <p:nvPr/>
          </p:nvSpPr>
          <p:spPr>
            <a:xfrm>
              <a:off x="8031228" y="1507062"/>
              <a:ext cx="89416" cy="92417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9" name="object 389"/>
            <p:cNvSpPr/>
            <p:nvPr/>
          </p:nvSpPr>
          <p:spPr>
            <a:xfrm>
              <a:off x="8591381" y="1507062"/>
              <a:ext cx="89416" cy="92417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0" name="object 390"/>
            <p:cNvSpPr txBox="1"/>
            <p:nvPr/>
          </p:nvSpPr>
          <p:spPr>
            <a:xfrm>
              <a:off x="7369016" y="1160232"/>
              <a:ext cx="2116617" cy="472584"/>
            </a:xfrm>
            <a:prstGeom prst="rect">
              <a:avLst/>
            </a:prstGeom>
          </p:spPr>
          <p:txBody>
            <a:bodyPr vert="horz" wrap="square" lIns="0" tIns="11766" rIns="0" bIns="0" rtlCol="0">
              <a:spAutoFit/>
            </a:bodyPr>
            <a:lstStyle/>
            <a:p>
              <a:pPr marL="11206">
                <a:spcBef>
                  <a:spcPts val="93"/>
                </a:spcBef>
              </a:pPr>
              <a:r>
                <a:rPr sz="1400" b="1" spc="-53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Sentiment Percentage </a:t>
              </a:r>
              <a:r>
                <a:rPr sz="1400" b="1" spc="-66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by</a:t>
              </a:r>
              <a:r>
                <a:rPr sz="1400" b="1" spc="-212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 </a:t>
              </a:r>
              <a:r>
                <a:rPr sz="1400" b="1" spc="-75" dirty="0">
                  <a:solidFill>
                    <a:srgbClr val="252423"/>
                  </a:solidFill>
                  <a:latin typeface="Arial Narrow" panose="020B0606020202030204" pitchFamily="34" charset="0"/>
                  <a:cs typeface="Tahoma"/>
                </a:rPr>
                <a:t>Year</a:t>
              </a:r>
              <a:endParaRPr sz="1400" b="1" dirty="0">
                <a:latin typeface="Arial Narrow" panose="020B0606020202030204" pitchFamily="34" charset="0"/>
                <a:cs typeface="Tahoma"/>
              </a:endParaRPr>
            </a:p>
            <a:p>
              <a:pPr marL="129435">
                <a:spcBef>
                  <a:spcPts val="799"/>
                </a:spcBef>
                <a:tabLst>
                  <a:tab pos="769885" algn="l"/>
                  <a:tab pos="1328528" algn="l"/>
                </a:tabLst>
              </a:pPr>
              <a:r>
                <a:rPr sz="927" spc="9" dirty="0">
                  <a:solidFill>
                    <a:srgbClr val="605D5C"/>
                  </a:solidFill>
                  <a:latin typeface="Segoe UI"/>
                  <a:cs typeface="Segoe UI"/>
                </a:rPr>
                <a:t>Negative	Neutral	</a:t>
              </a:r>
              <a:r>
                <a:rPr sz="927" spc="4" dirty="0">
                  <a:solidFill>
                    <a:srgbClr val="605D5C"/>
                  </a:solidFill>
                  <a:latin typeface="Segoe UI"/>
                  <a:cs typeface="Segoe UI"/>
                </a:rPr>
                <a:t>Positive</a:t>
              </a:r>
              <a:endParaRPr sz="927" dirty="0">
                <a:latin typeface="Segoe UI"/>
                <a:cs typeface="Segoe UI"/>
              </a:endParaRPr>
            </a:p>
          </p:txBody>
        </p:sp>
      </p:grpSp>
      <p:pic>
        <p:nvPicPr>
          <p:cNvPr id="392" name="Picture 39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8422" y="1157608"/>
            <a:ext cx="6578255" cy="5687568"/>
          </a:xfrm>
          <a:prstGeom prst="rect">
            <a:avLst/>
          </a:prstGeom>
        </p:spPr>
      </p:pic>
      <p:sp>
        <p:nvSpPr>
          <p:cNvPr id="403" name="object 156"/>
          <p:cNvSpPr/>
          <p:nvPr/>
        </p:nvSpPr>
        <p:spPr>
          <a:xfrm>
            <a:off x="318561" y="310720"/>
            <a:ext cx="6322417" cy="488016"/>
          </a:xfrm>
          <a:custGeom>
            <a:avLst/>
            <a:gdLst/>
            <a:ahLst/>
            <a:cxnLst/>
            <a:rect l="l" t="t" r="r" b="b"/>
            <a:pathLst>
              <a:path w="6492240" h="553085">
                <a:moveTo>
                  <a:pt x="6491763" y="552926"/>
                </a:moveTo>
                <a:lnTo>
                  <a:pt x="0" y="552926"/>
                </a:lnTo>
                <a:lnTo>
                  <a:pt x="0" y="0"/>
                </a:lnTo>
                <a:lnTo>
                  <a:pt x="6491763" y="0"/>
                </a:lnTo>
                <a:lnTo>
                  <a:pt x="6491763" y="552926"/>
                </a:lnTo>
                <a:close/>
              </a:path>
            </a:pathLst>
          </a:custGeom>
          <a:solidFill>
            <a:srgbClr val="FFB618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404" name="object 157"/>
          <p:cNvSpPr txBox="1"/>
          <p:nvPr/>
        </p:nvSpPr>
        <p:spPr>
          <a:xfrm>
            <a:off x="702520" y="411671"/>
            <a:ext cx="5504329" cy="273360"/>
          </a:xfrm>
          <a:prstGeom prst="rect">
            <a:avLst/>
          </a:prstGeom>
        </p:spPr>
        <p:txBody>
          <a:bodyPr vert="horz" wrap="square" lIns="0" tIns="15128" rIns="0" bIns="0" rtlCol="0">
            <a:spAutoFit/>
          </a:bodyPr>
          <a:lstStyle/>
          <a:p>
            <a:pPr marL="11206">
              <a:spcBef>
                <a:spcPts val="119"/>
              </a:spcBef>
            </a:pPr>
            <a:r>
              <a:rPr sz="1677" b="1" i="1" spc="18" dirty="0">
                <a:latin typeface="Segoe UI"/>
                <a:cs typeface="Segoe UI"/>
              </a:rPr>
              <a:t>Has </a:t>
            </a:r>
            <a:r>
              <a:rPr sz="1677" b="1" i="1" spc="13" dirty="0">
                <a:latin typeface="Segoe UI"/>
                <a:cs typeface="Segoe UI"/>
              </a:rPr>
              <a:t>the overall content of reviews changed over</a:t>
            </a:r>
            <a:r>
              <a:rPr sz="1677" b="1" i="1" spc="-49" dirty="0">
                <a:latin typeface="Segoe UI"/>
                <a:cs typeface="Segoe UI"/>
              </a:rPr>
              <a:t> </a:t>
            </a:r>
            <a:r>
              <a:rPr sz="1677" b="1" i="1" spc="13" dirty="0">
                <a:latin typeface="Segoe UI"/>
                <a:cs typeface="Segoe UI"/>
              </a:rPr>
              <a:t>time?</a:t>
            </a:r>
            <a:endParaRPr sz="1677" dirty="0">
              <a:latin typeface="Segoe UI"/>
              <a:cs typeface="Segoe UI"/>
            </a:endParaRPr>
          </a:p>
        </p:txBody>
      </p:sp>
      <p:sp>
        <p:nvSpPr>
          <p:cNvPr id="411" name="Oval 410"/>
          <p:cNvSpPr/>
          <p:nvPr/>
        </p:nvSpPr>
        <p:spPr>
          <a:xfrm rot="18181976">
            <a:off x="5290892" y="2497552"/>
            <a:ext cx="992978" cy="404599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618877D-EDD6-4E02-A361-B515F549E434}"/>
              </a:ext>
            </a:extLst>
          </p:cNvPr>
          <p:cNvSpPr/>
          <p:nvPr/>
        </p:nvSpPr>
        <p:spPr>
          <a:xfrm rot="17340000">
            <a:off x="3613285" y="3694026"/>
            <a:ext cx="293066" cy="655611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CC7765F8-2CB7-471C-897E-1295AED783D6}"/>
              </a:ext>
            </a:extLst>
          </p:cNvPr>
          <p:cNvSpPr/>
          <p:nvPr/>
        </p:nvSpPr>
        <p:spPr>
          <a:xfrm rot="13080000">
            <a:off x="1802414" y="3129249"/>
            <a:ext cx="293066" cy="655611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63AAB3B6-9019-4C5C-898E-1F0AD68AD222}"/>
              </a:ext>
            </a:extLst>
          </p:cNvPr>
          <p:cNvSpPr/>
          <p:nvPr/>
        </p:nvSpPr>
        <p:spPr>
          <a:xfrm rot="12660000">
            <a:off x="2624167" y="4900416"/>
            <a:ext cx="293066" cy="852834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CD072374-EDD3-44F1-B02A-8BFB9CA294DC}"/>
              </a:ext>
            </a:extLst>
          </p:cNvPr>
          <p:cNvSpPr/>
          <p:nvPr/>
        </p:nvSpPr>
        <p:spPr>
          <a:xfrm rot="12660000">
            <a:off x="1539437" y="5276933"/>
            <a:ext cx="293066" cy="852834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3" name="object 2">
            <a:extLst>
              <a:ext uri="{FF2B5EF4-FFF2-40B4-BE49-F238E27FC236}">
                <a16:creationId xmlns:a16="http://schemas.microsoft.com/office/drawing/2014/main" id="{EC19E517-5621-4F0A-B75F-E6A0CABC465B}"/>
              </a:ext>
            </a:extLst>
          </p:cNvPr>
          <p:cNvSpPr txBox="1"/>
          <p:nvPr/>
        </p:nvSpPr>
        <p:spPr>
          <a:xfrm>
            <a:off x="6921695" y="281859"/>
            <a:ext cx="660026" cy="196886"/>
          </a:xfrm>
          <a:prstGeom prst="rect">
            <a:avLst/>
          </a:prstGeom>
          <a:solidFill>
            <a:srgbClr val="FFC823"/>
          </a:solidFill>
          <a:ln w="10239">
            <a:solidFill>
              <a:srgbClr val="E9E9E9"/>
            </a:solidFill>
          </a:ln>
        </p:spPr>
        <p:txBody>
          <a:bodyPr vert="horz" wrap="square" lIns="0" tIns="42582" rIns="0" bIns="0" rtlCol="0">
            <a:spAutoFit/>
          </a:bodyPr>
          <a:lstStyle/>
          <a:p>
            <a:pPr marL="58274">
              <a:spcBef>
                <a:spcPts val="335"/>
              </a:spcBef>
            </a:pPr>
            <a:r>
              <a:rPr sz="1000" spc="9" dirty="0">
                <a:latin typeface="Arial Black"/>
                <a:cs typeface="Arial Black"/>
              </a:rPr>
              <a:t>1996</a:t>
            </a:r>
            <a:endParaRPr sz="1000" dirty="0">
              <a:latin typeface="Arial Black"/>
              <a:cs typeface="Arial Black"/>
            </a:endParaRPr>
          </a:p>
        </p:txBody>
      </p:sp>
      <p:sp>
        <p:nvSpPr>
          <p:cNvPr id="164" name="object 3">
            <a:extLst>
              <a:ext uri="{FF2B5EF4-FFF2-40B4-BE49-F238E27FC236}">
                <a16:creationId xmlns:a16="http://schemas.microsoft.com/office/drawing/2014/main" id="{FFDB2247-E8FB-4351-975B-DC85669458E0}"/>
              </a:ext>
            </a:extLst>
          </p:cNvPr>
          <p:cNvSpPr txBox="1"/>
          <p:nvPr/>
        </p:nvSpPr>
        <p:spPr>
          <a:xfrm>
            <a:off x="8514377" y="292020"/>
            <a:ext cx="660026" cy="196886"/>
          </a:xfrm>
          <a:prstGeom prst="rect">
            <a:avLst/>
          </a:prstGeom>
          <a:solidFill>
            <a:srgbClr val="FFC823"/>
          </a:solidFill>
          <a:ln w="10239">
            <a:solidFill>
              <a:srgbClr val="E9E9E9"/>
            </a:solidFill>
          </a:ln>
        </p:spPr>
        <p:txBody>
          <a:bodyPr vert="horz" wrap="square" lIns="0" tIns="42582" rIns="0" bIns="0" rtlCol="0">
            <a:spAutoFit/>
          </a:bodyPr>
          <a:lstStyle/>
          <a:p>
            <a:pPr marL="57713">
              <a:spcBef>
                <a:spcPts val="335"/>
              </a:spcBef>
            </a:pPr>
            <a:r>
              <a:rPr sz="1000" spc="9" dirty="0">
                <a:latin typeface="Arial Black"/>
                <a:cs typeface="Arial Black"/>
              </a:rPr>
              <a:t>2018</a:t>
            </a:r>
            <a:endParaRPr sz="1000" dirty="0">
              <a:latin typeface="Arial Black"/>
              <a:cs typeface="Arial Black"/>
            </a:endParaRPr>
          </a:p>
        </p:txBody>
      </p:sp>
      <p:grpSp>
        <p:nvGrpSpPr>
          <p:cNvPr id="165" name="object 4">
            <a:extLst>
              <a:ext uri="{FF2B5EF4-FFF2-40B4-BE49-F238E27FC236}">
                <a16:creationId xmlns:a16="http://schemas.microsoft.com/office/drawing/2014/main" id="{95CF5A60-DB9E-4434-84B9-57A3435FF434}"/>
              </a:ext>
            </a:extLst>
          </p:cNvPr>
          <p:cNvGrpSpPr/>
          <p:nvPr/>
        </p:nvGrpSpPr>
        <p:grpSpPr>
          <a:xfrm>
            <a:off x="6926197" y="585649"/>
            <a:ext cx="2312894" cy="235324"/>
            <a:chOff x="6626555" y="649843"/>
            <a:chExt cx="2621280" cy="266700"/>
          </a:xfrm>
        </p:grpSpPr>
        <p:sp>
          <p:nvSpPr>
            <p:cNvPr id="166" name="object 5">
              <a:extLst>
                <a:ext uri="{FF2B5EF4-FFF2-40B4-BE49-F238E27FC236}">
                  <a16:creationId xmlns:a16="http://schemas.microsoft.com/office/drawing/2014/main" id="{233039BC-2227-4143-83F0-EF14126F9D46}"/>
                </a:ext>
              </a:extLst>
            </p:cNvPr>
            <p:cNvSpPr/>
            <p:nvPr/>
          </p:nvSpPr>
          <p:spPr>
            <a:xfrm>
              <a:off x="6759667" y="762476"/>
              <a:ext cx="2375535" cy="31115"/>
            </a:xfrm>
            <a:custGeom>
              <a:avLst/>
              <a:gdLst/>
              <a:ahLst/>
              <a:cxnLst/>
              <a:rect l="l" t="t" r="r" b="b"/>
              <a:pathLst>
                <a:path w="2375534" h="31115">
                  <a:moveTo>
                    <a:pt x="2375534" y="30718"/>
                  </a:moveTo>
                  <a:lnTo>
                    <a:pt x="0" y="30718"/>
                  </a:lnTo>
                  <a:lnTo>
                    <a:pt x="0" y="0"/>
                  </a:lnTo>
                  <a:lnTo>
                    <a:pt x="2375534" y="0"/>
                  </a:lnTo>
                  <a:lnTo>
                    <a:pt x="2375534" y="30718"/>
                  </a:lnTo>
                  <a:close/>
                </a:path>
              </a:pathLst>
            </a:custGeom>
            <a:solidFill>
              <a:srgbClr val="E9E9E9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67" name="object 6">
              <a:extLst>
                <a:ext uri="{FF2B5EF4-FFF2-40B4-BE49-F238E27FC236}">
                  <a16:creationId xmlns:a16="http://schemas.microsoft.com/office/drawing/2014/main" id="{936E74EE-9897-4BD4-8A9C-060E5EB88C06}"/>
                </a:ext>
              </a:extLst>
            </p:cNvPr>
            <p:cNvSpPr/>
            <p:nvPr/>
          </p:nvSpPr>
          <p:spPr>
            <a:xfrm>
              <a:off x="6759667" y="762476"/>
              <a:ext cx="2375535" cy="31115"/>
            </a:xfrm>
            <a:custGeom>
              <a:avLst/>
              <a:gdLst/>
              <a:ahLst/>
              <a:cxnLst/>
              <a:rect l="l" t="t" r="r" b="b"/>
              <a:pathLst>
                <a:path w="2375534" h="31115">
                  <a:moveTo>
                    <a:pt x="2368122" y="30718"/>
                  </a:moveTo>
                  <a:lnTo>
                    <a:pt x="7411" y="30718"/>
                  </a:lnTo>
                  <a:lnTo>
                    <a:pt x="4998" y="29718"/>
                  </a:lnTo>
                  <a:lnTo>
                    <a:pt x="999" y="25719"/>
                  </a:lnTo>
                  <a:lnTo>
                    <a:pt x="0" y="23306"/>
                  </a:lnTo>
                  <a:lnTo>
                    <a:pt x="0" y="20478"/>
                  </a:lnTo>
                  <a:lnTo>
                    <a:pt x="0" y="7411"/>
                  </a:lnTo>
                  <a:lnTo>
                    <a:pt x="999" y="4998"/>
                  </a:lnTo>
                  <a:lnTo>
                    <a:pt x="4998" y="999"/>
                  </a:lnTo>
                  <a:lnTo>
                    <a:pt x="7411" y="0"/>
                  </a:lnTo>
                  <a:lnTo>
                    <a:pt x="2368122" y="0"/>
                  </a:lnTo>
                  <a:lnTo>
                    <a:pt x="2370536" y="999"/>
                  </a:lnTo>
                  <a:lnTo>
                    <a:pt x="2374534" y="4998"/>
                  </a:lnTo>
                  <a:lnTo>
                    <a:pt x="2375534" y="7411"/>
                  </a:lnTo>
                  <a:lnTo>
                    <a:pt x="2375534" y="23306"/>
                  </a:lnTo>
                  <a:lnTo>
                    <a:pt x="2374534" y="25719"/>
                  </a:lnTo>
                  <a:lnTo>
                    <a:pt x="2370536" y="29718"/>
                  </a:lnTo>
                  <a:lnTo>
                    <a:pt x="2368122" y="30718"/>
                  </a:lnTo>
                  <a:close/>
                </a:path>
              </a:pathLst>
            </a:custGeom>
            <a:solidFill>
              <a:srgbClr val="232E3F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68" name="object 7">
              <a:extLst>
                <a:ext uri="{FF2B5EF4-FFF2-40B4-BE49-F238E27FC236}">
                  <a16:creationId xmlns:a16="http://schemas.microsoft.com/office/drawing/2014/main" id="{139C3814-C0DE-465B-BF33-7F242CFB0E31}"/>
                </a:ext>
              </a:extLst>
            </p:cNvPr>
            <p:cNvSpPr/>
            <p:nvPr/>
          </p:nvSpPr>
          <p:spPr>
            <a:xfrm>
              <a:off x="9114723" y="762476"/>
              <a:ext cx="20955" cy="31115"/>
            </a:xfrm>
            <a:custGeom>
              <a:avLst/>
              <a:gdLst/>
              <a:ahLst/>
              <a:cxnLst/>
              <a:rect l="l" t="t" r="r" b="b"/>
              <a:pathLst>
                <a:path w="20954" h="31115">
                  <a:moveTo>
                    <a:pt x="20478" y="30718"/>
                  </a:moveTo>
                  <a:lnTo>
                    <a:pt x="0" y="30718"/>
                  </a:lnTo>
                  <a:lnTo>
                    <a:pt x="0" y="0"/>
                  </a:lnTo>
                  <a:lnTo>
                    <a:pt x="20478" y="0"/>
                  </a:lnTo>
                  <a:lnTo>
                    <a:pt x="20478" y="30718"/>
                  </a:lnTo>
                  <a:close/>
                </a:path>
              </a:pathLst>
            </a:custGeom>
            <a:solidFill>
              <a:srgbClr val="E9E9E9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69" name="object 8">
              <a:extLst>
                <a:ext uri="{FF2B5EF4-FFF2-40B4-BE49-F238E27FC236}">
                  <a16:creationId xmlns:a16="http://schemas.microsoft.com/office/drawing/2014/main" id="{02BF50F5-6354-45C2-94CF-F415EA1EDCCC}"/>
                </a:ext>
              </a:extLst>
            </p:cNvPr>
            <p:cNvSpPr/>
            <p:nvPr/>
          </p:nvSpPr>
          <p:spPr>
            <a:xfrm>
              <a:off x="6636794" y="660082"/>
              <a:ext cx="245745" cy="245744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0" name="object 9">
              <a:extLst>
                <a:ext uri="{FF2B5EF4-FFF2-40B4-BE49-F238E27FC236}">
                  <a16:creationId xmlns:a16="http://schemas.microsoft.com/office/drawing/2014/main" id="{BE8D7281-537D-4564-B3BE-A0168040CF1C}"/>
                </a:ext>
              </a:extLst>
            </p:cNvPr>
            <p:cNvSpPr/>
            <p:nvPr/>
          </p:nvSpPr>
          <p:spPr>
            <a:xfrm>
              <a:off x="6636794" y="660082"/>
              <a:ext cx="245745" cy="245745"/>
            </a:xfrm>
            <a:custGeom>
              <a:avLst/>
              <a:gdLst/>
              <a:ahLst/>
              <a:cxnLst/>
              <a:rect l="l" t="t" r="r" b="b"/>
              <a:pathLst>
                <a:path w="245745" h="245744">
                  <a:moveTo>
                    <a:pt x="245745" y="122872"/>
                  </a:moveTo>
                  <a:lnTo>
                    <a:pt x="239479" y="162439"/>
                  </a:lnTo>
                  <a:lnTo>
                    <a:pt x="236391" y="169893"/>
                  </a:lnTo>
                  <a:lnTo>
                    <a:pt x="233304" y="177347"/>
                  </a:lnTo>
                  <a:lnTo>
                    <a:pt x="229519" y="184428"/>
                  </a:lnTo>
                  <a:lnTo>
                    <a:pt x="225037" y="191136"/>
                  </a:lnTo>
                  <a:lnTo>
                    <a:pt x="220554" y="197844"/>
                  </a:lnTo>
                  <a:lnTo>
                    <a:pt x="215461" y="204051"/>
                  </a:lnTo>
                  <a:lnTo>
                    <a:pt x="209756" y="209756"/>
                  </a:lnTo>
                  <a:lnTo>
                    <a:pt x="204051" y="215461"/>
                  </a:lnTo>
                  <a:lnTo>
                    <a:pt x="169893" y="236391"/>
                  </a:lnTo>
                  <a:lnTo>
                    <a:pt x="162439" y="239479"/>
                  </a:lnTo>
                  <a:lnTo>
                    <a:pt x="154756" y="241810"/>
                  </a:lnTo>
                  <a:lnTo>
                    <a:pt x="146843" y="243383"/>
                  </a:lnTo>
                  <a:lnTo>
                    <a:pt x="138930" y="244957"/>
                  </a:lnTo>
                  <a:lnTo>
                    <a:pt x="130940" y="245744"/>
                  </a:lnTo>
                  <a:lnTo>
                    <a:pt x="122872" y="245744"/>
                  </a:lnTo>
                  <a:lnTo>
                    <a:pt x="114804" y="245744"/>
                  </a:lnTo>
                  <a:lnTo>
                    <a:pt x="106814" y="244957"/>
                  </a:lnTo>
                  <a:lnTo>
                    <a:pt x="98901" y="243383"/>
                  </a:lnTo>
                  <a:lnTo>
                    <a:pt x="90988" y="241810"/>
                  </a:lnTo>
                  <a:lnTo>
                    <a:pt x="83304" y="239479"/>
                  </a:lnTo>
                  <a:lnTo>
                    <a:pt x="75851" y="236391"/>
                  </a:lnTo>
                  <a:lnTo>
                    <a:pt x="68397" y="233304"/>
                  </a:lnTo>
                  <a:lnTo>
                    <a:pt x="61316" y="229519"/>
                  </a:lnTo>
                  <a:lnTo>
                    <a:pt x="54608" y="225037"/>
                  </a:lnTo>
                  <a:lnTo>
                    <a:pt x="47899" y="220554"/>
                  </a:lnTo>
                  <a:lnTo>
                    <a:pt x="20707" y="191136"/>
                  </a:lnTo>
                  <a:lnTo>
                    <a:pt x="9353" y="169893"/>
                  </a:lnTo>
                  <a:lnTo>
                    <a:pt x="6265" y="162439"/>
                  </a:lnTo>
                  <a:lnTo>
                    <a:pt x="3934" y="154756"/>
                  </a:lnTo>
                  <a:lnTo>
                    <a:pt x="2360" y="146843"/>
                  </a:lnTo>
                  <a:lnTo>
                    <a:pt x="786" y="138930"/>
                  </a:lnTo>
                  <a:lnTo>
                    <a:pt x="0" y="130940"/>
                  </a:lnTo>
                  <a:lnTo>
                    <a:pt x="0" y="122872"/>
                  </a:lnTo>
                  <a:lnTo>
                    <a:pt x="0" y="114804"/>
                  </a:lnTo>
                  <a:lnTo>
                    <a:pt x="786" y="106814"/>
                  </a:lnTo>
                  <a:lnTo>
                    <a:pt x="2360" y="98901"/>
                  </a:lnTo>
                  <a:lnTo>
                    <a:pt x="3934" y="90988"/>
                  </a:lnTo>
                  <a:lnTo>
                    <a:pt x="6265" y="83304"/>
                  </a:lnTo>
                  <a:lnTo>
                    <a:pt x="9353" y="75851"/>
                  </a:lnTo>
                  <a:lnTo>
                    <a:pt x="12440" y="68397"/>
                  </a:lnTo>
                  <a:lnTo>
                    <a:pt x="35988" y="35988"/>
                  </a:lnTo>
                  <a:lnTo>
                    <a:pt x="41693" y="30283"/>
                  </a:lnTo>
                  <a:lnTo>
                    <a:pt x="47899" y="25190"/>
                  </a:lnTo>
                  <a:lnTo>
                    <a:pt x="54608" y="20707"/>
                  </a:lnTo>
                  <a:lnTo>
                    <a:pt x="61316" y="16225"/>
                  </a:lnTo>
                  <a:lnTo>
                    <a:pt x="98901" y="2360"/>
                  </a:lnTo>
                  <a:lnTo>
                    <a:pt x="114804" y="0"/>
                  </a:lnTo>
                  <a:lnTo>
                    <a:pt x="122872" y="0"/>
                  </a:lnTo>
                  <a:lnTo>
                    <a:pt x="130940" y="0"/>
                  </a:lnTo>
                  <a:lnTo>
                    <a:pt x="138930" y="786"/>
                  </a:lnTo>
                  <a:lnTo>
                    <a:pt x="146843" y="2360"/>
                  </a:lnTo>
                  <a:lnTo>
                    <a:pt x="154756" y="3934"/>
                  </a:lnTo>
                  <a:lnTo>
                    <a:pt x="191136" y="20707"/>
                  </a:lnTo>
                  <a:lnTo>
                    <a:pt x="209756" y="35988"/>
                  </a:lnTo>
                  <a:lnTo>
                    <a:pt x="215461" y="41693"/>
                  </a:lnTo>
                  <a:lnTo>
                    <a:pt x="220554" y="47899"/>
                  </a:lnTo>
                  <a:lnTo>
                    <a:pt x="225037" y="54608"/>
                  </a:lnTo>
                  <a:lnTo>
                    <a:pt x="229519" y="61316"/>
                  </a:lnTo>
                  <a:lnTo>
                    <a:pt x="233304" y="68397"/>
                  </a:lnTo>
                  <a:lnTo>
                    <a:pt x="236391" y="75851"/>
                  </a:lnTo>
                  <a:lnTo>
                    <a:pt x="239479" y="83304"/>
                  </a:lnTo>
                  <a:lnTo>
                    <a:pt x="241810" y="90988"/>
                  </a:lnTo>
                  <a:lnTo>
                    <a:pt x="243384" y="98901"/>
                  </a:lnTo>
                  <a:lnTo>
                    <a:pt x="244957" y="106814"/>
                  </a:lnTo>
                  <a:lnTo>
                    <a:pt x="245744" y="114804"/>
                  </a:lnTo>
                  <a:lnTo>
                    <a:pt x="245745" y="122872"/>
                  </a:lnTo>
                  <a:close/>
                </a:path>
              </a:pathLst>
            </a:custGeom>
            <a:ln w="20478">
              <a:solidFill>
                <a:srgbClr val="232E3F"/>
              </a:solidFill>
            </a:ln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1" name="object 10">
              <a:extLst>
                <a:ext uri="{FF2B5EF4-FFF2-40B4-BE49-F238E27FC236}">
                  <a16:creationId xmlns:a16="http://schemas.microsoft.com/office/drawing/2014/main" id="{5B19B981-8948-4E22-B210-3B56E5F115FD}"/>
                </a:ext>
              </a:extLst>
            </p:cNvPr>
            <p:cNvSpPr/>
            <p:nvPr/>
          </p:nvSpPr>
          <p:spPr>
            <a:xfrm>
              <a:off x="8991850" y="660082"/>
              <a:ext cx="245745" cy="245744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2" name="object 11">
              <a:extLst>
                <a:ext uri="{FF2B5EF4-FFF2-40B4-BE49-F238E27FC236}">
                  <a16:creationId xmlns:a16="http://schemas.microsoft.com/office/drawing/2014/main" id="{EDB76180-1093-45F0-8C72-5B7B7473628D}"/>
                </a:ext>
              </a:extLst>
            </p:cNvPr>
            <p:cNvSpPr/>
            <p:nvPr/>
          </p:nvSpPr>
          <p:spPr>
            <a:xfrm>
              <a:off x="8991850" y="660082"/>
              <a:ext cx="245745" cy="245745"/>
            </a:xfrm>
            <a:custGeom>
              <a:avLst/>
              <a:gdLst/>
              <a:ahLst/>
              <a:cxnLst/>
              <a:rect l="l" t="t" r="r" b="b"/>
              <a:pathLst>
                <a:path w="245745" h="245744">
                  <a:moveTo>
                    <a:pt x="245745" y="122872"/>
                  </a:moveTo>
                  <a:lnTo>
                    <a:pt x="245745" y="130940"/>
                  </a:lnTo>
                  <a:lnTo>
                    <a:pt x="244958" y="138930"/>
                  </a:lnTo>
                  <a:lnTo>
                    <a:pt x="243384" y="146843"/>
                  </a:lnTo>
                  <a:lnTo>
                    <a:pt x="241810" y="154756"/>
                  </a:lnTo>
                  <a:lnTo>
                    <a:pt x="225036" y="191136"/>
                  </a:lnTo>
                  <a:lnTo>
                    <a:pt x="220554" y="197844"/>
                  </a:lnTo>
                  <a:lnTo>
                    <a:pt x="191136" y="225037"/>
                  </a:lnTo>
                  <a:lnTo>
                    <a:pt x="184428" y="229519"/>
                  </a:lnTo>
                  <a:lnTo>
                    <a:pt x="177347" y="233304"/>
                  </a:lnTo>
                  <a:lnTo>
                    <a:pt x="169893" y="236391"/>
                  </a:lnTo>
                  <a:lnTo>
                    <a:pt x="162440" y="239479"/>
                  </a:lnTo>
                  <a:lnTo>
                    <a:pt x="154756" y="241810"/>
                  </a:lnTo>
                  <a:lnTo>
                    <a:pt x="146843" y="243383"/>
                  </a:lnTo>
                  <a:lnTo>
                    <a:pt x="138930" y="244957"/>
                  </a:lnTo>
                  <a:lnTo>
                    <a:pt x="130940" y="245744"/>
                  </a:lnTo>
                  <a:lnTo>
                    <a:pt x="122872" y="245744"/>
                  </a:lnTo>
                  <a:lnTo>
                    <a:pt x="114804" y="245744"/>
                  </a:lnTo>
                  <a:lnTo>
                    <a:pt x="75851" y="236391"/>
                  </a:lnTo>
                  <a:lnTo>
                    <a:pt x="68397" y="233304"/>
                  </a:lnTo>
                  <a:lnTo>
                    <a:pt x="35988" y="209756"/>
                  </a:lnTo>
                  <a:lnTo>
                    <a:pt x="12440" y="177347"/>
                  </a:lnTo>
                  <a:lnTo>
                    <a:pt x="9353" y="169893"/>
                  </a:lnTo>
                  <a:lnTo>
                    <a:pt x="6265" y="162439"/>
                  </a:lnTo>
                  <a:lnTo>
                    <a:pt x="3934" y="154756"/>
                  </a:lnTo>
                  <a:lnTo>
                    <a:pt x="2360" y="146843"/>
                  </a:lnTo>
                  <a:lnTo>
                    <a:pt x="786" y="138930"/>
                  </a:lnTo>
                  <a:lnTo>
                    <a:pt x="0" y="130940"/>
                  </a:lnTo>
                  <a:lnTo>
                    <a:pt x="0" y="122872"/>
                  </a:lnTo>
                  <a:lnTo>
                    <a:pt x="0" y="114804"/>
                  </a:lnTo>
                  <a:lnTo>
                    <a:pt x="786" y="106814"/>
                  </a:lnTo>
                  <a:lnTo>
                    <a:pt x="2360" y="98901"/>
                  </a:lnTo>
                  <a:lnTo>
                    <a:pt x="3934" y="90988"/>
                  </a:lnTo>
                  <a:lnTo>
                    <a:pt x="6265" y="83304"/>
                  </a:lnTo>
                  <a:lnTo>
                    <a:pt x="9353" y="75851"/>
                  </a:lnTo>
                  <a:lnTo>
                    <a:pt x="12440" y="68397"/>
                  </a:lnTo>
                  <a:lnTo>
                    <a:pt x="16225" y="61316"/>
                  </a:lnTo>
                  <a:lnTo>
                    <a:pt x="20707" y="54608"/>
                  </a:lnTo>
                  <a:lnTo>
                    <a:pt x="25190" y="47899"/>
                  </a:lnTo>
                  <a:lnTo>
                    <a:pt x="30283" y="41693"/>
                  </a:lnTo>
                  <a:lnTo>
                    <a:pt x="35988" y="35988"/>
                  </a:lnTo>
                  <a:lnTo>
                    <a:pt x="41693" y="30283"/>
                  </a:lnTo>
                  <a:lnTo>
                    <a:pt x="47899" y="25190"/>
                  </a:lnTo>
                  <a:lnTo>
                    <a:pt x="54608" y="20707"/>
                  </a:lnTo>
                  <a:lnTo>
                    <a:pt x="61316" y="16225"/>
                  </a:lnTo>
                  <a:lnTo>
                    <a:pt x="98901" y="2360"/>
                  </a:lnTo>
                  <a:lnTo>
                    <a:pt x="114804" y="0"/>
                  </a:lnTo>
                  <a:lnTo>
                    <a:pt x="122872" y="0"/>
                  </a:lnTo>
                  <a:lnTo>
                    <a:pt x="130940" y="0"/>
                  </a:lnTo>
                  <a:lnTo>
                    <a:pt x="138930" y="786"/>
                  </a:lnTo>
                  <a:lnTo>
                    <a:pt x="146843" y="2360"/>
                  </a:lnTo>
                  <a:lnTo>
                    <a:pt x="154756" y="3934"/>
                  </a:lnTo>
                  <a:lnTo>
                    <a:pt x="162440" y="6265"/>
                  </a:lnTo>
                  <a:lnTo>
                    <a:pt x="169893" y="9353"/>
                  </a:lnTo>
                  <a:lnTo>
                    <a:pt x="177347" y="12440"/>
                  </a:lnTo>
                  <a:lnTo>
                    <a:pt x="184428" y="16225"/>
                  </a:lnTo>
                  <a:lnTo>
                    <a:pt x="191136" y="20707"/>
                  </a:lnTo>
                  <a:lnTo>
                    <a:pt x="197844" y="25190"/>
                  </a:lnTo>
                  <a:lnTo>
                    <a:pt x="204051" y="30283"/>
                  </a:lnTo>
                  <a:lnTo>
                    <a:pt x="209756" y="35988"/>
                  </a:lnTo>
                  <a:lnTo>
                    <a:pt x="215461" y="41693"/>
                  </a:lnTo>
                  <a:lnTo>
                    <a:pt x="220554" y="47899"/>
                  </a:lnTo>
                  <a:lnTo>
                    <a:pt x="225037" y="54608"/>
                  </a:lnTo>
                  <a:lnTo>
                    <a:pt x="229519" y="61316"/>
                  </a:lnTo>
                  <a:lnTo>
                    <a:pt x="243384" y="98901"/>
                  </a:lnTo>
                  <a:lnTo>
                    <a:pt x="245745" y="114804"/>
                  </a:lnTo>
                  <a:lnTo>
                    <a:pt x="245745" y="122872"/>
                  </a:lnTo>
                  <a:close/>
                </a:path>
              </a:pathLst>
            </a:custGeom>
            <a:ln w="20478">
              <a:solidFill>
                <a:srgbClr val="232E3F"/>
              </a:solidFill>
            </a:ln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AAD99729-BB95-437F-8A13-7209B8CCE533}"/>
              </a:ext>
            </a:extLst>
          </p:cNvPr>
          <p:cNvGrpSpPr/>
          <p:nvPr/>
        </p:nvGrpSpPr>
        <p:grpSpPr>
          <a:xfrm>
            <a:off x="9468656" y="222675"/>
            <a:ext cx="2373835" cy="651351"/>
            <a:chOff x="9138521" y="167673"/>
            <a:chExt cx="2373835" cy="651351"/>
          </a:xfrm>
        </p:grpSpPr>
        <p:sp>
          <p:nvSpPr>
            <p:cNvPr id="185" name="object 2">
              <a:extLst>
                <a:ext uri="{FF2B5EF4-FFF2-40B4-BE49-F238E27FC236}">
                  <a16:creationId xmlns:a16="http://schemas.microsoft.com/office/drawing/2014/main" id="{99CC3841-5E87-4E88-9750-E5B1DBECFDDA}"/>
                </a:ext>
              </a:extLst>
            </p:cNvPr>
            <p:cNvSpPr txBox="1"/>
            <p:nvPr/>
          </p:nvSpPr>
          <p:spPr>
            <a:xfrm>
              <a:off x="9138521" y="167673"/>
              <a:ext cx="1553301" cy="228455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lang="en-US" sz="1400" b="1" dirty="0">
                  <a:solidFill>
                    <a:srgbClr val="252423"/>
                  </a:solidFill>
                  <a:cs typeface="Arial Black"/>
                </a:rPr>
                <a:t>Review Category</a:t>
              </a:r>
            </a:p>
          </p:txBody>
        </p: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A5116120-D4F9-4556-8130-4861F53A017A}"/>
                </a:ext>
              </a:extLst>
            </p:cNvPr>
            <p:cNvGrpSpPr/>
            <p:nvPr/>
          </p:nvGrpSpPr>
          <p:grpSpPr>
            <a:xfrm>
              <a:off x="9147770" y="420493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193" name="Rectangle: Rounded Corners 192">
                <a:extLst>
                  <a:ext uri="{FF2B5EF4-FFF2-40B4-BE49-F238E27FC236}">
                    <a16:creationId xmlns:a16="http://schemas.microsoft.com/office/drawing/2014/main" id="{6FAB5887-01D7-458E-B66D-006849EF41FF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4" name="Rectangle: Rounded Corners 4">
                <a:extLst>
                  <a:ext uri="{FF2B5EF4-FFF2-40B4-BE49-F238E27FC236}">
                    <a16:creationId xmlns:a16="http://schemas.microsoft.com/office/drawing/2014/main" id="{5AAC1F72-B772-4396-8656-ABD15FC1AC40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Books</a:t>
                </a:r>
              </a:p>
            </p:txBody>
          </p:sp>
        </p:grpSp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428DDB59-D79F-4E7F-B031-F5E0FC643D88}"/>
                </a:ext>
              </a:extLst>
            </p:cNvPr>
            <p:cNvGrpSpPr/>
            <p:nvPr/>
          </p:nvGrpSpPr>
          <p:grpSpPr>
            <a:xfrm>
              <a:off x="9946109" y="423737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191" name="Rectangle: Rounded Corners 190">
                <a:extLst>
                  <a:ext uri="{FF2B5EF4-FFF2-40B4-BE49-F238E27FC236}">
                    <a16:creationId xmlns:a16="http://schemas.microsoft.com/office/drawing/2014/main" id="{7172064C-3863-4755-8630-40EB44C0EA16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2" name="Rectangle: Rounded Corners 4">
                <a:extLst>
                  <a:ext uri="{FF2B5EF4-FFF2-40B4-BE49-F238E27FC236}">
                    <a16:creationId xmlns:a16="http://schemas.microsoft.com/office/drawing/2014/main" id="{C73F0681-DE3B-4DF4-B92A-A23ACB68974B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Home &amp; Kitchen</a:t>
                </a:r>
              </a:p>
            </p:txBody>
          </p:sp>
        </p:grpSp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B42D8636-A391-4BEE-9FA0-BB229A8DC767}"/>
                </a:ext>
              </a:extLst>
            </p:cNvPr>
            <p:cNvGrpSpPr/>
            <p:nvPr/>
          </p:nvGrpSpPr>
          <p:grpSpPr>
            <a:xfrm>
              <a:off x="10744260" y="427942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189" name="Rectangle: Rounded Corners 188">
                <a:extLst>
                  <a:ext uri="{FF2B5EF4-FFF2-40B4-BE49-F238E27FC236}">
                    <a16:creationId xmlns:a16="http://schemas.microsoft.com/office/drawing/2014/main" id="{B49DD7B6-C0CE-4ABD-AAE9-81E325C030D0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0" name="Rectangle: Rounded Corners 4">
                <a:extLst>
                  <a:ext uri="{FF2B5EF4-FFF2-40B4-BE49-F238E27FC236}">
                    <a16:creationId xmlns:a16="http://schemas.microsoft.com/office/drawing/2014/main" id="{85770B08-33BA-4302-AA3D-4574C7AFCA24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Video games</a:t>
                </a:r>
              </a:p>
            </p:txBody>
          </p:sp>
        </p:grp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1EE28D-CC4D-4663-A554-3765D5052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3498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" name="object 412"/>
          <p:cNvSpPr txBox="1"/>
          <p:nvPr/>
        </p:nvSpPr>
        <p:spPr>
          <a:xfrm>
            <a:off x="3552688" y="6453773"/>
            <a:ext cx="279026" cy="185002"/>
          </a:xfrm>
          <a:prstGeom prst="rect">
            <a:avLst/>
          </a:prstGeom>
        </p:spPr>
        <p:txBody>
          <a:bodyPr vert="horz" wrap="square" lIns="0" tIns="15128" rIns="0" bIns="0" rtlCol="0">
            <a:spAutoFit/>
          </a:bodyPr>
          <a:lstStyle/>
          <a:p>
            <a:pPr marL="11206">
              <a:spcBef>
                <a:spcPts val="119"/>
              </a:spcBef>
            </a:pPr>
            <a:r>
              <a:rPr sz="1103" spc="-101" dirty="0">
                <a:solidFill>
                  <a:srgbClr val="252423"/>
                </a:solidFill>
                <a:latin typeface="Arial Narrow"/>
                <a:cs typeface="Arial Narrow"/>
              </a:rPr>
              <a:t>Y</a:t>
            </a:r>
            <a:r>
              <a:rPr sz="1103" spc="66" dirty="0">
                <a:solidFill>
                  <a:srgbClr val="252423"/>
                </a:solidFill>
                <a:latin typeface="Arial Narrow"/>
                <a:cs typeface="Arial Narrow"/>
              </a:rPr>
              <a:t>ear</a:t>
            </a:r>
            <a:endParaRPr sz="1103" dirty="0">
              <a:latin typeface="Arial Narrow"/>
              <a:cs typeface="Arial Narrow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4F69D1C-9436-4839-A969-F79B2B3A8973}"/>
              </a:ext>
            </a:extLst>
          </p:cNvPr>
          <p:cNvGrpSpPr/>
          <p:nvPr/>
        </p:nvGrpSpPr>
        <p:grpSpPr>
          <a:xfrm>
            <a:off x="347732" y="3871072"/>
            <a:ext cx="6423226" cy="2575100"/>
            <a:chOff x="347732" y="3928323"/>
            <a:chExt cx="6423226" cy="2517849"/>
          </a:xfrm>
        </p:grpSpPr>
        <p:grpSp>
          <p:nvGrpSpPr>
            <p:cNvPr id="327" name="object 327"/>
            <p:cNvGrpSpPr/>
            <p:nvPr/>
          </p:nvGrpSpPr>
          <p:grpSpPr>
            <a:xfrm>
              <a:off x="890587" y="6274898"/>
              <a:ext cx="443192" cy="9525"/>
              <a:chOff x="653732" y="7111551"/>
              <a:chExt cx="502284" cy="10795"/>
            </a:xfrm>
          </p:grpSpPr>
          <p:sp>
            <p:nvSpPr>
              <p:cNvPr id="328" name="object 328"/>
              <p:cNvSpPr/>
              <p:nvPr/>
            </p:nvSpPr>
            <p:spPr>
              <a:xfrm>
                <a:off x="653719" y="7111555"/>
                <a:ext cx="502284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502284" h="1079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10"/>
                    </a:lnTo>
                    <a:lnTo>
                      <a:pt x="10248" y="10210"/>
                    </a:lnTo>
                    <a:lnTo>
                      <a:pt x="10248" y="0"/>
                    </a:lnTo>
                    <a:close/>
                  </a:path>
                  <a:path w="502284" h="10795">
                    <a:moveTo>
                      <a:pt x="71716" y="0"/>
                    </a:moveTo>
                    <a:lnTo>
                      <a:pt x="61480" y="0"/>
                    </a:lnTo>
                    <a:lnTo>
                      <a:pt x="61480" y="10210"/>
                    </a:lnTo>
                    <a:lnTo>
                      <a:pt x="71716" y="10210"/>
                    </a:lnTo>
                    <a:lnTo>
                      <a:pt x="71716" y="0"/>
                    </a:lnTo>
                    <a:close/>
                  </a:path>
                  <a:path w="502284" h="10795">
                    <a:moveTo>
                      <a:pt x="133184" y="0"/>
                    </a:moveTo>
                    <a:lnTo>
                      <a:pt x="122948" y="0"/>
                    </a:lnTo>
                    <a:lnTo>
                      <a:pt x="122948" y="10210"/>
                    </a:lnTo>
                    <a:lnTo>
                      <a:pt x="133184" y="10210"/>
                    </a:lnTo>
                    <a:lnTo>
                      <a:pt x="133184" y="0"/>
                    </a:lnTo>
                    <a:close/>
                  </a:path>
                  <a:path w="502284" h="10795">
                    <a:moveTo>
                      <a:pt x="194665" y="0"/>
                    </a:moveTo>
                    <a:lnTo>
                      <a:pt x="184416" y="0"/>
                    </a:lnTo>
                    <a:lnTo>
                      <a:pt x="184416" y="10210"/>
                    </a:lnTo>
                    <a:lnTo>
                      <a:pt x="194665" y="10210"/>
                    </a:lnTo>
                    <a:lnTo>
                      <a:pt x="194665" y="0"/>
                    </a:lnTo>
                    <a:close/>
                  </a:path>
                  <a:path w="502284" h="10795">
                    <a:moveTo>
                      <a:pt x="256133" y="0"/>
                    </a:moveTo>
                    <a:lnTo>
                      <a:pt x="245884" y="0"/>
                    </a:lnTo>
                    <a:lnTo>
                      <a:pt x="245884" y="10210"/>
                    </a:lnTo>
                    <a:lnTo>
                      <a:pt x="256133" y="10210"/>
                    </a:lnTo>
                    <a:lnTo>
                      <a:pt x="256133" y="0"/>
                    </a:lnTo>
                    <a:close/>
                  </a:path>
                  <a:path w="502284" h="10795">
                    <a:moveTo>
                      <a:pt x="317601" y="0"/>
                    </a:moveTo>
                    <a:lnTo>
                      <a:pt x="307352" y="0"/>
                    </a:lnTo>
                    <a:lnTo>
                      <a:pt x="307352" y="10210"/>
                    </a:lnTo>
                    <a:lnTo>
                      <a:pt x="317601" y="10210"/>
                    </a:lnTo>
                    <a:lnTo>
                      <a:pt x="317601" y="0"/>
                    </a:lnTo>
                    <a:close/>
                  </a:path>
                  <a:path w="502284" h="10795">
                    <a:moveTo>
                      <a:pt x="379069" y="0"/>
                    </a:moveTo>
                    <a:lnTo>
                      <a:pt x="368820" y="0"/>
                    </a:lnTo>
                    <a:lnTo>
                      <a:pt x="368820" y="10210"/>
                    </a:lnTo>
                    <a:lnTo>
                      <a:pt x="379069" y="10210"/>
                    </a:lnTo>
                    <a:lnTo>
                      <a:pt x="379069" y="0"/>
                    </a:lnTo>
                    <a:close/>
                  </a:path>
                  <a:path w="502284" h="10795">
                    <a:moveTo>
                      <a:pt x="440537" y="0"/>
                    </a:moveTo>
                    <a:lnTo>
                      <a:pt x="430301" y="0"/>
                    </a:lnTo>
                    <a:lnTo>
                      <a:pt x="430301" y="10210"/>
                    </a:lnTo>
                    <a:lnTo>
                      <a:pt x="440537" y="10210"/>
                    </a:lnTo>
                    <a:lnTo>
                      <a:pt x="440537" y="0"/>
                    </a:lnTo>
                    <a:close/>
                  </a:path>
                  <a:path w="502284" h="10795">
                    <a:moveTo>
                      <a:pt x="502005" y="0"/>
                    </a:moveTo>
                    <a:lnTo>
                      <a:pt x="491769" y="0"/>
                    </a:lnTo>
                    <a:lnTo>
                      <a:pt x="491769" y="10210"/>
                    </a:lnTo>
                    <a:lnTo>
                      <a:pt x="502005" y="10210"/>
                    </a:lnTo>
                    <a:lnTo>
                      <a:pt x="502005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9" name="object 329"/>
              <p:cNvSpPr/>
              <p:nvPr/>
            </p:nvSpPr>
            <p:spPr>
              <a:xfrm>
                <a:off x="932235" y="7115990"/>
                <a:ext cx="222885" cy="1270"/>
              </a:xfrm>
              <a:custGeom>
                <a:avLst/>
                <a:gdLst/>
                <a:ahLst/>
                <a:cxnLst/>
                <a:rect l="l" t="t" r="r" b="b"/>
                <a:pathLst>
                  <a:path w="222884" h="1270">
                    <a:moveTo>
                      <a:pt x="222802" y="663"/>
                    </a:moveTo>
                    <a:lnTo>
                      <a:pt x="0" y="663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663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0" name="object 330"/>
              <p:cNvSpPr/>
              <p:nvPr/>
            </p:nvSpPr>
            <p:spPr>
              <a:xfrm>
                <a:off x="932230" y="7115530"/>
                <a:ext cx="222885" cy="635"/>
              </a:xfrm>
              <a:custGeom>
                <a:avLst/>
                <a:gdLst/>
                <a:ahLst/>
                <a:cxnLst/>
                <a:rect l="l" t="t" r="r" b="b"/>
                <a:pathLst>
                  <a:path w="222884" h="634">
                    <a:moveTo>
                      <a:pt x="222796" y="0"/>
                    </a:moveTo>
                    <a:lnTo>
                      <a:pt x="0" y="0"/>
                    </a:lnTo>
                    <a:lnTo>
                      <a:pt x="0" y="469"/>
                    </a:lnTo>
                    <a:lnTo>
                      <a:pt x="222796" y="469"/>
                    </a:lnTo>
                    <a:lnTo>
                      <a:pt x="222796" y="0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grpSp>
          <p:nvGrpSpPr>
            <p:cNvPr id="331" name="object 331"/>
            <p:cNvGrpSpPr/>
            <p:nvPr/>
          </p:nvGrpSpPr>
          <p:grpSpPr>
            <a:xfrm>
              <a:off x="1378733" y="6272114"/>
              <a:ext cx="445993" cy="12326"/>
              <a:chOff x="1206963" y="7108396"/>
              <a:chExt cx="505459" cy="13970"/>
            </a:xfrm>
          </p:grpSpPr>
          <p:sp>
            <p:nvSpPr>
              <p:cNvPr id="332" name="object 332"/>
              <p:cNvSpPr/>
              <p:nvPr/>
            </p:nvSpPr>
            <p:spPr>
              <a:xfrm>
                <a:off x="1206957" y="7111555"/>
                <a:ext cx="25654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256540" h="1079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10"/>
                    </a:lnTo>
                    <a:lnTo>
                      <a:pt x="10248" y="10210"/>
                    </a:lnTo>
                    <a:lnTo>
                      <a:pt x="10248" y="0"/>
                    </a:lnTo>
                    <a:close/>
                  </a:path>
                  <a:path w="256540" h="10795">
                    <a:moveTo>
                      <a:pt x="71716" y="0"/>
                    </a:moveTo>
                    <a:lnTo>
                      <a:pt x="61468" y="0"/>
                    </a:lnTo>
                    <a:lnTo>
                      <a:pt x="61468" y="10210"/>
                    </a:lnTo>
                    <a:lnTo>
                      <a:pt x="71716" y="10210"/>
                    </a:lnTo>
                    <a:lnTo>
                      <a:pt x="71716" y="0"/>
                    </a:lnTo>
                    <a:close/>
                  </a:path>
                  <a:path w="256540" h="10795">
                    <a:moveTo>
                      <a:pt x="133184" y="0"/>
                    </a:moveTo>
                    <a:lnTo>
                      <a:pt x="122936" y="0"/>
                    </a:lnTo>
                    <a:lnTo>
                      <a:pt x="122936" y="10210"/>
                    </a:lnTo>
                    <a:lnTo>
                      <a:pt x="133184" y="10210"/>
                    </a:lnTo>
                    <a:lnTo>
                      <a:pt x="133184" y="0"/>
                    </a:lnTo>
                    <a:close/>
                  </a:path>
                  <a:path w="256540" h="10795">
                    <a:moveTo>
                      <a:pt x="194652" y="0"/>
                    </a:moveTo>
                    <a:lnTo>
                      <a:pt x="184404" y="0"/>
                    </a:lnTo>
                    <a:lnTo>
                      <a:pt x="184404" y="10210"/>
                    </a:lnTo>
                    <a:lnTo>
                      <a:pt x="194652" y="10210"/>
                    </a:lnTo>
                    <a:lnTo>
                      <a:pt x="194652" y="0"/>
                    </a:lnTo>
                    <a:close/>
                  </a:path>
                  <a:path w="256540" h="10795">
                    <a:moveTo>
                      <a:pt x="256120" y="0"/>
                    </a:moveTo>
                    <a:lnTo>
                      <a:pt x="245884" y="0"/>
                    </a:lnTo>
                    <a:lnTo>
                      <a:pt x="245884" y="10210"/>
                    </a:lnTo>
                    <a:lnTo>
                      <a:pt x="256120" y="10210"/>
                    </a:lnTo>
                    <a:lnTo>
                      <a:pt x="256120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3" name="object 333"/>
              <p:cNvSpPr/>
              <p:nvPr/>
            </p:nvSpPr>
            <p:spPr>
              <a:xfrm>
                <a:off x="1210739" y="7113832"/>
                <a:ext cx="222885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222884" h="3175">
                    <a:moveTo>
                      <a:pt x="222802" y="2822"/>
                    </a:moveTo>
                    <a:lnTo>
                      <a:pt x="0" y="2822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2822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4" name="object 334"/>
              <p:cNvSpPr/>
              <p:nvPr/>
            </p:nvSpPr>
            <p:spPr>
              <a:xfrm>
                <a:off x="1514310" y="7111555"/>
                <a:ext cx="194945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194944" h="10795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10"/>
                    </a:lnTo>
                    <a:lnTo>
                      <a:pt x="10236" y="10210"/>
                    </a:lnTo>
                    <a:lnTo>
                      <a:pt x="10236" y="0"/>
                    </a:lnTo>
                    <a:close/>
                  </a:path>
                  <a:path w="194944" h="10795">
                    <a:moveTo>
                      <a:pt x="71716" y="0"/>
                    </a:moveTo>
                    <a:lnTo>
                      <a:pt x="61468" y="0"/>
                    </a:lnTo>
                    <a:lnTo>
                      <a:pt x="61468" y="10210"/>
                    </a:lnTo>
                    <a:lnTo>
                      <a:pt x="71716" y="10210"/>
                    </a:lnTo>
                    <a:lnTo>
                      <a:pt x="71716" y="0"/>
                    </a:lnTo>
                    <a:close/>
                  </a:path>
                  <a:path w="194944" h="10795">
                    <a:moveTo>
                      <a:pt x="133184" y="0"/>
                    </a:moveTo>
                    <a:lnTo>
                      <a:pt x="122936" y="0"/>
                    </a:lnTo>
                    <a:lnTo>
                      <a:pt x="122936" y="10210"/>
                    </a:lnTo>
                    <a:lnTo>
                      <a:pt x="133184" y="10210"/>
                    </a:lnTo>
                    <a:lnTo>
                      <a:pt x="133184" y="0"/>
                    </a:lnTo>
                    <a:close/>
                  </a:path>
                  <a:path w="194944" h="10795">
                    <a:moveTo>
                      <a:pt x="194652" y="0"/>
                    </a:moveTo>
                    <a:lnTo>
                      <a:pt x="184404" y="0"/>
                    </a:lnTo>
                    <a:lnTo>
                      <a:pt x="184404" y="10210"/>
                    </a:lnTo>
                    <a:lnTo>
                      <a:pt x="194652" y="10210"/>
                    </a:lnTo>
                    <a:lnTo>
                      <a:pt x="194652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5" name="object 335"/>
              <p:cNvSpPr/>
              <p:nvPr/>
            </p:nvSpPr>
            <p:spPr>
              <a:xfrm>
                <a:off x="1489242" y="7113680"/>
                <a:ext cx="222885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3175">
                    <a:moveTo>
                      <a:pt x="222802" y="2974"/>
                    </a:moveTo>
                    <a:lnTo>
                      <a:pt x="0" y="2974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2974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6" name="object 336"/>
              <p:cNvSpPr/>
              <p:nvPr/>
            </p:nvSpPr>
            <p:spPr>
              <a:xfrm>
                <a:off x="1210729" y="7108406"/>
                <a:ext cx="501650" cy="5715"/>
              </a:xfrm>
              <a:custGeom>
                <a:avLst/>
                <a:gdLst/>
                <a:ahLst/>
                <a:cxnLst/>
                <a:rect l="l" t="t" r="r" b="b"/>
                <a:pathLst>
                  <a:path w="501650" h="5715">
                    <a:moveTo>
                      <a:pt x="222808" y="3403"/>
                    </a:moveTo>
                    <a:lnTo>
                      <a:pt x="0" y="3403"/>
                    </a:lnTo>
                    <a:lnTo>
                      <a:pt x="0" y="5435"/>
                    </a:lnTo>
                    <a:lnTo>
                      <a:pt x="222808" y="5435"/>
                    </a:lnTo>
                    <a:lnTo>
                      <a:pt x="222808" y="3403"/>
                    </a:lnTo>
                    <a:close/>
                  </a:path>
                  <a:path w="501650" h="5715">
                    <a:moveTo>
                      <a:pt x="501307" y="0"/>
                    </a:moveTo>
                    <a:lnTo>
                      <a:pt x="278511" y="0"/>
                    </a:lnTo>
                    <a:lnTo>
                      <a:pt x="278511" y="5283"/>
                    </a:lnTo>
                    <a:lnTo>
                      <a:pt x="501307" y="5283"/>
                    </a:lnTo>
                    <a:lnTo>
                      <a:pt x="501307" y="0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grpSp>
          <p:nvGrpSpPr>
            <p:cNvPr id="337" name="object 337"/>
            <p:cNvGrpSpPr/>
            <p:nvPr/>
          </p:nvGrpSpPr>
          <p:grpSpPr>
            <a:xfrm>
              <a:off x="1866877" y="6111746"/>
              <a:ext cx="2178984" cy="172571"/>
              <a:chOff x="1760193" y="6926646"/>
              <a:chExt cx="2469515" cy="195580"/>
            </a:xfrm>
          </p:grpSpPr>
          <p:sp>
            <p:nvSpPr>
              <p:cNvPr id="338" name="object 338"/>
              <p:cNvSpPr/>
              <p:nvPr/>
            </p:nvSpPr>
            <p:spPr>
              <a:xfrm>
                <a:off x="1760181" y="7111555"/>
                <a:ext cx="25654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256539" h="1079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10"/>
                    </a:lnTo>
                    <a:lnTo>
                      <a:pt x="10248" y="10210"/>
                    </a:lnTo>
                    <a:lnTo>
                      <a:pt x="10248" y="0"/>
                    </a:lnTo>
                    <a:close/>
                  </a:path>
                  <a:path w="256539" h="10795">
                    <a:moveTo>
                      <a:pt x="71716" y="0"/>
                    </a:moveTo>
                    <a:lnTo>
                      <a:pt x="61480" y="0"/>
                    </a:lnTo>
                    <a:lnTo>
                      <a:pt x="61480" y="10210"/>
                    </a:lnTo>
                    <a:lnTo>
                      <a:pt x="71716" y="10210"/>
                    </a:lnTo>
                    <a:lnTo>
                      <a:pt x="71716" y="0"/>
                    </a:lnTo>
                    <a:close/>
                  </a:path>
                  <a:path w="256539" h="10795">
                    <a:moveTo>
                      <a:pt x="133184" y="0"/>
                    </a:moveTo>
                    <a:lnTo>
                      <a:pt x="122948" y="0"/>
                    </a:lnTo>
                    <a:lnTo>
                      <a:pt x="122948" y="10210"/>
                    </a:lnTo>
                    <a:lnTo>
                      <a:pt x="133184" y="10210"/>
                    </a:lnTo>
                    <a:lnTo>
                      <a:pt x="133184" y="0"/>
                    </a:lnTo>
                    <a:close/>
                  </a:path>
                  <a:path w="256539" h="10795">
                    <a:moveTo>
                      <a:pt x="194665" y="0"/>
                    </a:moveTo>
                    <a:lnTo>
                      <a:pt x="184416" y="0"/>
                    </a:lnTo>
                    <a:lnTo>
                      <a:pt x="184416" y="10210"/>
                    </a:lnTo>
                    <a:lnTo>
                      <a:pt x="194665" y="10210"/>
                    </a:lnTo>
                    <a:lnTo>
                      <a:pt x="194665" y="0"/>
                    </a:lnTo>
                    <a:close/>
                  </a:path>
                  <a:path w="256539" h="10795">
                    <a:moveTo>
                      <a:pt x="256133" y="0"/>
                    </a:moveTo>
                    <a:lnTo>
                      <a:pt x="245884" y="0"/>
                    </a:lnTo>
                    <a:lnTo>
                      <a:pt x="245884" y="10210"/>
                    </a:lnTo>
                    <a:lnTo>
                      <a:pt x="256133" y="10210"/>
                    </a:lnTo>
                    <a:lnTo>
                      <a:pt x="256133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9" name="object 339"/>
              <p:cNvSpPr/>
              <p:nvPr/>
            </p:nvSpPr>
            <p:spPr>
              <a:xfrm>
                <a:off x="1767745" y="7105363"/>
                <a:ext cx="222885" cy="11430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11429">
                    <a:moveTo>
                      <a:pt x="222802" y="11291"/>
                    </a:moveTo>
                    <a:lnTo>
                      <a:pt x="0" y="11291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11291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0" name="object 340"/>
              <p:cNvSpPr/>
              <p:nvPr/>
            </p:nvSpPr>
            <p:spPr>
              <a:xfrm>
                <a:off x="2067534" y="7111555"/>
                <a:ext cx="25654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256539" h="1079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10"/>
                    </a:lnTo>
                    <a:lnTo>
                      <a:pt x="10248" y="10210"/>
                    </a:lnTo>
                    <a:lnTo>
                      <a:pt x="10248" y="0"/>
                    </a:lnTo>
                    <a:close/>
                  </a:path>
                  <a:path w="256539" h="10795">
                    <a:moveTo>
                      <a:pt x="71716" y="0"/>
                    </a:moveTo>
                    <a:lnTo>
                      <a:pt x="61468" y="0"/>
                    </a:lnTo>
                    <a:lnTo>
                      <a:pt x="61468" y="10210"/>
                    </a:lnTo>
                    <a:lnTo>
                      <a:pt x="71716" y="10210"/>
                    </a:lnTo>
                    <a:lnTo>
                      <a:pt x="71716" y="0"/>
                    </a:lnTo>
                    <a:close/>
                  </a:path>
                  <a:path w="256539" h="10795">
                    <a:moveTo>
                      <a:pt x="133184" y="0"/>
                    </a:moveTo>
                    <a:lnTo>
                      <a:pt x="122948" y="0"/>
                    </a:lnTo>
                    <a:lnTo>
                      <a:pt x="122948" y="10210"/>
                    </a:lnTo>
                    <a:lnTo>
                      <a:pt x="133184" y="10210"/>
                    </a:lnTo>
                    <a:lnTo>
                      <a:pt x="133184" y="0"/>
                    </a:lnTo>
                    <a:close/>
                  </a:path>
                  <a:path w="256539" h="10795">
                    <a:moveTo>
                      <a:pt x="194652" y="0"/>
                    </a:moveTo>
                    <a:lnTo>
                      <a:pt x="184416" y="0"/>
                    </a:lnTo>
                    <a:lnTo>
                      <a:pt x="184416" y="10210"/>
                    </a:lnTo>
                    <a:lnTo>
                      <a:pt x="194652" y="10210"/>
                    </a:lnTo>
                    <a:lnTo>
                      <a:pt x="194652" y="0"/>
                    </a:lnTo>
                    <a:close/>
                  </a:path>
                  <a:path w="256539" h="10795">
                    <a:moveTo>
                      <a:pt x="256133" y="0"/>
                    </a:moveTo>
                    <a:lnTo>
                      <a:pt x="245884" y="0"/>
                    </a:lnTo>
                    <a:lnTo>
                      <a:pt x="245884" y="10210"/>
                    </a:lnTo>
                    <a:lnTo>
                      <a:pt x="256133" y="10210"/>
                    </a:lnTo>
                    <a:lnTo>
                      <a:pt x="256133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1" name="object 341"/>
              <p:cNvSpPr/>
              <p:nvPr/>
            </p:nvSpPr>
            <p:spPr>
              <a:xfrm>
                <a:off x="2046249" y="7098249"/>
                <a:ext cx="222885" cy="18415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18415">
                    <a:moveTo>
                      <a:pt x="222802" y="18404"/>
                    </a:moveTo>
                    <a:lnTo>
                      <a:pt x="0" y="18404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18404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2" name="object 342"/>
              <p:cNvSpPr/>
              <p:nvPr/>
            </p:nvSpPr>
            <p:spPr>
              <a:xfrm>
                <a:off x="2374887" y="7111555"/>
                <a:ext cx="194945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194944" h="1079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10"/>
                    </a:lnTo>
                    <a:lnTo>
                      <a:pt x="10248" y="10210"/>
                    </a:lnTo>
                    <a:lnTo>
                      <a:pt x="10248" y="0"/>
                    </a:lnTo>
                    <a:close/>
                  </a:path>
                  <a:path w="194944" h="10795">
                    <a:moveTo>
                      <a:pt x="71716" y="0"/>
                    </a:moveTo>
                    <a:lnTo>
                      <a:pt x="61468" y="0"/>
                    </a:lnTo>
                    <a:lnTo>
                      <a:pt x="61468" y="10210"/>
                    </a:lnTo>
                    <a:lnTo>
                      <a:pt x="71716" y="10210"/>
                    </a:lnTo>
                    <a:lnTo>
                      <a:pt x="71716" y="0"/>
                    </a:lnTo>
                    <a:close/>
                  </a:path>
                  <a:path w="194944" h="10795">
                    <a:moveTo>
                      <a:pt x="133184" y="0"/>
                    </a:moveTo>
                    <a:lnTo>
                      <a:pt x="122936" y="0"/>
                    </a:lnTo>
                    <a:lnTo>
                      <a:pt x="122936" y="10210"/>
                    </a:lnTo>
                    <a:lnTo>
                      <a:pt x="133184" y="10210"/>
                    </a:lnTo>
                    <a:lnTo>
                      <a:pt x="133184" y="0"/>
                    </a:lnTo>
                    <a:close/>
                  </a:path>
                  <a:path w="194944" h="10795">
                    <a:moveTo>
                      <a:pt x="194652" y="0"/>
                    </a:moveTo>
                    <a:lnTo>
                      <a:pt x="184416" y="0"/>
                    </a:lnTo>
                    <a:lnTo>
                      <a:pt x="184416" y="10210"/>
                    </a:lnTo>
                    <a:lnTo>
                      <a:pt x="194652" y="10210"/>
                    </a:lnTo>
                    <a:lnTo>
                      <a:pt x="194652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3" name="object 343"/>
              <p:cNvSpPr/>
              <p:nvPr/>
            </p:nvSpPr>
            <p:spPr>
              <a:xfrm>
                <a:off x="2324752" y="7093210"/>
                <a:ext cx="222885" cy="23495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23495">
                    <a:moveTo>
                      <a:pt x="222802" y="23444"/>
                    </a:moveTo>
                    <a:lnTo>
                      <a:pt x="0" y="23444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23444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4" name="object 344"/>
              <p:cNvSpPr/>
              <p:nvPr/>
            </p:nvSpPr>
            <p:spPr>
              <a:xfrm>
                <a:off x="2620772" y="7111555"/>
                <a:ext cx="25654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256539" h="10795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10"/>
                    </a:lnTo>
                    <a:lnTo>
                      <a:pt x="10236" y="10210"/>
                    </a:lnTo>
                    <a:lnTo>
                      <a:pt x="10236" y="0"/>
                    </a:lnTo>
                    <a:close/>
                  </a:path>
                  <a:path w="256539" h="10795">
                    <a:moveTo>
                      <a:pt x="71716" y="0"/>
                    </a:moveTo>
                    <a:lnTo>
                      <a:pt x="61468" y="0"/>
                    </a:lnTo>
                    <a:lnTo>
                      <a:pt x="61468" y="10210"/>
                    </a:lnTo>
                    <a:lnTo>
                      <a:pt x="71716" y="10210"/>
                    </a:lnTo>
                    <a:lnTo>
                      <a:pt x="71716" y="0"/>
                    </a:lnTo>
                    <a:close/>
                  </a:path>
                  <a:path w="256539" h="10795">
                    <a:moveTo>
                      <a:pt x="133184" y="0"/>
                    </a:moveTo>
                    <a:lnTo>
                      <a:pt x="122936" y="0"/>
                    </a:lnTo>
                    <a:lnTo>
                      <a:pt x="122936" y="10210"/>
                    </a:lnTo>
                    <a:lnTo>
                      <a:pt x="133184" y="10210"/>
                    </a:lnTo>
                    <a:lnTo>
                      <a:pt x="133184" y="0"/>
                    </a:lnTo>
                    <a:close/>
                  </a:path>
                  <a:path w="256539" h="10795">
                    <a:moveTo>
                      <a:pt x="194652" y="0"/>
                    </a:moveTo>
                    <a:lnTo>
                      <a:pt x="184404" y="0"/>
                    </a:lnTo>
                    <a:lnTo>
                      <a:pt x="184404" y="10210"/>
                    </a:lnTo>
                    <a:lnTo>
                      <a:pt x="194652" y="10210"/>
                    </a:lnTo>
                    <a:lnTo>
                      <a:pt x="194652" y="0"/>
                    </a:lnTo>
                    <a:close/>
                  </a:path>
                  <a:path w="256539" h="10795">
                    <a:moveTo>
                      <a:pt x="256120" y="0"/>
                    </a:moveTo>
                    <a:lnTo>
                      <a:pt x="245872" y="0"/>
                    </a:lnTo>
                    <a:lnTo>
                      <a:pt x="245872" y="10210"/>
                    </a:lnTo>
                    <a:lnTo>
                      <a:pt x="256120" y="10210"/>
                    </a:lnTo>
                    <a:lnTo>
                      <a:pt x="256120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5" name="object 345"/>
              <p:cNvSpPr/>
              <p:nvPr/>
            </p:nvSpPr>
            <p:spPr>
              <a:xfrm>
                <a:off x="2603256" y="7094786"/>
                <a:ext cx="222885" cy="22225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22225">
                    <a:moveTo>
                      <a:pt x="222802" y="21868"/>
                    </a:moveTo>
                    <a:lnTo>
                      <a:pt x="0" y="21868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21868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6" name="object 346"/>
              <p:cNvSpPr/>
              <p:nvPr/>
            </p:nvSpPr>
            <p:spPr>
              <a:xfrm>
                <a:off x="2928124" y="7111555"/>
                <a:ext cx="194945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194944" h="10795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10"/>
                    </a:lnTo>
                    <a:lnTo>
                      <a:pt x="10236" y="10210"/>
                    </a:lnTo>
                    <a:lnTo>
                      <a:pt x="10236" y="0"/>
                    </a:lnTo>
                    <a:close/>
                  </a:path>
                  <a:path w="194944" h="10795">
                    <a:moveTo>
                      <a:pt x="71704" y="0"/>
                    </a:moveTo>
                    <a:lnTo>
                      <a:pt x="61468" y="0"/>
                    </a:lnTo>
                    <a:lnTo>
                      <a:pt x="61468" y="10210"/>
                    </a:lnTo>
                    <a:lnTo>
                      <a:pt x="71704" y="10210"/>
                    </a:lnTo>
                    <a:lnTo>
                      <a:pt x="71704" y="0"/>
                    </a:lnTo>
                    <a:close/>
                  </a:path>
                  <a:path w="194944" h="10795">
                    <a:moveTo>
                      <a:pt x="133184" y="0"/>
                    </a:moveTo>
                    <a:lnTo>
                      <a:pt x="122936" y="0"/>
                    </a:lnTo>
                    <a:lnTo>
                      <a:pt x="122936" y="10210"/>
                    </a:lnTo>
                    <a:lnTo>
                      <a:pt x="133184" y="10210"/>
                    </a:lnTo>
                    <a:lnTo>
                      <a:pt x="133184" y="0"/>
                    </a:lnTo>
                    <a:close/>
                  </a:path>
                  <a:path w="194944" h="10795">
                    <a:moveTo>
                      <a:pt x="194652" y="0"/>
                    </a:moveTo>
                    <a:lnTo>
                      <a:pt x="184404" y="0"/>
                    </a:lnTo>
                    <a:lnTo>
                      <a:pt x="184404" y="10210"/>
                    </a:lnTo>
                    <a:lnTo>
                      <a:pt x="194652" y="10210"/>
                    </a:lnTo>
                    <a:lnTo>
                      <a:pt x="194652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7" name="object 347"/>
              <p:cNvSpPr/>
              <p:nvPr/>
            </p:nvSpPr>
            <p:spPr>
              <a:xfrm>
                <a:off x="2881759" y="7097028"/>
                <a:ext cx="222885" cy="19685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19684">
                    <a:moveTo>
                      <a:pt x="222802" y="19626"/>
                    </a:moveTo>
                    <a:lnTo>
                      <a:pt x="0" y="19626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19626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8" name="object 348"/>
              <p:cNvSpPr/>
              <p:nvPr/>
            </p:nvSpPr>
            <p:spPr>
              <a:xfrm>
                <a:off x="3173996" y="7111555"/>
                <a:ext cx="25654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256539" h="1079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10"/>
                    </a:lnTo>
                    <a:lnTo>
                      <a:pt x="10248" y="10210"/>
                    </a:lnTo>
                    <a:lnTo>
                      <a:pt x="10248" y="0"/>
                    </a:lnTo>
                    <a:close/>
                  </a:path>
                  <a:path w="256539" h="10795">
                    <a:moveTo>
                      <a:pt x="71716" y="0"/>
                    </a:moveTo>
                    <a:lnTo>
                      <a:pt x="61468" y="0"/>
                    </a:lnTo>
                    <a:lnTo>
                      <a:pt x="61468" y="10210"/>
                    </a:lnTo>
                    <a:lnTo>
                      <a:pt x="71716" y="10210"/>
                    </a:lnTo>
                    <a:lnTo>
                      <a:pt x="71716" y="0"/>
                    </a:lnTo>
                    <a:close/>
                  </a:path>
                  <a:path w="256539" h="10795">
                    <a:moveTo>
                      <a:pt x="133184" y="0"/>
                    </a:moveTo>
                    <a:lnTo>
                      <a:pt x="122948" y="0"/>
                    </a:lnTo>
                    <a:lnTo>
                      <a:pt x="122948" y="10210"/>
                    </a:lnTo>
                    <a:lnTo>
                      <a:pt x="133184" y="10210"/>
                    </a:lnTo>
                    <a:lnTo>
                      <a:pt x="133184" y="0"/>
                    </a:lnTo>
                    <a:close/>
                  </a:path>
                  <a:path w="256539" h="10795">
                    <a:moveTo>
                      <a:pt x="194652" y="0"/>
                    </a:moveTo>
                    <a:lnTo>
                      <a:pt x="184416" y="0"/>
                    </a:lnTo>
                    <a:lnTo>
                      <a:pt x="184416" y="10210"/>
                    </a:lnTo>
                    <a:lnTo>
                      <a:pt x="194652" y="10210"/>
                    </a:lnTo>
                    <a:lnTo>
                      <a:pt x="194652" y="0"/>
                    </a:lnTo>
                    <a:close/>
                  </a:path>
                  <a:path w="256539" h="10795">
                    <a:moveTo>
                      <a:pt x="256133" y="0"/>
                    </a:moveTo>
                    <a:lnTo>
                      <a:pt x="245884" y="0"/>
                    </a:lnTo>
                    <a:lnTo>
                      <a:pt x="245884" y="10210"/>
                    </a:lnTo>
                    <a:lnTo>
                      <a:pt x="256133" y="10210"/>
                    </a:lnTo>
                    <a:lnTo>
                      <a:pt x="256133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9" name="object 349"/>
              <p:cNvSpPr/>
              <p:nvPr/>
            </p:nvSpPr>
            <p:spPr>
              <a:xfrm>
                <a:off x="3160263" y="7094265"/>
                <a:ext cx="222885" cy="22860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22859">
                    <a:moveTo>
                      <a:pt x="222802" y="22389"/>
                    </a:moveTo>
                    <a:lnTo>
                      <a:pt x="0" y="22389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22389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0" name="object 350"/>
              <p:cNvSpPr/>
              <p:nvPr/>
            </p:nvSpPr>
            <p:spPr>
              <a:xfrm>
                <a:off x="3481349" y="7111555"/>
                <a:ext cx="194945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194945" h="1079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10"/>
                    </a:lnTo>
                    <a:lnTo>
                      <a:pt x="10248" y="10210"/>
                    </a:lnTo>
                    <a:lnTo>
                      <a:pt x="10248" y="0"/>
                    </a:lnTo>
                    <a:close/>
                  </a:path>
                  <a:path w="194945" h="10795">
                    <a:moveTo>
                      <a:pt x="71716" y="0"/>
                    </a:moveTo>
                    <a:lnTo>
                      <a:pt x="61468" y="0"/>
                    </a:lnTo>
                    <a:lnTo>
                      <a:pt x="61468" y="10210"/>
                    </a:lnTo>
                    <a:lnTo>
                      <a:pt x="71716" y="10210"/>
                    </a:lnTo>
                    <a:lnTo>
                      <a:pt x="71716" y="0"/>
                    </a:lnTo>
                    <a:close/>
                  </a:path>
                  <a:path w="194945" h="10795">
                    <a:moveTo>
                      <a:pt x="133184" y="0"/>
                    </a:moveTo>
                    <a:lnTo>
                      <a:pt x="122936" y="0"/>
                    </a:lnTo>
                    <a:lnTo>
                      <a:pt x="122936" y="10210"/>
                    </a:lnTo>
                    <a:lnTo>
                      <a:pt x="133184" y="10210"/>
                    </a:lnTo>
                    <a:lnTo>
                      <a:pt x="133184" y="0"/>
                    </a:lnTo>
                    <a:close/>
                  </a:path>
                  <a:path w="194945" h="10795">
                    <a:moveTo>
                      <a:pt x="194652" y="0"/>
                    </a:moveTo>
                    <a:lnTo>
                      <a:pt x="184416" y="0"/>
                    </a:lnTo>
                    <a:lnTo>
                      <a:pt x="184416" y="10210"/>
                    </a:lnTo>
                    <a:lnTo>
                      <a:pt x="194652" y="10210"/>
                    </a:lnTo>
                    <a:lnTo>
                      <a:pt x="194652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1" name="object 351"/>
              <p:cNvSpPr/>
              <p:nvPr/>
            </p:nvSpPr>
            <p:spPr>
              <a:xfrm>
                <a:off x="3438766" y="7091812"/>
                <a:ext cx="222885" cy="25400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25400">
                    <a:moveTo>
                      <a:pt x="222802" y="24842"/>
                    </a:moveTo>
                    <a:lnTo>
                      <a:pt x="0" y="24842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24842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2" name="object 352"/>
              <p:cNvSpPr/>
              <p:nvPr/>
            </p:nvSpPr>
            <p:spPr>
              <a:xfrm>
                <a:off x="3727234" y="7111555"/>
                <a:ext cx="25654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256539" h="10795">
                    <a:moveTo>
                      <a:pt x="10236" y="5105"/>
                    </a:moveTo>
                    <a:lnTo>
                      <a:pt x="0" y="5105"/>
                    </a:lnTo>
                    <a:lnTo>
                      <a:pt x="0" y="10210"/>
                    </a:lnTo>
                    <a:lnTo>
                      <a:pt x="10236" y="10210"/>
                    </a:lnTo>
                    <a:lnTo>
                      <a:pt x="10236" y="5105"/>
                    </a:lnTo>
                    <a:close/>
                  </a:path>
                  <a:path w="256539" h="10795">
                    <a:moveTo>
                      <a:pt x="71716" y="5105"/>
                    </a:moveTo>
                    <a:lnTo>
                      <a:pt x="61468" y="5105"/>
                    </a:lnTo>
                    <a:lnTo>
                      <a:pt x="61468" y="10210"/>
                    </a:lnTo>
                    <a:lnTo>
                      <a:pt x="71716" y="10210"/>
                    </a:lnTo>
                    <a:lnTo>
                      <a:pt x="71716" y="5105"/>
                    </a:lnTo>
                    <a:close/>
                  </a:path>
                  <a:path w="256539" h="10795">
                    <a:moveTo>
                      <a:pt x="133184" y="5105"/>
                    </a:moveTo>
                    <a:lnTo>
                      <a:pt x="122936" y="5105"/>
                    </a:lnTo>
                    <a:lnTo>
                      <a:pt x="122936" y="10210"/>
                    </a:lnTo>
                    <a:lnTo>
                      <a:pt x="133184" y="10210"/>
                    </a:lnTo>
                    <a:lnTo>
                      <a:pt x="133184" y="5105"/>
                    </a:lnTo>
                    <a:close/>
                  </a:path>
                  <a:path w="256539" h="10795">
                    <a:moveTo>
                      <a:pt x="194652" y="5105"/>
                    </a:moveTo>
                    <a:lnTo>
                      <a:pt x="184404" y="5105"/>
                    </a:lnTo>
                    <a:lnTo>
                      <a:pt x="184404" y="10210"/>
                    </a:lnTo>
                    <a:lnTo>
                      <a:pt x="194652" y="10210"/>
                    </a:lnTo>
                    <a:lnTo>
                      <a:pt x="194652" y="5105"/>
                    </a:lnTo>
                    <a:close/>
                  </a:path>
                  <a:path w="256539" h="10795">
                    <a:moveTo>
                      <a:pt x="256120" y="0"/>
                    </a:moveTo>
                    <a:lnTo>
                      <a:pt x="245872" y="0"/>
                    </a:lnTo>
                    <a:lnTo>
                      <a:pt x="245872" y="10210"/>
                    </a:lnTo>
                    <a:lnTo>
                      <a:pt x="256120" y="10210"/>
                    </a:lnTo>
                    <a:lnTo>
                      <a:pt x="256120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3" name="object 353"/>
              <p:cNvSpPr/>
              <p:nvPr/>
            </p:nvSpPr>
            <p:spPr>
              <a:xfrm>
                <a:off x="3717270" y="7063246"/>
                <a:ext cx="222885" cy="53975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53975">
                    <a:moveTo>
                      <a:pt x="222802" y="53408"/>
                    </a:moveTo>
                    <a:lnTo>
                      <a:pt x="0" y="53408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53408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4" name="object 354"/>
              <p:cNvSpPr/>
              <p:nvPr/>
            </p:nvSpPr>
            <p:spPr>
              <a:xfrm>
                <a:off x="4034586" y="7111555"/>
                <a:ext cx="194945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194945" h="10795">
                    <a:moveTo>
                      <a:pt x="10236" y="5105"/>
                    </a:moveTo>
                    <a:lnTo>
                      <a:pt x="0" y="5105"/>
                    </a:lnTo>
                    <a:lnTo>
                      <a:pt x="0" y="10210"/>
                    </a:lnTo>
                    <a:lnTo>
                      <a:pt x="10236" y="10210"/>
                    </a:lnTo>
                    <a:lnTo>
                      <a:pt x="10236" y="5105"/>
                    </a:lnTo>
                    <a:close/>
                  </a:path>
                  <a:path w="194945" h="10795">
                    <a:moveTo>
                      <a:pt x="71704" y="5105"/>
                    </a:moveTo>
                    <a:lnTo>
                      <a:pt x="61468" y="5105"/>
                    </a:lnTo>
                    <a:lnTo>
                      <a:pt x="61468" y="10210"/>
                    </a:lnTo>
                    <a:lnTo>
                      <a:pt x="71704" y="10210"/>
                    </a:lnTo>
                    <a:lnTo>
                      <a:pt x="71704" y="5105"/>
                    </a:lnTo>
                    <a:close/>
                  </a:path>
                  <a:path w="194945" h="10795">
                    <a:moveTo>
                      <a:pt x="133184" y="5105"/>
                    </a:moveTo>
                    <a:lnTo>
                      <a:pt x="122936" y="5105"/>
                    </a:lnTo>
                    <a:lnTo>
                      <a:pt x="122936" y="10210"/>
                    </a:lnTo>
                    <a:lnTo>
                      <a:pt x="133184" y="10210"/>
                    </a:lnTo>
                    <a:lnTo>
                      <a:pt x="133184" y="5105"/>
                    </a:lnTo>
                    <a:close/>
                  </a:path>
                  <a:path w="194945" h="10795">
                    <a:moveTo>
                      <a:pt x="194652" y="0"/>
                    </a:moveTo>
                    <a:lnTo>
                      <a:pt x="184404" y="0"/>
                    </a:lnTo>
                    <a:lnTo>
                      <a:pt x="184404" y="10210"/>
                    </a:lnTo>
                    <a:lnTo>
                      <a:pt x="194652" y="10210"/>
                    </a:lnTo>
                    <a:lnTo>
                      <a:pt x="194652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5" name="object 355"/>
              <p:cNvSpPr/>
              <p:nvPr/>
            </p:nvSpPr>
            <p:spPr>
              <a:xfrm>
                <a:off x="3995773" y="7028836"/>
                <a:ext cx="222885" cy="88265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88265">
                    <a:moveTo>
                      <a:pt x="222802" y="87817"/>
                    </a:moveTo>
                    <a:lnTo>
                      <a:pt x="0" y="87817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87817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6" name="object 356"/>
              <p:cNvSpPr/>
              <p:nvPr/>
            </p:nvSpPr>
            <p:spPr>
              <a:xfrm>
                <a:off x="1767738" y="6926656"/>
                <a:ext cx="2451100" cy="179070"/>
              </a:xfrm>
              <a:custGeom>
                <a:avLst/>
                <a:gdLst/>
                <a:ahLst/>
                <a:cxnLst/>
                <a:rect l="l" t="t" r="r" b="b"/>
                <a:pathLst>
                  <a:path w="2451100" h="179070">
                    <a:moveTo>
                      <a:pt x="222808" y="150495"/>
                    </a:moveTo>
                    <a:lnTo>
                      <a:pt x="0" y="150495"/>
                    </a:lnTo>
                    <a:lnTo>
                      <a:pt x="0" y="178714"/>
                    </a:lnTo>
                    <a:lnTo>
                      <a:pt x="222808" y="178714"/>
                    </a:lnTo>
                    <a:lnTo>
                      <a:pt x="222808" y="150495"/>
                    </a:lnTo>
                    <a:close/>
                  </a:path>
                  <a:path w="2451100" h="179070">
                    <a:moveTo>
                      <a:pt x="501307" y="138950"/>
                    </a:moveTo>
                    <a:lnTo>
                      <a:pt x="278511" y="138950"/>
                    </a:lnTo>
                    <a:lnTo>
                      <a:pt x="278511" y="171602"/>
                    </a:lnTo>
                    <a:lnTo>
                      <a:pt x="501307" y="171602"/>
                    </a:lnTo>
                    <a:lnTo>
                      <a:pt x="501307" y="138950"/>
                    </a:lnTo>
                    <a:close/>
                  </a:path>
                  <a:path w="2451100" h="179070">
                    <a:moveTo>
                      <a:pt x="779805" y="129806"/>
                    </a:moveTo>
                    <a:lnTo>
                      <a:pt x="557009" y="129806"/>
                    </a:lnTo>
                    <a:lnTo>
                      <a:pt x="557009" y="166560"/>
                    </a:lnTo>
                    <a:lnTo>
                      <a:pt x="779805" y="166560"/>
                    </a:lnTo>
                    <a:lnTo>
                      <a:pt x="779805" y="129806"/>
                    </a:lnTo>
                    <a:close/>
                  </a:path>
                  <a:path w="2451100" h="179070">
                    <a:moveTo>
                      <a:pt x="1058316" y="128752"/>
                    </a:moveTo>
                    <a:lnTo>
                      <a:pt x="835507" y="128752"/>
                    </a:lnTo>
                    <a:lnTo>
                      <a:pt x="835507" y="168135"/>
                    </a:lnTo>
                    <a:lnTo>
                      <a:pt x="1058316" y="168135"/>
                    </a:lnTo>
                    <a:lnTo>
                      <a:pt x="1058316" y="128752"/>
                    </a:lnTo>
                    <a:close/>
                  </a:path>
                  <a:path w="2451100" h="179070">
                    <a:moveTo>
                      <a:pt x="1336814" y="120764"/>
                    </a:moveTo>
                    <a:lnTo>
                      <a:pt x="1114018" y="120764"/>
                    </a:lnTo>
                    <a:lnTo>
                      <a:pt x="1114018" y="170383"/>
                    </a:lnTo>
                    <a:lnTo>
                      <a:pt x="1336814" y="170383"/>
                    </a:lnTo>
                    <a:lnTo>
                      <a:pt x="1336814" y="120764"/>
                    </a:lnTo>
                    <a:close/>
                  </a:path>
                  <a:path w="2451100" h="179070">
                    <a:moveTo>
                      <a:pt x="1615325" y="99098"/>
                    </a:moveTo>
                    <a:lnTo>
                      <a:pt x="1392516" y="99098"/>
                    </a:lnTo>
                    <a:lnTo>
                      <a:pt x="1392516" y="167614"/>
                    </a:lnTo>
                    <a:lnTo>
                      <a:pt x="1615325" y="167614"/>
                    </a:lnTo>
                    <a:lnTo>
                      <a:pt x="1615325" y="99098"/>
                    </a:lnTo>
                    <a:close/>
                  </a:path>
                  <a:path w="2451100" h="179070">
                    <a:moveTo>
                      <a:pt x="1893824" y="91668"/>
                    </a:moveTo>
                    <a:lnTo>
                      <a:pt x="1671027" y="91668"/>
                    </a:lnTo>
                    <a:lnTo>
                      <a:pt x="1671027" y="165163"/>
                    </a:lnTo>
                    <a:lnTo>
                      <a:pt x="1893824" y="165163"/>
                    </a:lnTo>
                    <a:lnTo>
                      <a:pt x="1893824" y="91668"/>
                    </a:lnTo>
                    <a:close/>
                  </a:path>
                  <a:path w="2451100" h="179070">
                    <a:moveTo>
                      <a:pt x="2172335" y="46761"/>
                    </a:moveTo>
                    <a:lnTo>
                      <a:pt x="1949526" y="46761"/>
                    </a:lnTo>
                    <a:lnTo>
                      <a:pt x="1949526" y="136601"/>
                    </a:lnTo>
                    <a:lnTo>
                      <a:pt x="2172335" y="136601"/>
                    </a:lnTo>
                    <a:lnTo>
                      <a:pt x="2172335" y="46761"/>
                    </a:lnTo>
                    <a:close/>
                  </a:path>
                  <a:path w="2451100" h="179070">
                    <a:moveTo>
                      <a:pt x="2450833" y="0"/>
                    </a:moveTo>
                    <a:lnTo>
                      <a:pt x="2228024" y="0"/>
                    </a:lnTo>
                    <a:lnTo>
                      <a:pt x="2228024" y="102184"/>
                    </a:lnTo>
                    <a:lnTo>
                      <a:pt x="2450833" y="102184"/>
                    </a:lnTo>
                    <a:lnTo>
                      <a:pt x="2450833" y="0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grpSp>
          <p:nvGrpSpPr>
            <p:cNvPr id="357" name="object 357"/>
            <p:cNvGrpSpPr/>
            <p:nvPr/>
          </p:nvGrpSpPr>
          <p:grpSpPr>
            <a:xfrm>
              <a:off x="944826" y="4588570"/>
              <a:ext cx="5548593" cy="1695450"/>
              <a:chOff x="715202" y="5200379"/>
              <a:chExt cx="6288405" cy="1921510"/>
            </a:xfrm>
          </p:grpSpPr>
          <p:sp>
            <p:nvSpPr>
              <p:cNvPr id="358" name="object 358"/>
              <p:cNvSpPr/>
              <p:nvPr/>
            </p:nvSpPr>
            <p:spPr>
              <a:xfrm>
                <a:off x="4280458" y="7111555"/>
                <a:ext cx="25654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256539" h="10795">
                    <a:moveTo>
                      <a:pt x="10248" y="5105"/>
                    </a:moveTo>
                    <a:lnTo>
                      <a:pt x="0" y="5105"/>
                    </a:lnTo>
                    <a:lnTo>
                      <a:pt x="0" y="10210"/>
                    </a:lnTo>
                    <a:lnTo>
                      <a:pt x="10248" y="10210"/>
                    </a:lnTo>
                    <a:lnTo>
                      <a:pt x="10248" y="5105"/>
                    </a:lnTo>
                    <a:close/>
                  </a:path>
                  <a:path w="256539" h="10795">
                    <a:moveTo>
                      <a:pt x="71716" y="5105"/>
                    </a:moveTo>
                    <a:lnTo>
                      <a:pt x="61468" y="5105"/>
                    </a:lnTo>
                    <a:lnTo>
                      <a:pt x="61468" y="10210"/>
                    </a:lnTo>
                    <a:lnTo>
                      <a:pt x="71716" y="10210"/>
                    </a:lnTo>
                    <a:lnTo>
                      <a:pt x="71716" y="5105"/>
                    </a:lnTo>
                    <a:close/>
                  </a:path>
                  <a:path w="256539" h="10795">
                    <a:moveTo>
                      <a:pt x="133184" y="5105"/>
                    </a:moveTo>
                    <a:lnTo>
                      <a:pt x="122948" y="5105"/>
                    </a:lnTo>
                    <a:lnTo>
                      <a:pt x="122948" y="10210"/>
                    </a:lnTo>
                    <a:lnTo>
                      <a:pt x="133184" y="10210"/>
                    </a:lnTo>
                    <a:lnTo>
                      <a:pt x="133184" y="5105"/>
                    </a:lnTo>
                    <a:close/>
                  </a:path>
                  <a:path w="256539" h="10795">
                    <a:moveTo>
                      <a:pt x="194652" y="5105"/>
                    </a:moveTo>
                    <a:lnTo>
                      <a:pt x="184416" y="5105"/>
                    </a:lnTo>
                    <a:lnTo>
                      <a:pt x="184416" y="10210"/>
                    </a:lnTo>
                    <a:lnTo>
                      <a:pt x="194652" y="10210"/>
                    </a:lnTo>
                    <a:lnTo>
                      <a:pt x="194652" y="5105"/>
                    </a:lnTo>
                    <a:close/>
                  </a:path>
                  <a:path w="256539" h="10795">
                    <a:moveTo>
                      <a:pt x="256133" y="0"/>
                    </a:moveTo>
                    <a:lnTo>
                      <a:pt x="245884" y="0"/>
                    </a:lnTo>
                    <a:lnTo>
                      <a:pt x="245884" y="10210"/>
                    </a:lnTo>
                    <a:lnTo>
                      <a:pt x="256133" y="10210"/>
                    </a:lnTo>
                    <a:lnTo>
                      <a:pt x="256133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9" name="object 359"/>
              <p:cNvSpPr/>
              <p:nvPr/>
            </p:nvSpPr>
            <p:spPr>
              <a:xfrm>
                <a:off x="4274277" y="7003107"/>
                <a:ext cx="222885" cy="113664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113665">
                    <a:moveTo>
                      <a:pt x="222802" y="113546"/>
                    </a:moveTo>
                    <a:lnTo>
                      <a:pt x="0" y="113546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113546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0" name="object 360"/>
              <p:cNvSpPr/>
              <p:nvPr/>
            </p:nvSpPr>
            <p:spPr>
              <a:xfrm>
                <a:off x="4587811" y="7111555"/>
                <a:ext cx="194945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194945" h="10795">
                    <a:moveTo>
                      <a:pt x="10248" y="5105"/>
                    </a:moveTo>
                    <a:lnTo>
                      <a:pt x="0" y="5105"/>
                    </a:lnTo>
                    <a:lnTo>
                      <a:pt x="0" y="10210"/>
                    </a:lnTo>
                    <a:lnTo>
                      <a:pt x="10248" y="10210"/>
                    </a:lnTo>
                    <a:lnTo>
                      <a:pt x="10248" y="5105"/>
                    </a:lnTo>
                    <a:close/>
                  </a:path>
                  <a:path w="194945" h="10795">
                    <a:moveTo>
                      <a:pt x="71716" y="5105"/>
                    </a:moveTo>
                    <a:lnTo>
                      <a:pt x="61468" y="5105"/>
                    </a:lnTo>
                    <a:lnTo>
                      <a:pt x="61468" y="10210"/>
                    </a:lnTo>
                    <a:lnTo>
                      <a:pt x="71716" y="10210"/>
                    </a:lnTo>
                    <a:lnTo>
                      <a:pt x="71716" y="5105"/>
                    </a:lnTo>
                    <a:close/>
                  </a:path>
                  <a:path w="194945" h="10795">
                    <a:moveTo>
                      <a:pt x="133184" y="5105"/>
                    </a:moveTo>
                    <a:lnTo>
                      <a:pt x="122936" y="5105"/>
                    </a:lnTo>
                    <a:lnTo>
                      <a:pt x="122936" y="10210"/>
                    </a:lnTo>
                    <a:lnTo>
                      <a:pt x="133184" y="10210"/>
                    </a:lnTo>
                    <a:lnTo>
                      <a:pt x="133184" y="5105"/>
                    </a:lnTo>
                    <a:close/>
                  </a:path>
                  <a:path w="194945" h="10795">
                    <a:moveTo>
                      <a:pt x="194652" y="0"/>
                    </a:moveTo>
                    <a:lnTo>
                      <a:pt x="184416" y="0"/>
                    </a:lnTo>
                    <a:lnTo>
                      <a:pt x="184416" y="5105"/>
                    </a:lnTo>
                    <a:lnTo>
                      <a:pt x="184416" y="10210"/>
                    </a:lnTo>
                    <a:lnTo>
                      <a:pt x="194652" y="10210"/>
                    </a:lnTo>
                    <a:lnTo>
                      <a:pt x="194652" y="5105"/>
                    </a:lnTo>
                    <a:lnTo>
                      <a:pt x="194652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1" name="object 361"/>
              <p:cNvSpPr/>
              <p:nvPr/>
            </p:nvSpPr>
            <p:spPr>
              <a:xfrm>
                <a:off x="4552781" y="6976419"/>
                <a:ext cx="222885" cy="140335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140334">
                    <a:moveTo>
                      <a:pt x="222802" y="140235"/>
                    </a:moveTo>
                    <a:lnTo>
                      <a:pt x="0" y="140235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140235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2" name="object 362"/>
              <p:cNvSpPr/>
              <p:nvPr/>
            </p:nvSpPr>
            <p:spPr>
              <a:xfrm>
                <a:off x="4274274" y="6858114"/>
                <a:ext cx="501650" cy="145415"/>
              </a:xfrm>
              <a:custGeom>
                <a:avLst/>
                <a:gdLst/>
                <a:ahLst/>
                <a:cxnLst/>
                <a:rect l="l" t="t" r="r" b="b"/>
                <a:pathLst>
                  <a:path w="501650" h="145415">
                    <a:moveTo>
                      <a:pt x="222796" y="36969"/>
                    </a:moveTo>
                    <a:lnTo>
                      <a:pt x="0" y="36969"/>
                    </a:lnTo>
                    <a:lnTo>
                      <a:pt x="0" y="144995"/>
                    </a:lnTo>
                    <a:lnTo>
                      <a:pt x="222796" y="144995"/>
                    </a:lnTo>
                    <a:lnTo>
                      <a:pt x="222796" y="36969"/>
                    </a:lnTo>
                    <a:close/>
                  </a:path>
                  <a:path w="501650" h="145415">
                    <a:moveTo>
                      <a:pt x="501307" y="0"/>
                    </a:moveTo>
                    <a:lnTo>
                      <a:pt x="278498" y="0"/>
                    </a:lnTo>
                    <a:lnTo>
                      <a:pt x="278498" y="118313"/>
                    </a:lnTo>
                    <a:lnTo>
                      <a:pt x="501307" y="118313"/>
                    </a:lnTo>
                    <a:lnTo>
                      <a:pt x="501307" y="0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3" name="object 363"/>
              <p:cNvSpPr/>
              <p:nvPr/>
            </p:nvSpPr>
            <p:spPr>
              <a:xfrm>
                <a:off x="4833696" y="7111555"/>
                <a:ext cx="25654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256539" h="10795">
                    <a:moveTo>
                      <a:pt x="10236" y="5105"/>
                    </a:moveTo>
                    <a:lnTo>
                      <a:pt x="0" y="5105"/>
                    </a:lnTo>
                    <a:lnTo>
                      <a:pt x="0" y="10210"/>
                    </a:lnTo>
                    <a:lnTo>
                      <a:pt x="10236" y="10210"/>
                    </a:lnTo>
                    <a:lnTo>
                      <a:pt x="10236" y="5105"/>
                    </a:lnTo>
                    <a:close/>
                  </a:path>
                  <a:path w="256539" h="10795">
                    <a:moveTo>
                      <a:pt x="71716" y="5105"/>
                    </a:moveTo>
                    <a:lnTo>
                      <a:pt x="61468" y="5105"/>
                    </a:lnTo>
                    <a:lnTo>
                      <a:pt x="61468" y="10210"/>
                    </a:lnTo>
                    <a:lnTo>
                      <a:pt x="71716" y="10210"/>
                    </a:lnTo>
                    <a:lnTo>
                      <a:pt x="71716" y="5105"/>
                    </a:lnTo>
                    <a:close/>
                  </a:path>
                  <a:path w="256539" h="10795">
                    <a:moveTo>
                      <a:pt x="133184" y="5105"/>
                    </a:moveTo>
                    <a:lnTo>
                      <a:pt x="122936" y="5105"/>
                    </a:lnTo>
                    <a:lnTo>
                      <a:pt x="122936" y="10210"/>
                    </a:lnTo>
                    <a:lnTo>
                      <a:pt x="133184" y="10210"/>
                    </a:lnTo>
                    <a:lnTo>
                      <a:pt x="133184" y="5105"/>
                    </a:lnTo>
                    <a:close/>
                  </a:path>
                  <a:path w="256539" h="10795">
                    <a:moveTo>
                      <a:pt x="194652" y="5105"/>
                    </a:moveTo>
                    <a:lnTo>
                      <a:pt x="184404" y="5105"/>
                    </a:lnTo>
                    <a:lnTo>
                      <a:pt x="184404" y="10210"/>
                    </a:lnTo>
                    <a:lnTo>
                      <a:pt x="194652" y="10210"/>
                    </a:lnTo>
                    <a:lnTo>
                      <a:pt x="194652" y="5105"/>
                    </a:lnTo>
                    <a:close/>
                  </a:path>
                  <a:path w="256539" h="10795">
                    <a:moveTo>
                      <a:pt x="256120" y="0"/>
                    </a:moveTo>
                    <a:lnTo>
                      <a:pt x="245872" y="0"/>
                    </a:lnTo>
                    <a:lnTo>
                      <a:pt x="245872" y="10210"/>
                    </a:lnTo>
                    <a:lnTo>
                      <a:pt x="256120" y="10210"/>
                    </a:lnTo>
                    <a:lnTo>
                      <a:pt x="256120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4" name="object 364"/>
              <p:cNvSpPr/>
              <p:nvPr/>
            </p:nvSpPr>
            <p:spPr>
              <a:xfrm>
                <a:off x="4831284" y="6915711"/>
                <a:ext cx="222885" cy="201295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201295">
                    <a:moveTo>
                      <a:pt x="222802" y="200942"/>
                    </a:moveTo>
                    <a:lnTo>
                      <a:pt x="0" y="200942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200942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5" name="object 365"/>
              <p:cNvSpPr/>
              <p:nvPr/>
            </p:nvSpPr>
            <p:spPr>
              <a:xfrm>
                <a:off x="5141049" y="7111555"/>
                <a:ext cx="194945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194945" h="10795">
                    <a:moveTo>
                      <a:pt x="10236" y="5105"/>
                    </a:moveTo>
                    <a:lnTo>
                      <a:pt x="0" y="5105"/>
                    </a:lnTo>
                    <a:lnTo>
                      <a:pt x="0" y="10210"/>
                    </a:lnTo>
                    <a:lnTo>
                      <a:pt x="10236" y="10210"/>
                    </a:lnTo>
                    <a:lnTo>
                      <a:pt x="10236" y="5105"/>
                    </a:lnTo>
                    <a:close/>
                  </a:path>
                  <a:path w="194945" h="10795">
                    <a:moveTo>
                      <a:pt x="71704" y="5105"/>
                    </a:moveTo>
                    <a:lnTo>
                      <a:pt x="61468" y="5105"/>
                    </a:lnTo>
                    <a:lnTo>
                      <a:pt x="61468" y="10210"/>
                    </a:lnTo>
                    <a:lnTo>
                      <a:pt x="71704" y="10210"/>
                    </a:lnTo>
                    <a:lnTo>
                      <a:pt x="71704" y="5105"/>
                    </a:lnTo>
                    <a:close/>
                  </a:path>
                  <a:path w="194945" h="10795">
                    <a:moveTo>
                      <a:pt x="133184" y="5105"/>
                    </a:moveTo>
                    <a:lnTo>
                      <a:pt x="122936" y="5105"/>
                    </a:lnTo>
                    <a:lnTo>
                      <a:pt x="122936" y="10210"/>
                    </a:lnTo>
                    <a:lnTo>
                      <a:pt x="133184" y="10210"/>
                    </a:lnTo>
                    <a:lnTo>
                      <a:pt x="133184" y="5105"/>
                    </a:lnTo>
                    <a:close/>
                  </a:path>
                  <a:path w="194945" h="10795">
                    <a:moveTo>
                      <a:pt x="194652" y="0"/>
                    </a:moveTo>
                    <a:lnTo>
                      <a:pt x="184404" y="0"/>
                    </a:lnTo>
                    <a:lnTo>
                      <a:pt x="184404" y="5105"/>
                    </a:lnTo>
                    <a:lnTo>
                      <a:pt x="184404" y="10210"/>
                    </a:lnTo>
                    <a:lnTo>
                      <a:pt x="194652" y="10210"/>
                    </a:lnTo>
                    <a:lnTo>
                      <a:pt x="194652" y="5105"/>
                    </a:lnTo>
                    <a:lnTo>
                      <a:pt x="194652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6" name="object 366"/>
              <p:cNvSpPr/>
              <p:nvPr/>
            </p:nvSpPr>
            <p:spPr>
              <a:xfrm>
                <a:off x="5109788" y="6746725"/>
                <a:ext cx="222885" cy="370205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370204">
                    <a:moveTo>
                      <a:pt x="222802" y="369929"/>
                    </a:moveTo>
                    <a:lnTo>
                      <a:pt x="0" y="369929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369929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7" name="object 367"/>
              <p:cNvSpPr/>
              <p:nvPr/>
            </p:nvSpPr>
            <p:spPr>
              <a:xfrm>
                <a:off x="4831283" y="6605854"/>
                <a:ext cx="501650" cy="309880"/>
              </a:xfrm>
              <a:custGeom>
                <a:avLst/>
                <a:gdLst/>
                <a:ahLst/>
                <a:cxnLst/>
                <a:rect l="l" t="t" r="r" b="b"/>
                <a:pathLst>
                  <a:path w="501650" h="309879">
                    <a:moveTo>
                      <a:pt x="222796" y="174523"/>
                    </a:moveTo>
                    <a:lnTo>
                      <a:pt x="0" y="174523"/>
                    </a:lnTo>
                    <a:lnTo>
                      <a:pt x="0" y="309867"/>
                    </a:lnTo>
                    <a:lnTo>
                      <a:pt x="222796" y="309867"/>
                    </a:lnTo>
                    <a:lnTo>
                      <a:pt x="222796" y="174523"/>
                    </a:lnTo>
                    <a:close/>
                  </a:path>
                  <a:path w="501650" h="309879">
                    <a:moveTo>
                      <a:pt x="501307" y="0"/>
                    </a:moveTo>
                    <a:lnTo>
                      <a:pt x="278498" y="0"/>
                    </a:lnTo>
                    <a:lnTo>
                      <a:pt x="278498" y="140881"/>
                    </a:lnTo>
                    <a:lnTo>
                      <a:pt x="501307" y="140881"/>
                    </a:lnTo>
                    <a:lnTo>
                      <a:pt x="501307" y="0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8" name="object 368"/>
              <p:cNvSpPr/>
              <p:nvPr/>
            </p:nvSpPr>
            <p:spPr>
              <a:xfrm>
                <a:off x="5386921" y="6548805"/>
                <a:ext cx="256540" cy="573405"/>
              </a:xfrm>
              <a:custGeom>
                <a:avLst/>
                <a:gdLst/>
                <a:ahLst/>
                <a:cxnLst/>
                <a:rect l="l" t="t" r="r" b="b"/>
                <a:pathLst>
                  <a:path w="256539" h="573404">
                    <a:moveTo>
                      <a:pt x="1358" y="0"/>
                    </a:moveTo>
                    <a:lnTo>
                      <a:pt x="0" y="0"/>
                    </a:lnTo>
                    <a:lnTo>
                      <a:pt x="0" y="10198"/>
                    </a:lnTo>
                    <a:lnTo>
                      <a:pt x="1358" y="10198"/>
                    </a:lnTo>
                    <a:lnTo>
                      <a:pt x="1358" y="0"/>
                    </a:lnTo>
                    <a:close/>
                  </a:path>
                  <a:path w="256539" h="573404">
                    <a:moveTo>
                      <a:pt x="10248" y="562749"/>
                    </a:moveTo>
                    <a:lnTo>
                      <a:pt x="0" y="562749"/>
                    </a:lnTo>
                    <a:lnTo>
                      <a:pt x="0" y="567855"/>
                    </a:lnTo>
                    <a:lnTo>
                      <a:pt x="0" y="572960"/>
                    </a:lnTo>
                    <a:lnTo>
                      <a:pt x="10248" y="572960"/>
                    </a:lnTo>
                    <a:lnTo>
                      <a:pt x="10248" y="567855"/>
                    </a:lnTo>
                    <a:lnTo>
                      <a:pt x="10248" y="562749"/>
                    </a:lnTo>
                    <a:close/>
                  </a:path>
                  <a:path w="256539" h="573404">
                    <a:moveTo>
                      <a:pt x="71716" y="567855"/>
                    </a:moveTo>
                    <a:lnTo>
                      <a:pt x="61468" y="567855"/>
                    </a:lnTo>
                    <a:lnTo>
                      <a:pt x="61468" y="572960"/>
                    </a:lnTo>
                    <a:lnTo>
                      <a:pt x="71716" y="572960"/>
                    </a:lnTo>
                    <a:lnTo>
                      <a:pt x="71716" y="567855"/>
                    </a:lnTo>
                    <a:close/>
                  </a:path>
                  <a:path w="256539" h="573404">
                    <a:moveTo>
                      <a:pt x="133184" y="567855"/>
                    </a:moveTo>
                    <a:lnTo>
                      <a:pt x="122948" y="567855"/>
                    </a:lnTo>
                    <a:lnTo>
                      <a:pt x="122948" y="572960"/>
                    </a:lnTo>
                    <a:lnTo>
                      <a:pt x="133184" y="572960"/>
                    </a:lnTo>
                    <a:lnTo>
                      <a:pt x="133184" y="567855"/>
                    </a:lnTo>
                    <a:close/>
                  </a:path>
                  <a:path w="256539" h="573404">
                    <a:moveTo>
                      <a:pt x="194652" y="567855"/>
                    </a:moveTo>
                    <a:lnTo>
                      <a:pt x="184416" y="567855"/>
                    </a:lnTo>
                    <a:lnTo>
                      <a:pt x="184416" y="572960"/>
                    </a:lnTo>
                    <a:lnTo>
                      <a:pt x="194652" y="572960"/>
                    </a:lnTo>
                    <a:lnTo>
                      <a:pt x="194652" y="567855"/>
                    </a:lnTo>
                    <a:close/>
                  </a:path>
                  <a:path w="256539" h="573404">
                    <a:moveTo>
                      <a:pt x="256133" y="562749"/>
                    </a:moveTo>
                    <a:lnTo>
                      <a:pt x="245884" y="562749"/>
                    </a:lnTo>
                    <a:lnTo>
                      <a:pt x="245884" y="572960"/>
                    </a:lnTo>
                    <a:lnTo>
                      <a:pt x="256133" y="572960"/>
                    </a:lnTo>
                    <a:lnTo>
                      <a:pt x="256133" y="562749"/>
                    </a:lnTo>
                    <a:close/>
                  </a:path>
                  <a:path w="256539" h="573404">
                    <a:moveTo>
                      <a:pt x="256133" y="0"/>
                    </a:moveTo>
                    <a:lnTo>
                      <a:pt x="245884" y="0"/>
                    </a:lnTo>
                    <a:lnTo>
                      <a:pt x="245884" y="10198"/>
                    </a:lnTo>
                    <a:lnTo>
                      <a:pt x="256133" y="10198"/>
                    </a:lnTo>
                    <a:lnTo>
                      <a:pt x="256133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9" name="object 369"/>
              <p:cNvSpPr/>
              <p:nvPr/>
            </p:nvSpPr>
            <p:spPr>
              <a:xfrm>
                <a:off x="5388291" y="6104948"/>
                <a:ext cx="222885" cy="1012190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1012190">
                    <a:moveTo>
                      <a:pt x="222802" y="1011706"/>
                    </a:moveTo>
                    <a:lnTo>
                      <a:pt x="0" y="1011706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1011706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0" name="object 370"/>
              <p:cNvSpPr/>
              <p:nvPr/>
            </p:nvSpPr>
            <p:spPr>
              <a:xfrm>
                <a:off x="5632805" y="5986043"/>
                <a:ext cx="256540" cy="1136015"/>
              </a:xfrm>
              <a:custGeom>
                <a:avLst/>
                <a:gdLst/>
                <a:ahLst/>
                <a:cxnLst/>
                <a:rect l="l" t="t" r="r" b="b"/>
                <a:pathLst>
                  <a:path w="256539" h="113601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10"/>
                    </a:lnTo>
                    <a:lnTo>
                      <a:pt x="10248" y="10210"/>
                    </a:lnTo>
                    <a:lnTo>
                      <a:pt x="10248" y="0"/>
                    </a:lnTo>
                    <a:close/>
                  </a:path>
                  <a:path w="256539" h="1136015">
                    <a:moveTo>
                      <a:pt x="71716" y="1130617"/>
                    </a:moveTo>
                    <a:lnTo>
                      <a:pt x="61468" y="1130617"/>
                    </a:lnTo>
                    <a:lnTo>
                      <a:pt x="61468" y="1135722"/>
                    </a:lnTo>
                    <a:lnTo>
                      <a:pt x="71716" y="1135722"/>
                    </a:lnTo>
                    <a:lnTo>
                      <a:pt x="71716" y="1130617"/>
                    </a:lnTo>
                    <a:close/>
                  </a:path>
                  <a:path w="256539" h="1136015">
                    <a:moveTo>
                      <a:pt x="133184" y="1130617"/>
                    </a:moveTo>
                    <a:lnTo>
                      <a:pt x="122936" y="1130617"/>
                    </a:lnTo>
                    <a:lnTo>
                      <a:pt x="122936" y="1135722"/>
                    </a:lnTo>
                    <a:lnTo>
                      <a:pt x="133184" y="1135722"/>
                    </a:lnTo>
                    <a:lnTo>
                      <a:pt x="133184" y="1130617"/>
                    </a:lnTo>
                    <a:close/>
                  </a:path>
                  <a:path w="256539" h="1136015">
                    <a:moveTo>
                      <a:pt x="194652" y="1130617"/>
                    </a:moveTo>
                    <a:lnTo>
                      <a:pt x="184404" y="1130617"/>
                    </a:lnTo>
                    <a:lnTo>
                      <a:pt x="184404" y="1135722"/>
                    </a:lnTo>
                    <a:lnTo>
                      <a:pt x="194652" y="1135722"/>
                    </a:lnTo>
                    <a:lnTo>
                      <a:pt x="194652" y="1130617"/>
                    </a:lnTo>
                    <a:close/>
                  </a:path>
                  <a:path w="256539" h="1136015">
                    <a:moveTo>
                      <a:pt x="256120" y="1130617"/>
                    </a:moveTo>
                    <a:lnTo>
                      <a:pt x="245884" y="1130617"/>
                    </a:lnTo>
                    <a:lnTo>
                      <a:pt x="245884" y="1135722"/>
                    </a:lnTo>
                    <a:lnTo>
                      <a:pt x="256120" y="1135722"/>
                    </a:lnTo>
                    <a:lnTo>
                      <a:pt x="256120" y="1130617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1" name="object 371"/>
              <p:cNvSpPr/>
              <p:nvPr/>
            </p:nvSpPr>
            <p:spPr>
              <a:xfrm>
                <a:off x="5666794" y="5555885"/>
                <a:ext cx="222885" cy="1560830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1560829">
                    <a:moveTo>
                      <a:pt x="222802" y="1560769"/>
                    </a:moveTo>
                    <a:lnTo>
                      <a:pt x="0" y="1560769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1560769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2" name="object 372"/>
              <p:cNvSpPr/>
              <p:nvPr/>
            </p:nvSpPr>
            <p:spPr>
              <a:xfrm>
                <a:off x="5386930" y="5986042"/>
                <a:ext cx="1905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1904" h="10795">
                    <a:moveTo>
                      <a:pt x="0" y="10205"/>
                    </a:moveTo>
                    <a:lnTo>
                      <a:pt x="1360" y="10205"/>
                    </a:lnTo>
                    <a:lnTo>
                      <a:pt x="1360" y="0"/>
                    </a:lnTo>
                    <a:lnTo>
                      <a:pt x="0" y="0"/>
                    </a:lnTo>
                    <a:lnTo>
                      <a:pt x="0" y="10205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3" name="object 373"/>
              <p:cNvSpPr/>
              <p:nvPr/>
            </p:nvSpPr>
            <p:spPr>
              <a:xfrm>
                <a:off x="5388291" y="5920727"/>
                <a:ext cx="222885" cy="184785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184785">
                    <a:moveTo>
                      <a:pt x="222802" y="184220"/>
                    </a:moveTo>
                    <a:lnTo>
                      <a:pt x="0" y="184220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184220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4" name="object 374"/>
              <p:cNvSpPr/>
              <p:nvPr/>
            </p:nvSpPr>
            <p:spPr>
              <a:xfrm>
                <a:off x="5632810" y="5423288"/>
                <a:ext cx="10795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5">
                    <a:moveTo>
                      <a:pt x="10245" y="10205"/>
                    </a:moveTo>
                    <a:lnTo>
                      <a:pt x="0" y="10205"/>
                    </a:lnTo>
                    <a:lnTo>
                      <a:pt x="0" y="0"/>
                    </a:lnTo>
                    <a:lnTo>
                      <a:pt x="10245" y="0"/>
                    </a:lnTo>
                    <a:lnTo>
                      <a:pt x="10245" y="10205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5" name="object 375"/>
              <p:cNvSpPr/>
              <p:nvPr/>
            </p:nvSpPr>
            <p:spPr>
              <a:xfrm>
                <a:off x="5666794" y="5389819"/>
                <a:ext cx="222885" cy="166370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166370">
                    <a:moveTo>
                      <a:pt x="222802" y="166066"/>
                    </a:moveTo>
                    <a:lnTo>
                      <a:pt x="0" y="166066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166066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6" name="object 376"/>
              <p:cNvSpPr/>
              <p:nvPr/>
            </p:nvSpPr>
            <p:spPr>
              <a:xfrm>
                <a:off x="5940158" y="5423293"/>
                <a:ext cx="256540" cy="1698625"/>
              </a:xfrm>
              <a:custGeom>
                <a:avLst/>
                <a:gdLst/>
                <a:ahLst/>
                <a:cxnLst/>
                <a:rect l="l" t="t" r="r" b="b"/>
                <a:pathLst>
                  <a:path w="256539" h="1698625">
                    <a:moveTo>
                      <a:pt x="5130" y="1125512"/>
                    </a:moveTo>
                    <a:lnTo>
                      <a:pt x="0" y="1125512"/>
                    </a:lnTo>
                    <a:lnTo>
                      <a:pt x="0" y="1135710"/>
                    </a:lnTo>
                    <a:lnTo>
                      <a:pt x="5130" y="1135710"/>
                    </a:lnTo>
                    <a:lnTo>
                      <a:pt x="5130" y="1125512"/>
                    </a:lnTo>
                    <a:close/>
                  </a:path>
                  <a:path w="256539" h="1698625">
                    <a:moveTo>
                      <a:pt x="5130" y="562749"/>
                    </a:moveTo>
                    <a:lnTo>
                      <a:pt x="0" y="562749"/>
                    </a:lnTo>
                    <a:lnTo>
                      <a:pt x="0" y="572960"/>
                    </a:lnTo>
                    <a:lnTo>
                      <a:pt x="5130" y="572960"/>
                    </a:lnTo>
                    <a:lnTo>
                      <a:pt x="5130" y="562749"/>
                    </a:lnTo>
                    <a:close/>
                  </a:path>
                  <a:path w="256539" h="1698625">
                    <a:moveTo>
                      <a:pt x="5130" y="0"/>
                    </a:moveTo>
                    <a:lnTo>
                      <a:pt x="0" y="0"/>
                    </a:lnTo>
                    <a:lnTo>
                      <a:pt x="0" y="10210"/>
                    </a:lnTo>
                    <a:lnTo>
                      <a:pt x="5130" y="10210"/>
                    </a:lnTo>
                    <a:lnTo>
                      <a:pt x="5130" y="0"/>
                    </a:lnTo>
                    <a:close/>
                  </a:path>
                  <a:path w="256539" h="1698625">
                    <a:moveTo>
                      <a:pt x="10236" y="1688261"/>
                    </a:moveTo>
                    <a:lnTo>
                      <a:pt x="0" y="1688261"/>
                    </a:lnTo>
                    <a:lnTo>
                      <a:pt x="0" y="1693367"/>
                    </a:lnTo>
                    <a:lnTo>
                      <a:pt x="0" y="1698472"/>
                    </a:lnTo>
                    <a:lnTo>
                      <a:pt x="10236" y="1698472"/>
                    </a:lnTo>
                    <a:lnTo>
                      <a:pt x="10236" y="1693367"/>
                    </a:lnTo>
                    <a:lnTo>
                      <a:pt x="10236" y="1688261"/>
                    </a:lnTo>
                    <a:close/>
                  </a:path>
                  <a:path w="256539" h="1698625">
                    <a:moveTo>
                      <a:pt x="71716" y="1693367"/>
                    </a:moveTo>
                    <a:lnTo>
                      <a:pt x="61468" y="1693367"/>
                    </a:lnTo>
                    <a:lnTo>
                      <a:pt x="61468" y="1698472"/>
                    </a:lnTo>
                    <a:lnTo>
                      <a:pt x="71716" y="1698472"/>
                    </a:lnTo>
                    <a:lnTo>
                      <a:pt x="71716" y="1693367"/>
                    </a:lnTo>
                    <a:close/>
                  </a:path>
                  <a:path w="256539" h="1698625">
                    <a:moveTo>
                      <a:pt x="133184" y="1693367"/>
                    </a:moveTo>
                    <a:lnTo>
                      <a:pt x="122936" y="1693367"/>
                    </a:lnTo>
                    <a:lnTo>
                      <a:pt x="122936" y="1698472"/>
                    </a:lnTo>
                    <a:lnTo>
                      <a:pt x="133184" y="1698472"/>
                    </a:lnTo>
                    <a:lnTo>
                      <a:pt x="133184" y="1693367"/>
                    </a:lnTo>
                    <a:close/>
                  </a:path>
                  <a:path w="256539" h="1698625">
                    <a:moveTo>
                      <a:pt x="194652" y="1693367"/>
                    </a:moveTo>
                    <a:lnTo>
                      <a:pt x="184404" y="1693367"/>
                    </a:lnTo>
                    <a:lnTo>
                      <a:pt x="184404" y="1698472"/>
                    </a:lnTo>
                    <a:lnTo>
                      <a:pt x="194652" y="1698472"/>
                    </a:lnTo>
                    <a:lnTo>
                      <a:pt x="194652" y="1693367"/>
                    </a:lnTo>
                    <a:close/>
                  </a:path>
                  <a:path w="256539" h="1698625">
                    <a:moveTo>
                      <a:pt x="256120" y="1688261"/>
                    </a:moveTo>
                    <a:lnTo>
                      <a:pt x="245872" y="1688261"/>
                    </a:lnTo>
                    <a:lnTo>
                      <a:pt x="245872" y="1698472"/>
                    </a:lnTo>
                    <a:lnTo>
                      <a:pt x="256120" y="1698472"/>
                    </a:lnTo>
                    <a:lnTo>
                      <a:pt x="256120" y="1688261"/>
                    </a:lnTo>
                    <a:close/>
                  </a:path>
                  <a:path w="256539" h="1698625">
                    <a:moveTo>
                      <a:pt x="256120" y="1125512"/>
                    </a:moveTo>
                    <a:lnTo>
                      <a:pt x="245872" y="1125512"/>
                    </a:lnTo>
                    <a:lnTo>
                      <a:pt x="245872" y="1135710"/>
                    </a:lnTo>
                    <a:lnTo>
                      <a:pt x="256120" y="1135710"/>
                    </a:lnTo>
                    <a:lnTo>
                      <a:pt x="256120" y="1125512"/>
                    </a:lnTo>
                    <a:close/>
                  </a:path>
                  <a:path w="256539" h="1698625">
                    <a:moveTo>
                      <a:pt x="256120" y="562749"/>
                    </a:moveTo>
                    <a:lnTo>
                      <a:pt x="245872" y="562749"/>
                    </a:lnTo>
                    <a:lnTo>
                      <a:pt x="245872" y="572960"/>
                    </a:lnTo>
                    <a:lnTo>
                      <a:pt x="256120" y="572960"/>
                    </a:lnTo>
                    <a:lnTo>
                      <a:pt x="256120" y="562749"/>
                    </a:lnTo>
                    <a:close/>
                  </a:path>
                  <a:path w="256539" h="1698625">
                    <a:moveTo>
                      <a:pt x="256120" y="0"/>
                    </a:moveTo>
                    <a:lnTo>
                      <a:pt x="245872" y="0"/>
                    </a:lnTo>
                    <a:lnTo>
                      <a:pt x="245872" y="10210"/>
                    </a:lnTo>
                    <a:lnTo>
                      <a:pt x="256120" y="10210"/>
                    </a:lnTo>
                    <a:lnTo>
                      <a:pt x="256120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7" name="object 377"/>
              <p:cNvSpPr/>
              <p:nvPr/>
            </p:nvSpPr>
            <p:spPr>
              <a:xfrm>
                <a:off x="5945298" y="5346290"/>
                <a:ext cx="222885" cy="1770380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1770379">
                    <a:moveTo>
                      <a:pt x="222802" y="1770364"/>
                    </a:moveTo>
                    <a:lnTo>
                      <a:pt x="0" y="1770364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1770364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8" name="object 378"/>
              <p:cNvSpPr/>
              <p:nvPr/>
            </p:nvSpPr>
            <p:spPr>
              <a:xfrm>
                <a:off x="6247511" y="7116660"/>
                <a:ext cx="194945" cy="5715"/>
              </a:xfrm>
              <a:custGeom>
                <a:avLst/>
                <a:gdLst/>
                <a:ahLst/>
                <a:cxnLst/>
                <a:rect l="l" t="t" r="r" b="b"/>
                <a:pathLst>
                  <a:path w="194945" h="5715">
                    <a:moveTo>
                      <a:pt x="10236" y="0"/>
                    </a:moveTo>
                    <a:lnTo>
                      <a:pt x="0" y="0"/>
                    </a:lnTo>
                    <a:lnTo>
                      <a:pt x="0" y="5105"/>
                    </a:lnTo>
                    <a:lnTo>
                      <a:pt x="10236" y="5105"/>
                    </a:lnTo>
                    <a:lnTo>
                      <a:pt x="10236" y="0"/>
                    </a:lnTo>
                    <a:close/>
                  </a:path>
                  <a:path w="194945" h="5715">
                    <a:moveTo>
                      <a:pt x="71704" y="0"/>
                    </a:moveTo>
                    <a:lnTo>
                      <a:pt x="61468" y="0"/>
                    </a:lnTo>
                    <a:lnTo>
                      <a:pt x="61468" y="5105"/>
                    </a:lnTo>
                    <a:lnTo>
                      <a:pt x="71704" y="5105"/>
                    </a:lnTo>
                    <a:lnTo>
                      <a:pt x="71704" y="0"/>
                    </a:lnTo>
                    <a:close/>
                  </a:path>
                  <a:path w="194945" h="5715">
                    <a:moveTo>
                      <a:pt x="133184" y="0"/>
                    </a:moveTo>
                    <a:lnTo>
                      <a:pt x="122936" y="0"/>
                    </a:lnTo>
                    <a:lnTo>
                      <a:pt x="122936" y="5105"/>
                    </a:lnTo>
                    <a:lnTo>
                      <a:pt x="133184" y="5105"/>
                    </a:lnTo>
                    <a:lnTo>
                      <a:pt x="133184" y="0"/>
                    </a:lnTo>
                    <a:close/>
                  </a:path>
                  <a:path w="194945" h="5715">
                    <a:moveTo>
                      <a:pt x="194652" y="0"/>
                    </a:moveTo>
                    <a:lnTo>
                      <a:pt x="184404" y="0"/>
                    </a:lnTo>
                    <a:lnTo>
                      <a:pt x="184404" y="5105"/>
                    </a:lnTo>
                    <a:lnTo>
                      <a:pt x="194652" y="5105"/>
                    </a:lnTo>
                    <a:lnTo>
                      <a:pt x="194652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9" name="object 379"/>
              <p:cNvSpPr/>
              <p:nvPr/>
            </p:nvSpPr>
            <p:spPr>
              <a:xfrm>
                <a:off x="6223801" y="5687491"/>
                <a:ext cx="222885" cy="1429385"/>
              </a:xfrm>
              <a:custGeom>
                <a:avLst/>
                <a:gdLst/>
                <a:ahLst/>
                <a:cxnLst/>
                <a:rect l="l" t="t" r="r" b="b"/>
                <a:pathLst>
                  <a:path w="222885" h="1429384">
                    <a:moveTo>
                      <a:pt x="222802" y="1429163"/>
                    </a:moveTo>
                    <a:lnTo>
                      <a:pt x="0" y="1429163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1429163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80" name="object 380"/>
              <p:cNvSpPr/>
              <p:nvPr/>
            </p:nvSpPr>
            <p:spPr>
              <a:xfrm>
                <a:off x="5945289" y="5200383"/>
                <a:ext cx="501650" cy="487680"/>
              </a:xfrm>
              <a:custGeom>
                <a:avLst/>
                <a:gdLst/>
                <a:ahLst/>
                <a:cxnLst/>
                <a:rect l="l" t="t" r="r" b="b"/>
                <a:pathLst>
                  <a:path w="501650" h="487679">
                    <a:moveTo>
                      <a:pt x="222808" y="0"/>
                    </a:moveTo>
                    <a:lnTo>
                      <a:pt x="0" y="0"/>
                    </a:lnTo>
                    <a:lnTo>
                      <a:pt x="0" y="145910"/>
                    </a:lnTo>
                    <a:lnTo>
                      <a:pt x="222808" y="145910"/>
                    </a:lnTo>
                    <a:lnTo>
                      <a:pt x="222808" y="0"/>
                    </a:lnTo>
                    <a:close/>
                  </a:path>
                  <a:path w="501650" h="487679">
                    <a:moveTo>
                      <a:pt x="501307" y="345770"/>
                    </a:moveTo>
                    <a:lnTo>
                      <a:pt x="278511" y="345770"/>
                    </a:lnTo>
                    <a:lnTo>
                      <a:pt x="278511" y="487108"/>
                    </a:lnTo>
                    <a:lnTo>
                      <a:pt x="501307" y="487108"/>
                    </a:lnTo>
                    <a:lnTo>
                      <a:pt x="501307" y="345770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81" name="object 381"/>
              <p:cNvSpPr/>
              <p:nvPr/>
            </p:nvSpPr>
            <p:spPr>
              <a:xfrm>
                <a:off x="6493383" y="6548805"/>
                <a:ext cx="256540" cy="573405"/>
              </a:xfrm>
              <a:custGeom>
                <a:avLst/>
                <a:gdLst/>
                <a:ahLst/>
                <a:cxnLst/>
                <a:rect l="l" t="t" r="r" b="b"/>
                <a:pathLst>
                  <a:path w="256540" h="573404">
                    <a:moveTo>
                      <a:pt x="8915" y="0"/>
                    </a:moveTo>
                    <a:lnTo>
                      <a:pt x="0" y="0"/>
                    </a:lnTo>
                    <a:lnTo>
                      <a:pt x="0" y="10198"/>
                    </a:lnTo>
                    <a:lnTo>
                      <a:pt x="8915" y="10198"/>
                    </a:lnTo>
                    <a:lnTo>
                      <a:pt x="8915" y="0"/>
                    </a:lnTo>
                    <a:close/>
                  </a:path>
                  <a:path w="256540" h="573404">
                    <a:moveTo>
                      <a:pt x="10248" y="562749"/>
                    </a:moveTo>
                    <a:lnTo>
                      <a:pt x="0" y="562749"/>
                    </a:lnTo>
                    <a:lnTo>
                      <a:pt x="0" y="567855"/>
                    </a:lnTo>
                    <a:lnTo>
                      <a:pt x="0" y="572960"/>
                    </a:lnTo>
                    <a:lnTo>
                      <a:pt x="10248" y="572960"/>
                    </a:lnTo>
                    <a:lnTo>
                      <a:pt x="10248" y="567855"/>
                    </a:lnTo>
                    <a:lnTo>
                      <a:pt x="10248" y="562749"/>
                    </a:lnTo>
                    <a:close/>
                  </a:path>
                  <a:path w="256540" h="573404">
                    <a:moveTo>
                      <a:pt x="71716" y="567855"/>
                    </a:moveTo>
                    <a:lnTo>
                      <a:pt x="61468" y="567855"/>
                    </a:lnTo>
                    <a:lnTo>
                      <a:pt x="61468" y="572960"/>
                    </a:lnTo>
                    <a:lnTo>
                      <a:pt x="71716" y="572960"/>
                    </a:lnTo>
                    <a:lnTo>
                      <a:pt x="71716" y="567855"/>
                    </a:lnTo>
                    <a:close/>
                  </a:path>
                  <a:path w="256540" h="573404">
                    <a:moveTo>
                      <a:pt x="133184" y="567855"/>
                    </a:moveTo>
                    <a:lnTo>
                      <a:pt x="122948" y="567855"/>
                    </a:lnTo>
                    <a:lnTo>
                      <a:pt x="122948" y="572960"/>
                    </a:lnTo>
                    <a:lnTo>
                      <a:pt x="133184" y="572960"/>
                    </a:lnTo>
                    <a:lnTo>
                      <a:pt x="133184" y="567855"/>
                    </a:lnTo>
                    <a:close/>
                  </a:path>
                  <a:path w="256540" h="573404">
                    <a:moveTo>
                      <a:pt x="194652" y="567855"/>
                    </a:moveTo>
                    <a:lnTo>
                      <a:pt x="184416" y="567855"/>
                    </a:lnTo>
                    <a:lnTo>
                      <a:pt x="184416" y="572960"/>
                    </a:lnTo>
                    <a:lnTo>
                      <a:pt x="194652" y="572960"/>
                    </a:lnTo>
                    <a:lnTo>
                      <a:pt x="194652" y="567855"/>
                    </a:lnTo>
                    <a:close/>
                  </a:path>
                  <a:path w="256540" h="573404">
                    <a:moveTo>
                      <a:pt x="256133" y="562749"/>
                    </a:moveTo>
                    <a:lnTo>
                      <a:pt x="245884" y="562749"/>
                    </a:lnTo>
                    <a:lnTo>
                      <a:pt x="245884" y="572960"/>
                    </a:lnTo>
                    <a:lnTo>
                      <a:pt x="256133" y="572960"/>
                    </a:lnTo>
                    <a:lnTo>
                      <a:pt x="256133" y="562749"/>
                    </a:lnTo>
                    <a:close/>
                  </a:path>
                  <a:path w="256540" h="573404">
                    <a:moveTo>
                      <a:pt x="256133" y="0"/>
                    </a:moveTo>
                    <a:lnTo>
                      <a:pt x="245884" y="0"/>
                    </a:lnTo>
                    <a:lnTo>
                      <a:pt x="245884" y="10198"/>
                    </a:lnTo>
                    <a:lnTo>
                      <a:pt x="256133" y="10198"/>
                    </a:lnTo>
                    <a:lnTo>
                      <a:pt x="256133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82" name="object 382"/>
              <p:cNvSpPr/>
              <p:nvPr/>
            </p:nvSpPr>
            <p:spPr>
              <a:xfrm>
                <a:off x="6502305" y="6178697"/>
                <a:ext cx="222885" cy="938530"/>
              </a:xfrm>
              <a:custGeom>
                <a:avLst/>
                <a:gdLst/>
                <a:ahLst/>
                <a:cxnLst/>
                <a:rect l="l" t="t" r="r" b="b"/>
                <a:pathLst>
                  <a:path w="222884" h="938529">
                    <a:moveTo>
                      <a:pt x="222802" y="937957"/>
                    </a:moveTo>
                    <a:lnTo>
                      <a:pt x="0" y="937957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937957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83" name="object 383"/>
              <p:cNvSpPr/>
              <p:nvPr/>
            </p:nvSpPr>
            <p:spPr>
              <a:xfrm>
                <a:off x="6800736" y="7116660"/>
                <a:ext cx="203200" cy="5715"/>
              </a:xfrm>
              <a:custGeom>
                <a:avLst/>
                <a:gdLst/>
                <a:ahLst/>
                <a:cxnLst/>
                <a:rect l="l" t="t" r="r" b="b"/>
                <a:pathLst>
                  <a:path w="203200" h="571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5105"/>
                    </a:lnTo>
                    <a:lnTo>
                      <a:pt x="10248" y="5105"/>
                    </a:lnTo>
                    <a:lnTo>
                      <a:pt x="10248" y="0"/>
                    </a:lnTo>
                    <a:close/>
                  </a:path>
                  <a:path w="203200" h="5715">
                    <a:moveTo>
                      <a:pt x="71716" y="0"/>
                    </a:moveTo>
                    <a:lnTo>
                      <a:pt x="61468" y="0"/>
                    </a:lnTo>
                    <a:lnTo>
                      <a:pt x="61468" y="5105"/>
                    </a:lnTo>
                    <a:lnTo>
                      <a:pt x="71716" y="5105"/>
                    </a:lnTo>
                    <a:lnTo>
                      <a:pt x="71716" y="0"/>
                    </a:lnTo>
                    <a:close/>
                  </a:path>
                  <a:path w="203200" h="5715">
                    <a:moveTo>
                      <a:pt x="133184" y="0"/>
                    </a:moveTo>
                    <a:lnTo>
                      <a:pt x="122936" y="0"/>
                    </a:lnTo>
                    <a:lnTo>
                      <a:pt x="122936" y="5105"/>
                    </a:lnTo>
                    <a:lnTo>
                      <a:pt x="133184" y="5105"/>
                    </a:lnTo>
                    <a:lnTo>
                      <a:pt x="133184" y="0"/>
                    </a:lnTo>
                    <a:close/>
                  </a:path>
                  <a:path w="203200" h="5715">
                    <a:moveTo>
                      <a:pt x="202869" y="0"/>
                    </a:moveTo>
                    <a:lnTo>
                      <a:pt x="194652" y="0"/>
                    </a:lnTo>
                    <a:lnTo>
                      <a:pt x="192620" y="0"/>
                    </a:lnTo>
                    <a:lnTo>
                      <a:pt x="184416" y="0"/>
                    </a:lnTo>
                    <a:lnTo>
                      <a:pt x="184416" y="5105"/>
                    </a:lnTo>
                    <a:lnTo>
                      <a:pt x="192620" y="5105"/>
                    </a:lnTo>
                    <a:lnTo>
                      <a:pt x="194652" y="5105"/>
                    </a:lnTo>
                    <a:lnTo>
                      <a:pt x="202869" y="5105"/>
                    </a:lnTo>
                    <a:lnTo>
                      <a:pt x="202869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84" name="object 384"/>
              <p:cNvSpPr/>
              <p:nvPr/>
            </p:nvSpPr>
            <p:spPr>
              <a:xfrm>
                <a:off x="6780809" y="6890154"/>
                <a:ext cx="222885" cy="226695"/>
              </a:xfrm>
              <a:custGeom>
                <a:avLst/>
                <a:gdLst/>
                <a:ahLst/>
                <a:cxnLst/>
                <a:rect l="l" t="t" r="r" b="b"/>
                <a:pathLst>
                  <a:path w="222884" h="226695">
                    <a:moveTo>
                      <a:pt x="222802" y="226500"/>
                    </a:moveTo>
                    <a:lnTo>
                      <a:pt x="0" y="226500"/>
                    </a:lnTo>
                    <a:lnTo>
                      <a:pt x="0" y="0"/>
                    </a:lnTo>
                    <a:lnTo>
                      <a:pt x="222802" y="0"/>
                    </a:lnTo>
                    <a:lnTo>
                      <a:pt x="222802" y="226500"/>
                    </a:lnTo>
                    <a:close/>
                  </a:path>
                </a:pathLst>
              </a:custGeom>
              <a:solidFill>
                <a:srgbClr val="12239D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85" name="object 385"/>
              <p:cNvSpPr/>
              <p:nvPr/>
            </p:nvSpPr>
            <p:spPr>
              <a:xfrm>
                <a:off x="6502298" y="6093015"/>
                <a:ext cx="501650" cy="797560"/>
              </a:xfrm>
              <a:custGeom>
                <a:avLst/>
                <a:gdLst/>
                <a:ahLst/>
                <a:cxnLst/>
                <a:rect l="l" t="t" r="r" b="b"/>
                <a:pathLst>
                  <a:path w="501650" h="797559">
                    <a:moveTo>
                      <a:pt x="222808" y="0"/>
                    </a:moveTo>
                    <a:lnTo>
                      <a:pt x="0" y="0"/>
                    </a:lnTo>
                    <a:lnTo>
                      <a:pt x="0" y="85686"/>
                    </a:lnTo>
                    <a:lnTo>
                      <a:pt x="222808" y="85686"/>
                    </a:lnTo>
                    <a:lnTo>
                      <a:pt x="222808" y="0"/>
                    </a:lnTo>
                    <a:close/>
                  </a:path>
                  <a:path w="501650" h="797559">
                    <a:moveTo>
                      <a:pt x="501307" y="789495"/>
                    </a:moveTo>
                    <a:lnTo>
                      <a:pt x="278498" y="789495"/>
                    </a:lnTo>
                    <a:lnTo>
                      <a:pt x="278498" y="797140"/>
                    </a:lnTo>
                    <a:lnTo>
                      <a:pt x="501307" y="797140"/>
                    </a:lnTo>
                    <a:lnTo>
                      <a:pt x="501307" y="789495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86" name="object 386"/>
              <p:cNvSpPr/>
              <p:nvPr/>
            </p:nvSpPr>
            <p:spPr>
              <a:xfrm>
                <a:off x="715200" y="6548805"/>
                <a:ext cx="4313555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4313555" h="10795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198"/>
                    </a:lnTo>
                    <a:lnTo>
                      <a:pt x="10236" y="10198"/>
                    </a:lnTo>
                    <a:lnTo>
                      <a:pt x="10236" y="0"/>
                    </a:lnTo>
                    <a:close/>
                  </a:path>
                  <a:path w="4313555" h="10795">
                    <a:moveTo>
                      <a:pt x="71704" y="0"/>
                    </a:moveTo>
                    <a:lnTo>
                      <a:pt x="61468" y="0"/>
                    </a:lnTo>
                    <a:lnTo>
                      <a:pt x="61468" y="10198"/>
                    </a:lnTo>
                    <a:lnTo>
                      <a:pt x="71704" y="10198"/>
                    </a:lnTo>
                    <a:lnTo>
                      <a:pt x="71704" y="0"/>
                    </a:lnTo>
                    <a:close/>
                  </a:path>
                  <a:path w="4313555" h="10795">
                    <a:moveTo>
                      <a:pt x="133184" y="0"/>
                    </a:moveTo>
                    <a:lnTo>
                      <a:pt x="122936" y="0"/>
                    </a:lnTo>
                    <a:lnTo>
                      <a:pt x="122936" y="10198"/>
                    </a:lnTo>
                    <a:lnTo>
                      <a:pt x="133184" y="10198"/>
                    </a:lnTo>
                    <a:lnTo>
                      <a:pt x="133184" y="0"/>
                    </a:lnTo>
                    <a:close/>
                  </a:path>
                  <a:path w="4313555" h="10795">
                    <a:moveTo>
                      <a:pt x="194652" y="0"/>
                    </a:moveTo>
                    <a:lnTo>
                      <a:pt x="184404" y="0"/>
                    </a:lnTo>
                    <a:lnTo>
                      <a:pt x="184404" y="10198"/>
                    </a:lnTo>
                    <a:lnTo>
                      <a:pt x="194652" y="10198"/>
                    </a:lnTo>
                    <a:lnTo>
                      <a:pt x="194652" y="0"/>
                    </a:lnTo>
                    <a:close/>
                  </a:path>
                  <a:path w="4313555" h="10795">
                    <a:moveTo>
                      <a:pt x="256120" y="0"/>
                    </a:moveTo>
                    <a:lnTo>
                      <a:pt x="245872" y="0"/>
                    </a:lnTo>
                    <a:lnTo>
                      <a:pt x="245872" y="10198"/>
                    </a:lnTo>
                    <a:lnTo>
                      <a:pt x="256120" y="10198"/>
                    </a:lnTo>
                    <a:lnTo>
                      <a:pt x="256120" y="0"/>
                    </a:lnTo>
                    <a:close/>
                  </a:path>
                  <a:path w="4313555" h="10795">
                    <a:moveTo>
                      <a:pt x="317588" y="0"/>
                    </a:moveTo>
                    <a:lnTo>
                      <a:pt x="307340" y="0"/>
                    </a:lnTo>
                    <a:lnTo>
                      <a:pt x="307340" y="10198"/>
                    </a:lnTo>
                    <a:lnTo>
                      <a:pt x="317588" y="10198"/>
                    </a:lnTo>
                    <a:lnTo>
                      <a:pt x="317588" y="0"/>
                    </a:lnTo>
                    <a:close/>
                  </a:path>
                  <a:path w="4313555" h="10795">
                    <a:moveTo>
                      <a:pt x="379056" y="0"/>
                    </a:moveTo>
                    <a:lnTo>
                      <a:pt x="368820" y="0"/>
                    </a:lnTo>
                    <a:lnTo>
                      <a:pt x="368820" y="10198"/>
                    </a:lnTo>
                    <a:lnTo>
                      <a:pt x="379056" y="10198"/>
                    </a:lnTo>
                    <a:lnTo>
                      <a:pt x="379056" y="0"/>
                    </a:lnTo>
                    <a:close/>
                  </a:path>
                  <a:path w="4313555" h="10795">
                    <a:moveTo>
                      <a:pt x="440524" y="0"/>
                    </a:moveTo>
                    <a:lnTo>
                      <a:pt x="430288" y="0"/>
                    </a:lnTo>
                    <a:lnTo>
                      <a:pt x="430288" y="10198"/>
                    </a:lnTo>
                    <a:lnTo>
                      <a:pt x="440524" y="10198"/>
                    </a:lnTo>
                    <a:lnTo>
                      <a:pt x="440524" y="0"/>
                    </a:lnTo>
                    <a:close/>
                  </a:path>
                  <a:path w="4313555" h="10795">
                    <a:moveTo>
                      <a:pt x="502005" y="0"/>
                    </a:moveTo>
                    <a:lnTo>
                      <a:pt x="491756" y="0"/>
                    </a:lnTo>
                    <a:lnTo>
                      <a:pt x="491756" y="10198"/>
                    </a:lnTo>
                    <a:lnTo>
                      <a:pt x="502005" y="10198"/>
                    </a:lnTo>
                    <a:lnTo>
                      <a:pt x="502005" y="0"/>
                    </a:lnTo>
                    <a:close/>
                  </a:path>
                  <a:path w="4313555" h="10795">
                    <a:moveTo>
                      <a:pt x="563473" y="0"/>
                    </a:moveTo>
                    <a:lnTo>
                      <a:pt x="553224" y="0"/>
                    </a:lnTo>
                    <a:lnTo>
                      <a:pt x="553224" y="10198"/>
                    </a:lnTo>
                    <a:lnTo>
                      <a:pt x="563473" y="10198"/>
                    </a:lnTo>
                    <a:lnTo>
                      <a:pt x="563473" y="0"/>
                    </a:lnTo>
                    <a:close/>
                  </a:path>
                  <a:path w="4313555" h="10795">
                    <a:moveTo>
                      <a:pt x="624941" y="0"/>
                    </a:moveTo>
                    <a:lnTo>
                      <a:pt x="614692" y="0"/>
                    </a:lnTo>
                    <a:lnTo>
                      <a:pt x="614692" y="10198"/>
                    </a:lnTo>
                    <a:lnTo>
                      <a:pt x="624941" y="10198"/>
                    </a:lnTo>
                    <a:lnTo>
                      <a:pt x="624941" y="0"/>
                    </a:lnTo>
                    <a:close/>
                  </a:path>
                  <a:path w="4313555" h="10795">
                    <a:moveTo>
                      <a:pt x="686409" y="0"/>
                    </a:moveTo>
                    <a:lnTo>
                      <a:pt x="676160" y="0"/>
                    </a:lnTo>
                    <a:lnTo>
                      <a:pt x="676160" y="10198"/>
                    </a:lnTo>
                    <a:lnTo>
                      <a:pt x="686409" y="10198"/>
                    </a:lnTo>
                    <a:lnTo>
                      <a:pt x="686409" y="0"/>
                    </a:lnTo>
                    <a:close/>
                  </a:path>
                  <a:path w="4313555" h="10795">
                    <a:moveTo>
                      <a:pt x="747877" y="0"/>
                    </a:moveTo>
                    <a:lnTo>
                      <a:pt x="737641" y="0"/>
                    </a:lnTo>
                    <a:lnTo>
                      <a:pt x="737641" y="10198"/>
                    </a:lnTo>
                    <a:lnTo>
                      <a:pt x="747877" y="10198"/>
                    </a:lnTo>
                    <a:lnTo>
                      <a:pt x="747877" y="0"/>
                    </a:lnTo>
                    <a:close/>
                  </a:path>
                  <a:path w="4313555" h="10795">
                    <a:moveTo>
                      <a:pt x="809345" y="0"/>
                    </a:moveTo>
                    <a:lnTo>
                      <a:pt x="799109" y="0"/>
                    </a:lnTo>
                    <a:lnTo>
                      <a:pt x="799109" y="10198"/>
                    </a:lnTo>
                    <a:lnTo>
                      <a:pt x="809345" y="10198"/>
                    </a:lnTo>
                    <a:lnTo>
                      <a:pt x="809345" y="0"/>
                    </a:lnTo>
                    <a:close/>
                  </a:path>
                  <a:path w="4313555" h="10795">
                    <a:moveTo>
                      <a:pt x="870826" y="0"/>
                    </a:moveTo>
                    <a:lnTo>
                      <a:pt x="860577" y="0"/>
                    </a:lnTo>
                    <a:lnTo>
                      <a:pt x="860577" y="10198"/>
                    </a:lnTo>
                    <a:lnTo>
                      <a:pt x="870826" y="10198"/>
                    </a:lnTo>
                    <a:lnTo>
                      <a:pt x="870826" y="0"/>
                    </a:lnTo>
                    <a:close/>
                  </a:path>
                  <a:path w="4313555" h="10795">
                    <a:moveTo>
                      <a:pt x="932294" y="0"/>
                    </a:moveTo>
                    <a:lnTo>
                      <a:pt x="922045" y="0"/>
                    </a:lnTo>
                    <a:lnTo>
                      <a:pt x="922045" y="10198"/>
                    </a:lnTo>
                    <a:lnTo>
                      <a:pt x="932294" y="10198"/>
                    </a:lnTo>
                    <a:lnTo>
                      <a:pt x="932294" y="0"/>
                    </a:lnTo>
                    <a:close/>
                  </a:path>
                  <a:path w="4313555" h="10795">
                    <a:moveTo>
                      <a:pt x="993762" y="0"/>
                    </a:moveTo>
                    <a:lnTo>
                      <a:pt x="983513" y="0"/>
                    </a:lnTo>
                    <a:lnTo>
                      <a:pt x="983513" y="10198"/>
                    </a:lnTo>
                    <a:lnTo>
                      <a:pt x="993762" y="10198"/>
                    </a:lnTo>
                    <a:lnTo>
                      <a:pt x="993762" y="0"/>
                    </a:lnTo>
                    <a:close/>
                  </a:path>
                  <a:path w="4313555" h="10795">
                    <a:moveTo>
                      <a:pt x="1055230" y="0"/>
                    </a:moveTo>
                    <a:lnTo>
                      <a:pt x="1044981" y="0"/>
                    </a:lnTo>
                    <a:lnTo>
                      <a:pt x="1044981" y="10198"/>
                    </a:lnTo>
                    <a:lnTo>
                      <a:pt x="1055230" y="10198"/>
                    </a:lnTo>
                    <a:lnTo>
                      <a:pt x="1055230" y="0"/>
                    </a:lnTo>
                    <a:close/>
                  </a:path>
                  <a:path w="4313555" h="10795">
                    <a:moveTo>
                      <a:pt x="1116698" y="0"/>
                    </a:moveTo>
                    <a:lnTo>
                      <a:pt x="1106462" y="0"/>
                    </a:lnTo>
                    <a:lnTo>
                      <a:pt x="1106462" y="10198"/>
                    </a:lnTo>
                    <a:lnTo>
                      <a:pt x="1116698" y="10198"/>
                    </a:lnTo>
                    <a:lnTo>
                      <a:pt x="1116698" y="0"/>
                    </a:lnTo>
                    <a:close/>
                  </a:path>
                  <a:path w="4313555" h="10795">
                    <a:moveTo>
                      <a:pt x="1178166" y="0"/>
                    </a:moveTo>
                    <a:lnTo>
                      <a:pt x="1167930" y="0"/>
                    </a:lnTo>
                    <a:lnTo>
                      <a:pt x="1167930" y="10198"/>
                    </a:lnTo>
                    <a:lnTo>
                      <a:pt x="1178166" y="10198"/>
                    </a:lnTo>
                    <a:lnTo>
                      <a:pt x="1178166" y="0"/>
                    </a:lnTo>
                    <a:close/>
                  </a:path>
                  <a:path w="4313555" h="10795">
                    <a:moveTo>
                      <a:pt x="1239647" y="0"/>
                    </a:moveTo>
                    <a:lnTo>
                      <a:pt x="1229398" y="0"/>
                    </a:lnTo>
                    <a:lnTo>
                      <a:pt x="1229398" y="10198"/>
                    </a:lnTo>
                    <a:lnTo>
                      <a:pt x="1239647" y="10198"/>
                    </a:lnTo>
                    <a:lnTo>
                      <a:pt x="1239647" y="0"/>
                    </a:lnTo>
                    <a:close/>
                  </a:path>
                  <a:path w="4313555" h="10795">
                    <a:moveTo>
                      <a:pt x="1301115" y="0"/>
                    </a:moveTo>
                    <a:lnTo>
                      <a:pt x="1290866" y="0"/>
                    </a:lnTo>
                    <a:lnTo>
                      <a:pt x="1290866" y="10198"/>
                    </a:lnTo>
                    <a:lnTo>
                      <a:pt x="1301115" y="10198"/>
                    </a:lnTo>
                    <a:lnTo>
                      <a:pt x="1301115" y="0"/>
                    </a:lnTo>
                    <a:close/>
                  </a:path>
                  <a:path w="4313555" h="10795">
                    <a:moveTo>
                      <a:pt x="1362583" y="0"/>
                    </a:moveTo>
                    <a:lnTo>
                      <a:pt x="1352334" y="0"/>
                    </a:lnTo>
                    <a:lnTo>
                      <a:pt x="1352334" y="10198"/>
                    </a:lnTo>
                    <a:lnTo>
                      <a:pt x="1362583" y="10198"/>
                    </a:lnTo>
                    <a:lnTo>
                      <a:pt x="1362583" y="0"/>
                    </a:lnTo>
                    <a:close/>
                  </a:path>
                  <a:path w="4313555" h="10795">
                    <a:moveTo>
                      <a:pt x="1424051" y="0"/>
                    </a:moveTo>
                    <a:lnTo>
                      <a:pt x="1413802" y="0"/>
                    </a:lnTo>
                    <a:lnTo>
                      <a:pt x="1413802" y="10198"/>
                    </a:lnTo>
                    <a:lnTo>
                      <a:pt x="1424051" y="10198"/>
                    </a:lnTo>
                    <a:lnTo>
                      <a:pt x="1424051" y="0"/>
                    </a:lnTo>
                    <a:close/>
                  </a:path>
                  <a:path w="4313555" h="10795">
                    <a:moveTo>
                      <a:pt x="1485519" y="0"/>
                    </a:moveTo>
                    <a:lnTo>
                      <a:pt x="1475282" y="0"/>
                    </a:lnTo>
                    <a:lnTo>
                      <a:pt x="1475282" y="10198"/>
                    </a:lnTo>
                    <a:lnTo>
                      <a:pt x="1485519" y="10198"/>
                    </a:lnTo>
                    <a:lnTo>
                      <a:pt x="1485519" y="0"/>
                    </a:lnTo>
                    <a:close/>
                  </a:path>
                  <a:path w="4313555" h="10795">
                    <a:moveTo>
                      <a:pt x="1546987" y="0"/>
                    </a:moveTo>
                    <a:lnTo>
                      <a:pt x="1536750" y="0"/>
                    </a:lnTo>
                    <a:lnTo>
                      <a:pt x="1536750" y="10198"/>
                    </a:lnTo>
                    <a:lnTo>
                      <a:pt x="1546987" y="10198"/>
                    </a:lnTo>
                    <a:lnTo>
                      <a:pt x="1546987" y="0"/>
                    </a:lnTo>
                    <a:close/>
                  </a:path>
                  <a:path w="4313555" h="10795">
                    <a:moveTo>
                      <a:pt x="1608467" y="0"/>
                    </a:moveTo>
                    <a:lnTo>
                      <a:pt x="1598218" y="0"/>
                    </a:lnTo>
                    <a:lnTo>
                      <a:pt x="1598218" y="10198"/>
                    </a:lnTo>
                    <a:lnTo>
                      <a:pt x="1608467" y="10198"/>
                    </a:lnTo>
                    <a:lnTo>
                      <a:pt x="1608467" y="0"/>
                    </a:lnTo>
                    <a:close/>
                  </a:path>
                  <a:path w="4313555" h="10795">
                    <a:moveTo>
                      <a:pt x="1669935" y="0"/>
                    </a:moveTo>
                    <a:lnTo>
                      <a:pt x="1659686" y="0"/>
                    </a:lnTo>
                    <a:lnTo>
                      <a:pt x="1659686" y="10198"/>
                    </a:lnTo>
                    <a:lnTo>
                      <a:pt x="1669935" y="10198"/>
                    </a:lnTo>
                    <a:lnTo>
                      <a:pt x="1669935" y="0"/>
                    </a:lnTo>
                    <a:close/>
                  </a:path>
                  <a:path w="4313555" h="10795">
                    <a:moveTo>
                      <a:pt x="1731403" y="0"/>
                    </a:moveTo>
                    <a:lnTo>
                      <a:pt x="1721154" y="0"/>
                    </a:lnTo>
                    <a:lnTo>
                      <a:pt x="1721154" y="10198"/>
                    </a:lnTo>
                    <a:lnTo>
                      <a:pt x="1731403" y="10198"/>
                    </a:lnTo>
                    <a:lnTo>
                      <a:pt x="1731403" y="0"/>
                    </a:lnTo>
                    <a:close/>
                  </a:path>
                  <a:path w="4313555" h="10795">
                    <a:moveTo>
                      <a:pt x="1792871" y="0"/>
                    </a:moveTo>
                    <a:lnTo>
                      <a:pt x="1782622" y="0"/>
                    </a:lnTo>
                    <a:lnTo>
                      <a:pt x="1782622" y="10198"/>
                    </a:lnTo>
                    <a:lnTo>
                      <a:pt x="1792871" y="10198"/>
                    </a:lnTo>
                    <a:lnTo>
                      <a:pt x="1792871" y="0"/>
                    </a:lnTo>
                    <a:close/>
                  </a:path>
                  <a:path w="4313555" h="10795">
                    <a:moveTo>
                      <a:pt x="1854339" y="0"/>
                    </a:moveTo>
                    <a:lnTo>
                      <a:pt x="1844103" y="0"/>
                    </a:lnTo>
                    <a:lnTo>
                      <a:pt x="1844103" y="10198"/>
                    </a:lnTo>
                    <a:lnTo>
                      <a:pt x="1854339" y="10198"/>
                    </a:lnTo>
                    <a:lnTo>
                      <a:pt x="1854339" y="0"/>
                    </a:lnTo>
                    <a:close/>
                  </a:path>
                  <a:path w="4313555" h="10795">
                    <a:moveTo>
                      <a:pt x="1915807" y="0"/>
                    </a:moveTo>
                    <a:lnTo>
                      <a:pt x="1905571" y="0"/>
                    </a:lnTo>
                    <a:lnTo>
                      <a:pt x="1905571" y="10198"/>
                    </a:lnTo>
                    <a:lnTo>
                      <a:pt x="1915807" y="10198"/>
                    </a:lnTo>
                    <a:lnTo>
                      <a:pt x="1915807" y="0"/>
                    </a:lnTo>
                    <a:close/>
                  </a:path>
                  <a:path w="4313555" h="10795">
                    <a:moveTo>
                      <a:pt x="1977288" y="0"/>
                    </a:moveTo>
                    <a:lnTo>
                      <a:pt x="1967039" y="0"/>
                    </a:lnTo>
                    <a:lnTo>
                      <a:pt x="1967039" y="10198"/>
                    </a:lnTo>
                    <a:lnTo>
                      <a:pt x="1977288" y="10198"/>
                    </a:lnTo>
                    <a:lnTo>
                      <a:pt x="1977288" y="0"/>
                    </a:lnTo>
                    <a:close/>
                  </a:path>
                  <a:path w="4313555" h="10795">
                    <a:moveTo>
                      <a:pt x="2038756" y="0"/>
                    </a:moveTo>
                    <a:lnTo>
                      <a:pt x="2028507" y="0"/>
                    </a:lnTo>
                    <a:lnTo>
                      <a:pt x="2028507" y="10198"/>
                    </a:lnTo>
                    <a:lnTo>
                      <a:pt x="2038756" y="10198"/>
                    </a:lnTo>
                    <a:lnTo>
                      <a:pt x="2038756" y="0"/>
                    </a:lnTo>
                    <a:close/>
                  </a:path>
                  <a:path w="4313555" h="10795">
                    <a:moveTo>
                      <a:pt x="2100224" y="0"/>
                    </a:moveTo>
                    <a:lnTo>
                      <a:pt x="2089975" y="0"/>
                    </a:lnTo>
                    <a:lnTo>
                      <a:pt x="2089975" y="10198"/>
                    </a:lnTo>
                    <a:lnTo>
                      <a:pt x="2100224" y="10198"/>
                    </a:lnTo>
                    <a:lnTo>
                      <a:pt x="2100224" y="0"/>
                    </a:lnTo>
                    <a:close/>
                  </a:path>
                  <a:path w="4313555" h="10795">
                    <a:moveTo>
                      <a:pt x="2161692" y="0"/>
                    </a:moveTo>
                    <a:lnTo>
                      <a:pt x="2151443" y="0"/>
                    </a:lnTo>
                    <a:lnTo>
                      <a:pt x="2151443" y="10198"/>
                    </a:lnTo>
                    <a:lnTo>
                      <a:pt x="2161692" y="10198"/>
                    </a:lnTo>
                    <a:lnTo>
                      <a:pt x="2161692" y="0"/>
                    </a:lnTo>
                    <a:close/>
                  </a:path>
                  <a:path w="4313555" h="10795">
                    <a:moveTo>
                      <a:pt x="2223160" y="0"/>
                    </a:moveTo>
                    <a:lnTo>
                      <a:pt x="2212924" y="0"/>
                    </a:lnTo>
                    <a:lnTo>
                      <a:pt x="2212924" y="10198"/>
                    </a:lnTo>
                    <a:lnTo>
                      <a:pt x="2223160" y="10198"/>
                    </a:lnTo>
                    <a:lnTo>
                      <a:pt x="2223160" y="0"/>
                    </a:lnTo>
                    <a:close/>
                  </a:path>
                  <a:path w="4313555" h="10795">
                    <a:moveTo>
                      <a:pt x="2284628" y="0"/>
                    </a:moveTo>
                    <a:lnTo>
                      <a:pt x="2274392" y="0"/>
                    </a:lnTo>
                    <a:lnTo>
                      <a:pt x="2274392" y="10198"/>
                    </a:lnTo>
                    <a:lnTo>
                      <a:pt x="2284628" y="10198"/>
                    </a:lnTo>
                    <a:lnTo>
                      <a:pt x="2284628" y="0"/>
                    </a:lnTo>
                    <a:close/>
                  </a:path>
                  <a:path w="4313555" h="10795">
                    <a:moveTo>
                      <a:pt x="2346109" y="0"/>
                    </a:moveTo>
                    <a:lnTo>
                      <a:pt x="2335860" y="0"/>
                    </a:lnTo>
                    <a:lnTo>
                      <a:pt x="2335860" y="10198"/>
                    </a:lnTo>
                    <a:lnTo>
                      <a:pt x="2346109" y="10198"/>
                    </a:lnTo>
                    <a:lnTo>
                      <a:pt x="2346109" y="0"/>
                    </a:lnTo>
                    <a:close/>
                  </a:path>
                  <a:path w="4313555" h="10795">
                    <a:moveTo>
                      <a:pt x="2407577" y="0"/>
                    </a:moveTo>
                    <a:lnTo>
                      <a:pt x="2397328" y="0"/>
                    </a:lnTo>
                    <a:lnTo>
                      <a:pt x="2397328" y="10198"/>
                    </a:lnTo>
                    <a:lnTo>
                      <a:pt x="2407577" y="10198"/>
                    </a:lnTo>
                    <a:lnTo>
                      <a:pt x="2407577" y="0"/>
                    </a:lnTo>
                    <a:close/>
                  </a:path>
                  <a:path w="4313555" h="10795">
                    <a:moveTo>
                      <a:pt x="2469045" y="0"/>
                    </a:moveTo>
                    <a:lnTo>
                      <a:pt x="2458796" y="0"/>
                    </a:lnTo>
                    <a:lnTo>
                      <a:pt x="2458796" y="10198"/>
                    </a:lnTo>
                    <a:lnTo>
                      <a:pt x="2469045" y="10198"/>
                    </a:lnTo>
                    <a:lnTo>
                      <a:pt x="2469045" y="0"/>
                    </a:lnTo>
                    <a:close/>
                  </a:path>
                  <a:path w="4313555" h="10795">
                    <a:moveTo>
                      <a:pt x="2530513" y="0"/>
                    </a:moveTo>
                    <a:lnTo>
                      <a:pt x="2520264" y="0"/>
                    </a:lnTo>
                    <a:lnTo>
                      <a:pt x="2520264" y="10198"/>
                    </a:lnTo>
                    <a:lnTo>
                      <a:pt x="2530513" y="10198"/>
                    </a:lnTo>
                    <a:lnTo>
                      <a:pt x="2530513" y="0"/>
                    </a:lnTo>
                    <a:close/>
                  </a:path>
                  <a:path w="4313555" h="10795">
                    <a:moveTo>
                      <a:pt x="2591981" y="0"/>
                    </a:moveTo>
                    <a:lnTo>
                      <a:pt x="2581745" y="0"/>
                    </a:lnTo>
                    <a:lnTo>
                      <a:pt x="2581745" y="10198"/>
                    </a:lnTo>
                    <a:lnTo>
                      <a:pt x="2591981" y="10198"/>
                    </a:lnTo>
                    <a:lnTo>
                      <a:pt x="2591981" y="0"/>
                    </a:lnTo>
                    <a:close/>
                  </a:path>
                  <a:path w="4313555" h="10795">
                    <a:moveTo>
                      <a:pt x="2653449" y="0"/>
                    </a:moveTo>
                    <a:lnTo>
                      <a:pt x="2643213" y="0"/>
                    </a:lnTo>
                    <a:lnTo>
                      <a:pt x="2643213" y="10198"/>
                    </a:lnTo>
                    <a:lnTo>
                      <a:pt x="2653449" y="10198"/>
                    </a:lnTo>
                    <a:lnTo>
                      <a:pt x="2653449" y="0"/>
                    </a:lnTo>
                    <a:close/>
                  </a:path>
                  <a:path w="4313555" h="10795">
                    <a:moveTo>
                      <a:pt x="2714929" y="0"/>
                    </a:moveTo>
                    <a:lnTo>
                      <a:pt x="2704681" y="0"/>
                    </a:lnTo>
                    <a:lnTo>
                      <a:pt x="2704681" y="10198"/>
                    </a:lnTo>
                    <a:lnTo>
                      <a:pt x="2714929" y="10198"/>
                    </a:lnTo>
                    <a:lnTo>
                      <a:pt x="2714929" y="0"/>
                    </a:lnTo>
                    <a:close/>
                  </a:path>
                  <a:path w="4313555" h="10795">
                    <a:moveTo>
                      <a:pt x="2776397" y="0"/>
                    </a:moveTo>
                    <a:lnTo>
                      <a:pt x="2766149" y="0"/>
                    </a:lnTo>
                    <a:lnTo>
                      <a:pt x="2766149" y="10198"/>
                    </a:lnTo>
                    <a:lnTo>
                      <a:pt x="2776397" y="10198"/>
                    </a:lnTo>
                    <a:lnTo>
                      <a:pt x="2776397" y="0"/>
                    </a:lnTo>
                    <a:close/>
                  </a:path>
                  <a:path w="4313555" h="10795">
                    <a:moveTo>
                      <a:pt x="2837865" y="0"/>
                    </a:moveTo>
                    <a:lnTo>
                      <a:pt x="2827617" y="0"/>
                    </a:lnTo>
                    <a:lnTo>
                      <a:pt x="2827617" y="10198"/>
                    </a:lnTo>
                    <a:lnTo>
                      <a:pt x="2837865" y="10198"/>
                    </a:lnTo>
                    <a:lnTo>
                      <a:pt x="2837865" y="0"/>
                    </a:lnTo>
                    <a:close/>
                  </a:path>
                  <a:path w="4313555" h="10795">
                    <a:moveTo>
                      <a:pt x="2899333" y="0"/>
                    </a:moveTo>
                    <a:lnTo>
                      <a:pt x="2889085" y="0"/>
                    </a:lnTo>
                    <a:lnTo>
                      <a:pt x="2889085" y="10198"/>
                    </a:lnTo>
                    <a:lnTo>
                      <a:pt x="2899333" y="10198"/>
                    </a:lnTo>
                    <a:lnTo>
                      <a:pt x="2899333" y="0"/>
                    </a:lnTo>
                    <a:close/>
                  </a:path>
                  <a:path w="4313555" h="10795">
                    <a:moveTo>
                      <a:pt x="2960801" y="0"/>
                    </a:moveTo>
                    <a:lnTo>
                      <a:pt x="2950565" y="0"/>
                    </a:lnTo>
                    <a:lnTo>
                      <a:pt x="2950565" y="10198"/>
                    </a:lnTo>
                    <a:lnTo>
                      <a:pt x="2960801" y="10198"/>
                    </a:lnTo>
                    <a:lnTo>
                      <a:pt x="2960801" y="0"/>
                    </a:lnTo>
                    <a:close/>
                  </a:path>
                  <a:path w="4313555" h="10795">
                    <a:moveTo>
                      <a:pt x="3022269" y="0"/>
                    </a:moveTo>
                    <a:lnTo>
                      <a:pt x="3012033" y="0"/>
                    </a:lnTo>
                    <a:lnTo>
                      <a:pt x="3012033" y="10198"/>
                    </a:lnTo>
                    <a:lnTo>
                      <a:pt x="3022269" y="10198"/>
                    </a:lnTo>
                    <a:lnTo>
                      <a:pt x="3022269" y="0"/>
                    </a:lnTo>
                    <a:close/>
                  </a:path>
                  <a:path w="4313555" h="10795">
                    <a:moveTo>
                      <a:pt x="3083750" y="0"/>
                    </a:moveTo>
                    <a:lnTo>
                      <a:pt x="3073501" y="0"/>
                    </a:lnTo>
                    <a:lnTo>
                      <a:pt x="3073501" y="10198"/>
                    </a:lnTo>
                    <a:lnTo>
                      <a:pt x="3083750" y="10198"/>
                    </a:lnTo>
                    <a:lnTo>
                      <a:pt x="3083750" y="0"/>
                    </a:lnTo>
                    <a:close/>
                  </a:path>
                  <a:path w="4313555" h="10795">
                    <a:moveTo>
                      <a:pt x="3145218" y="0"/>
                    </a:moveTo>
                    <a:lnTo>
                      <a:pt x="3134969" y="0"/>
                    </a:lnTo>
                    <a:lnTo>
                      <a:pt x="3134969" y="10198"/>
                    </a:lnTo>
                    <a:lnTo>
                      <a:pt x="3145218" y="10198"/>
                    </a:lnTo>
                    <a:lnTo>
                      <a:pt x="3145218" y="0"/>
                    </a:lnTo>
                    <a:close/>
                  </a:path>
                  <a:path w="4313555" h="10795">
                    <a:moveTo>
                      <a:pt x="3206686" y="0"/>
                    </a:moveTo>
                    <a:lnTo>
                      <a:pt x="3196437" y="0"/>
                    </a:lnTo>
                    <a:lnTo>
                      <a:pt x="3196437" y="10198"/>
                    </a:lnTo>
                    <a:lnTo>
                      <a:pt x="3206686" y="10198"/>
                    </a:lnTo>
                    <a:lnTo>
                      <a:pt x="3206686" y="0"/>
                    </a:lnTo>
                    <a:close/>
                  </a:path>
                  <a:path w="4313555" h="10795">
                    <a:moveTo>
                      <a:pt x="3268154" y="0"/>
                    </a:moveTo>
                    <a:lnTo>
                      <a:pt x="3257905" y="0"/>
                    </a:lnTo>
                    <a:lnTo>
                      <a:pt x="3257905" y="10198"/>
                    </a:lnTo>
                    <a:lnTo>
                      <a:pt x="3268154" y="10198"/>
                    </a:lnTo>
                    <a:lnTo>
                      <a:pt x="3268154" y="0"/>
                    </a:lnTo>
                    <a:close/>
                  </a:path>
                  <a:path w="4313555" h="10795">
                    <a:moveTo>
                      <a:pt x="3329622" y="0"/>
                    </a:moveTo>
                    <a:lnTo>
                      <a:pt x="3319386" y="0"/>
                    </a:lnTo>
                    <a:lnTo>
                      <a:pt x="3319386" y="10198"/>
                    </a:lnTo>
                    <a:lnTo>
                      <a:pt x="3329622" y="10198"/>
                    </a:lnTo>
                    <a:lnTo>
                      <a:pt x="3329622" y="0"/>
                    </a:lnTo>
                    <a:close/>
                  </a:path>
                  <a:path w="4313555" h="10795">
                    <a:moveTo>
                      <a:pt x="3391090" y="0"/>
                    </a:moveTo>
                    <a:lnTo>
                      <a:pt x="3380854" y="0"/>
                    </a:lnTo>
                    <a:lnTo>
                      <a:pt x="3380854" y="10198"/>
                    </a:lnTo>
                    <a:lnTo>
                      <a:pt x="3391090" y="10198"/>
                    </a:lnTo>
                    <a:lnTo>
                      <a:pt x="3391090" y="0"/>
                    </a:lnTo>
                    <a:close/>
                  </a:path>
                  <a:path w="4313555" h="10795">
                    <a:moveTo>
                      <a:pt x="3452571" y="0"/>
                    </a:moveTo>
                    <a:lnTo>
                      <a:pt x="3442322" y="0"/>
                    </a:lnTo>
                    <a:lnTo>
                      <a:pt x="3442322" y="10198"/>
                    </a:lnTo>
                    <a:lnTo>
                      <a:pt x="3452571" y="10198"/>
                    </a:lnTo>
                    <a:lnTo>
                      <a:pt x="3452571" y="0"/>
                    </a:lnTo>
                    <a:close/>
                  </a:path>
                  <a:path w="4313555" h="10795">
                    <a:moveTo>
                      <a:pt x="3514039" y="0"/>
                    </a:moveTo>
                    <a:lnTo>
                      <a:pt x="3503790" y="0"/>
                    </a:lnTo>
                    <a:lnTo>
                      <a:pt x="3503790" y="10198"/>
                    </a:lnTo>
                    <a:lnTo>
                      <a:pt x="3514039" y="10198"/>
                    </a:lnTo>
                    <a:lnTo>
                      <a:pt x="3514039" y="0"/>
                    </a:lnTo>
                    <a:close/>
                  </a:path>
                  <a:path w="4313555" h="10795">
                    <a:moveTo>
                      <a:pt x="3575507" y="0"/>
                    </a:moveTo>
                    <a:lnTo>
                      <a:pt x="3565258" y="0"/>
                    </a:lnTo>
                    <a:lnTo>
                      <a:pt x="3565258" y="10198"/>
                    </a:lnTo>
                    <a:lnTo>
                      <a:pt x="3575507" y="10198"/>
                    </a:lnTo>
                    <a:lnTo>
                      <a:pt x="3575507" y="0"/>
                    </a:lnTo>
                    <a:close/>
                  </a:path>
                  <a:path w="4313555" h="10795">
                    <a:moveTo>
                      <a:pt x="3636975" y="0"/>
                    </a:moveTo>
                    <a:lnTo>
                      <a:pt x="3626726" y="0"/>
                    </a:lnTo>
                    <a:lnTo>
                      <a:pt x="3626726" y="10198"/>
                    </a:lnTo>
                    <a:lnTo>
                      <a:pt x="3636975" y="10198"/>
                    </a:lnTo>
                    <a:lnTo>
                      <a:pt x="3636975" y="0"/>
                    </a:lnTo>
                    <a:close/>
                  </a:path>
                  <a:path w="4313555" h="10795">
                    <a:moveTo>
                      <a:pt x="3698443" y="0"/>
                    </a:moveTo>
                    <a:lnTo>
                      <a:pt x="3688207" y="0"/>
                    </a:lnTo>
                    <a:lnTo>
                      <a:pt x="3688207" y="10198"/>
                    </a:lnTo>
                    <a:lnTo>
                      <a:pt x="3698443" y="10198"/>
                    </a:lnTo>
                    <a:lnTo>
                      <a:pt x="3698443" y="0"/>
                    </a:lnTo>
                    <a:close/>
                  </a:path>
                  <a:path w="4313555" h="10795">
                    <a:moveTo>
                      <a:pt x="3759911" y="0"/>
                    </a:moveTo>
                    <a:lnTo>
                      <a:pt x="3749675" y="0"/>
                    </a:lnTo>
                    <a:lnTo>
                      <a:pt x="3749675" y="10198"/>
                    </a:lnTo>
                    <a:lnTo>
                      <a:pt x="3759911" y="10198"/>
                    </a:lnTo>
                    <a:lnTo>
                      <a:pt x="3759911" y="0"/>
                    </a:lnTo>
                    <a:close/>
                  </a:path>
                  <a:path w="4313555" h="10795">
                    <a:moveTo>
                      <a:pt x="3821392" y="0"/>
                    </a:moveTo>
                    <a:lnTo>
                      <a:pt x="3811143" y="0"/>
                    </a:lnTo>
                    <a:lnTo>
                      <a:pt x="3811143" y="10198"/>
                    </a:lnTo>
                    <a:lnTo>
                      <a:pt x="3821392" y="10198"/>
                    </a:lnTo>
                    <a:lnTo>
                      <a:pt x="3821392" y="0"/>
                    </a:lnTo>
                    <a:close/>
                  </a:path>
                  <a:path w="4313555" h="10795">
                    <a:moveTo>
                      <a:pt x="3882860" y="0"/>
                    </a:moveTo>
                    <a:lnTo>
                      <a:pt x="3872611" y="0"/>
                    </a:lnTo>
                    <a:lnTo>
                      <a:pt x="3872611" y="10198"/>
                    </a:lnTo>
                    <a:lnTo>
                      <a:pt x="3882860" y="10198"/>
                    </a:lnTo>
                    <a:lnTo>
                      <a:pt x="3882860" y="0"/>
                    </a:lnTo>
                    <a:close/>
                  </a:path>
                  <a:path w="4313555" h="10795">
                    <a:moveTo>
                      <a:pt x="3944328" y="0"/>
                    </a:moveTo>
                    <a:lnTo>
                      <a:pt x="3934079" y="0"/>
                    </a:lnTo>
                    <a:lnTo>
                      <a:pt x="3934079" y="10198"/>
                    </a:lnTo>
                    <a:lnTo>
                      <a:pt x="3944328" y="10198"/>
                    </a:lnTo>
                    <a:lnTo>
                      <a:pt x="3944328" y="0"/>
                    </a:lnTo>
                    <a:close/>
                  </a:path>
                  <a:path w="4313555" h="10795">
                    <a:moveTo>
                      <a:pt x="4005796" y="0"/>
                    </a:moveTo>
                    <a:lnTo>
                      <a:pt x="3995547" y="0"/>
                    </a:lnTo>
                    <a:lnTo>
                      <a:pt x="3995547" y="10198"/>
                    </a:lnTo>
                    <a:lnTo>
                      <a:pt x="4005796" y="10198"/>
                    </a:lnTo>
                    <a:lnTo>
                      <a:pt x="4005796" y="0"/>
                    </a:lnTo>
                    <a:close/>
                  </a:path>
                  <a:path w="4313555" h="10795">
                    <a:moveTo>
                      <a:pt x="4067264" y="0"/>
                    </a:moveTo>
                    <a:lnTo>
                      <a:pt x="4057027" y="0"/>
                    </a:lnTo>
                    <a:lnTo>
                      <a:pt x="4057027" y="10198"/>
                    </a:lnTo>
                    <a:lnTo>
                      <a:pt x="4067264" y="10198"/>
                    </a:lnTo>
                    <a:lnTo>
                      <a:pt x="4067264" y="0"/>
                    </a:lnTo>
                    <a:close/>
                  </a:path>
                  <a:path w="4313555" h="10795">
                    <a:moveTo>
                      <a:pt x="4128732" y="0"/>
                    </a:moveTo>
                    <a:lnTo>
                      <a:pt x="4118495" y="0"/>
                    </a:lnTo>
                    <a:lnTo>
                      <a:pt x="4118495" y="10198"/>
                    </a:lnTo>
                    <a:lnTo>
                      <a:pt x="4128732" y="10198"/>
                    </a:lnTo>
                    <a:lnTo>
                      <a:pt x="4128732" y="0"/>
                    </a:lnTo>
                    <a:close/>
                  </a:path>
                  <a:path w="4313555" h="10795">
                    <a:moveTo>
                      <a:pt x="4190212" y="0"/>
                    </a:moveTo>
                    <a:lnTo>
                      <a:pt x="4179963" y="0"/>
                    </a:lnTo>
                    <a:lnTo>
                      <a:pt x="4179963" y="10198"/>
                    </a:lnTo>
                    <a:lnTo>
                      <a:pt x="4190212" y="10198"/>
                    </a:lnTo>
                    <a:lnTo>
                      <a:pt x="4190212" y="0"/>
                    </a:lnTo>
                    <a:close/>
                  </a:path>
                  <a:path w="4313555" h="10795">
                    <a:moveTo>
                      <a:pt x="4251680" y="0"/>
                    </a:moveTo>
                    <a:lnTo>
                      <a:pt x="4241431" y="0"/>
                    </a:lnTo>
                    <a:lnTo>
                      <a:pt x="4241431" y="10198"/>
                    </a:lnTo>
                    <a:lnTo>
                      <a:pt x="4251680" y="10198"/>
                    </a:lnTo>
                    <a:lnTo>
                      <a:pt x="4251680" y="0"/>
                    </a:lnTo>
                    <a:close/>
                  </a:path>
                  <a:path w="4313555" h="10795">
                    <a:moveTo>
                      <a:pt x="4313148" y="0"/>
                    </a:moveTo>
                    <a:lnTo>
                      <a:pt x="4302899" y="0"/>
                    </a:lnTo>
                    <a:lnTo>
                      <a:pt x="4302899" y="10198"/>
                    </a:lnTo>
                    <a:lnTo>
                      <a:pt x="4313148" y="10198"/>
                    </a:lnTo>
                    <a:lnTo>
                      <a:pt x="431314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87" name="object 387"/>
              <p:cNvSpPr/>
              <p:nvPr/>
            </p:nvSpPr>
            <p:spPr>
              <a:xfrm>
                <a:off x="715200" y="5986043"/>
                <a:ext cx="6219190" cy="573405"/>
              </a:xfrm>
              <a:custGeom>
                <a:avLst/>
                <a:gdLst/>
                <a:ahLst/>
                <a:cxnLst/>
                <a:rect l="l" t="t" r="r" b="b"/>
                <a:pathLst>
                  <a:path w="6219190" h="573404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10"/>
                    </a:lnTo>
                    <a:lnTo>
                      <a:pt x="10236" y="10210"/>
                    </a:lnTo>
                    <a:lnTo>
                      <a:pt x="10236" y="0"/>
                    </a:lnTo>
                    <a:close/>
                  </a:path>
                  <a:path w="6219190" h="573404">
                    <a:moveTo>
                      <a:pt x="71704" y="0"/>
                    </a:moveTo>
                    <a:lnTo>
                      <a:pt x="61468" y="0"/>
                    </a:lnTo>
                    <a:lnTo>
                      <a:pt x="61468" y="10210"/>
                    </a:lnTo>
                    <a:lnTo>
                      <a:pt x="71704" y="10210"/>
                    </a:lnTo>
                    <a:lnTo>
                      <a:pt x="71704" y="0"/>
                    </a:lnTo>
                    <a:close/>
                  </a:path>
                  <a:path w="6219190" h="573404">
                    <a:moveTo>
                      <a:pt x="133184" y="0"/>
                    </a:moveTo>
                    <a:lnTo>
                      <a:pt x="122936" y="0"/>
                    </a:lnTo>
                    <a:lnTo>
                      <a:pt x="122936" y="10210"/>
                    </a:lnTo>
                    <a:lnTo>
                      <a:pt x="133184" y="10210"/>
                    </a:lnTo>
                    <a:lnTo>
                      <a:pt x="133184" y="0"/>
                    </a:lnTo>
                    <a:close/>
                  </a:path>
                  <a:path w="6219190" h="573404">
                    <a:moveTo>
                      <a:pt x="194652" y="0"/>
                    </a:moveTo>
                    <a:lnTo>
                      <a:pt x="184404" y="0"/>
                    </a:lnTo>
                    <a:lnTo>
                      <a:pt x="184404" y="10210"/>
                    </a:lnTo>
                    <a:lnTo>
                      <a:pt x="194652" y="10210"/>
                    </a:lnTo>
                    <a:lnTo>
                      <a:pt x="194652" y="0"/>
                    </a:lnTo>
                    <a:close/>
                  </a:path>
                  <a:path w="6219190" h="573404">
                    <a:moveTo>
                      <a:pt x="256120" y="0"/>
                    </a:moveTo>
                    <a:lnTo>
                      <a:pt x="245872" y="0"/>
                    </a:lnTo>
                    <a:lnTo>
                      <a:pt x="245872" y="10210"/>
                    </a:lnTo>
                    <a:lnTo>
                      <a:pt x="256120" y="10210"/>
                    </a:lnTo>
                    <a:lnTo>
                      <a:pt x="256120" y="0"/>
                    </a:lnTo>
                    <a:close/>
                  </a:path>
                  <a:path w="6219190" h="573404">
                    <a:moveTo>
                      <a:pt x="317588" y="0"/>
                    </a:moveTo>
                    <a:lnTo>
                      <a:pt x="307340" y="0"/>
                    </a:lnTo>
                    <a:lnTo>
                      <a:pt x="307340" y="10210"/>
                    </a:lnTo>
                    <a:lnTo>
                      <a:pt x="317588" y="10210"/>
                    </a:lnTo>
                    <a:lnTo>
                      <a:pt x="317588" y="0"/>
                    </a:lnTo>
                    <a:close/>
                  </a:path>
                  <a:path w="6219190" h="573404">
                    <a:moveTo>
                      <a:pt x="379056" y="0"/>
                    </a:moveTo>
                    <a:lnTo>
                      <a:pt x="368820" y="0"/>
                    </a:lnTo>
                    <a:lnTo>
                      <a:pt x="368820" y="10210"/>
                    </a:lnTo>
                    <a:lnTo>
                      <a:pt x="379056" y="10210"/>
                    </a:lnTo>
                    <a:lnTo>
                      <a:pt x="379056" y="0"/>
                    </a:lnTo>
                    <a:close/>
                  </a:path>
                  <a:path w="6219190" h="573404">
                    <a:moveTo>
                      <a:pt x="440524" y="0"/>
                    </a:moveTo>
                    <a:lnTo>
                      <a:pt x="430288" y="0"/>
                    </a:lnTo>
                    <a:lnTo>
                      <a:pt x="430288" y="10210"/>
                    </a:lnTo>
                    <a:lnTo>
                      <a:pt x="440524" y="10210"/>
                    </a:lnTo>
                    <a:lnTo>
                      <a:pt x="440524" y="0"/>
                    </a:lnTo>
                    <a:close/>
                  </a:path>
                  <a:path w="6219190" h="573404">
                    <a:moveTo>
                      <a:pt x="502005" y="0"/>
                    </a:moveTo>
                    <a:lnTo>
                      <a:pt x="491756" y="0"/>
                    </a:lnTo>
                    <a:lnTo>
                      <a:pt x="491756" y="10210"/>
                    </a:lnTo>
                    <a:lnTo>
                      <a:pt x="502005" y="10210"/>
                    </a:lnTo>
                    <a:lnTo>
                      <a:pt x="502005" y="0"/>
                    </a:lnTo>
                    <a:close/>
                  </a:path>
                  <a:path w="6219190" h="573404">
                    <a:moveTo>
                      <a:pt x="563473" y="0"/>
                    </a:moveTo>
                    <a:lnTo>
                      <a:pt x="553224" y="0"/>
                    </a:lnTo>
                    <a:lnTo>
                      <a:pt x="553224" y="10210"/>
                    </a:lnTo>
                    <a:lnTo>
                      <a:pt x="563473" y="10210"/>
                    </a:lnTo>
                    <a:lnTo>
                      <a:pt x="563473" y="0"/>
                    </a:lnTo>
                    <a:close/>
                  </a:path>
                  <a:path w="6219190" h="573404">
                    <a:moveTo>
                      <a:pt x="624941" y="0"/>
                    </a:moveTo>
                    <a:lnTo>
                      <a:pt x="614692" y="0"/>
                    </a:lnTo>
                    <a:lnTo>
                      <a:pt x="614692" y="10210"/>
                    </a:lnTo>
                    <a:lnTo>
                      <a:pt x="624941" y="10210"/>
                    </a:lnTo>
                    <a:lnTo>
                      <a:pt x="624941" y="0"/>
                    </a:lnTo>
                    <a:close/>
                  </a:path>
                  <a:path w="6219190" h="573404">
                    <a:moveTo>
                      <a:pt x="686409" y="0"/>
                    </a:moveTo>
                    <a:lnTo>
                      <a:pt x="676160" y="0"/>
                    </a:lnTo>
                    <a:lnTo>
                      <a:pt x="676160" y="10210"/>
                    </a:lnTo>
                    <a:lnTo>
                      <a:pt x="686409" y="10210"/>
                    </a:lnTo>
                    <a:lnTo>
                      <a:pt x="686409" y="0"/>
                    </a:lnTo>
                    <a:close/>
                  </a:path>
                  <a:path w="6219190" h="573404">
                    <a:moveTo>
                      <a:pt x="747877" y="0"/>
                    </a:moveTo>
                    <a:lnTo>
                      <a:pt x="737641" y="0"/>
                    </a:lnTo>
                    <a:lnTo>
                      <a:pt x="737641" y="10210"/>
                    </a:lnTo>
                    <a:lnTo>
                      <a:pt x="747877" y="10210"/>
                    </a:lnTo>
                    <a:lnTo>
                      <a:pt x="747877" y="0"/>
                    </a:lnTo>
                    <a:close/>
                  </a:path>
                  <a:path w="6219190" h="573404">
                    <a:moveTo>
                      <a:pt x="809345" y="0"/>
                    </a:moveTo>
                    <a:lnTo>
                      <a:pt x="799109" y="0"/>
                    </a:lnTo>
                    <a:lnTo>
                      <a:pt x="799109" y="10210"/>
                    </a:lnTo>
                    <a:lnTo>
                      <a:pt x="809345" y="10210"/>
                    </a:lnTo>
                    <a:lnTo>
                      <a:pt x="809345" y="0"/>
                    </a:lnTo>
                    <a:close/>
                  </a:path>
                  <a:path w="6219190" h="573404">
                    <a:moveTo>
                      <a:pt x="870826" y="0"/>
                    </a:moveTo>
                    <a:lnTo>
                      <a:pt x="860577" y="0"/>
                    </a:lnTo>
                    <a:lnTo>
                      <a:pt x="860577" y="10210"/>
                    </a:lnTo>
                    <a:lnTo>
                      <a:pt x="870826" y="10210"/>
                    </a:lnTo>
                    <a:lnTo>
                      <a:pt x="870826" y="0"/>
                    </a:lnTo>
                    <a:close/>
                  </a:path>
                  <a:path w="6219190" h="573404">
                    <a:moveTo>
                      <a:pt x="932294" y="0"/>
                    </a:moveTo>
                    <a:lnTo>
                      <a:pt x="922045" y="0"/>
                    </a:lnTo>
                    <a:lnTo>
                      <a:pt x="922045" y="10210"/>
                    </a:lnTo>
                    <a:lnTo>
                      <a:pt x="932294" y="10210"/>
                    </a:lnTo>
                    <a:lnTo>
                      <a:pt x="932294" y="0"/>
                    </a:lnTo>
                    <a:close/>
                  </a:path>
                  <a:path w="6219190" h="573404">
                    <a:moveTo>
                      <a:pt x="993762" y="0"/>
                    </a:moveTo>
                    <a:lnTo>
                      <a:pt x="983513" y="0"/>
                    </a:lnTo>
                    <a:lnTo>
                      <a:pt x="983513" y="10210"/>
                    </a:lnTo>
                    <a:lnTo>
                      <a:pt x="993762" y="10210"/>
                    </a:lnTo>
                    <a:lnTo>
                      <a:pt x="993762" y="0"/>
                    </a:lnTo>
                    <a:close/>
                  </a:path>
                  <a:path w="6219190" h="573404">
                    <a:moveTo>
                      <a:pt x="1055230" y="0"/>
                    </a:moveTo>
                    <a:lnTo>
                      <a:pt x="1044981" y="0"/>
                    </a:lnTo>
                    <a:lnTo>
                      <a:pt x="1044981" y="10210"/>
                    </a:lnTo>
                    <a:lnTo>
                      <a:pt x="1055230" y="10210"/>
                    </a:lnTo>
                    <a:lnTo>
                      <a:pt x="1055230" y="0"/>
                    </a:lnTo>
                    <a:close/>
                  </a:path>
                  <a:path w="6219190" h="573404">
                    <a:moveTo>
                      <a:pt x="1116698" y="0"/>
                    </a:moveTo>
                    <a:lnTo>
                      <a:pt x="1106462" y="0"/>
                    </a:lnTo>
                    <a:lnTo>
                      <a:pt x="1106462" y="10210"/>
                    </a:lnTo>
                    <a:lnTo>
                      <a:pt x="1116698" y="10210"/>
                    </a:lnTo>
                    <a:lnTo>
                      <a:pt x="1116698" y="0"/>
                    </a:lnTo>
                    <a:close/>
                  </a:path>
                  <a:path w="6219190" h="573404">
                    <a:moveTo>
                      <a:pt x="1178166" y="0"/>
                    </a:moveTo>
                    <a:lnTo>
                      <a:pt x="1167930" y="0"/>
                    </a:lnTo>
                    <a:lnTo>
                      <a:pt x="1167930" y="10210"/>
                    </a:lnTo>
                    <a:lnTo>
                      <a:pt x="1178166" y="10210"/>
                    </a:lnTo>
                    <a:lnTo>
                      <a:pt x="1178166" y="0"/>
                    </a:lnTo>
                    <a:close/>
                  </a:path>
                  <a:path w="6219190" h="573404">
                    <a:moveTo>
                      <a:pt x="1239647" y="0"/>
                    </a:moveTo>
                    <a:lnTo>
                      <a:pt x="1229398" y="0"/>
                    </a:lnTo>
                    <a:lnTo>
                      <a:pt x="1229398" y="10210"/>
                    </a:lnTo>
                    <a:lnTo>
                      <a:pt x="1239647" y="10210"/>
                    </a:lnTo>
                    <a:lnTo>
                      <a:pt x="1239647" y="0"/>
                    </a:lnTo>
                    <a:close/>
                  </a:path>
                  <a:path w="6219190" h="573404">
                    <a:moveTo>
                      <a:pt x="1301115" y="0"/>
                    </a:moveTo>
                    <a:lnTo>
                      <a:pt x="1290866" y="0"/>
                    </a:lnTo>
                    <a:lnTo>
                      <a:pt x="1290866" y="10210"/>
                    </a:lnTo>
                    <a:lnTo>
                      <a:pt x="1301115" y="10210"/>
                    </a:lnTo>
                    <a:lnTo>
                      <a:pt x="1301115" y="0"/>
                    </a:lnTo>
                    <a:close/>
                  </a:path>
                  <a:path w="6219190" h="573404">
                    <a:moveTo>
                      <a:pt x="1362583" y="0"/>
                    </a:moveTo>
                    <a:lnTo>
                      <a:pt x="1352334" y="0"/>
                    </a:lnTo>
                    <a:lnTo>
                      <a:pt x="1352334" y="10210"/>
                    </a:lnTo>
                    <a:lnTo>
                      <a:pt x="1362583" y="10210"/>
                    </a:lnTo>
                    <a:lnTo>
                      <a:pt x="1362583" y="0"/>
                    </a:lnTo>
                    <a:close/>
                  </a:path>
                  <a:path w="6219190" h="573404">
                    <a:moveTo>
                      <a:pt x="1424051" y="0"/>
                    </a:moveTo>
                    <a:lnTo>
                      <a:pt x="1413802" y="0"/>
                    </a:lnTo>
                    <a:lnTo>
                      <a:pt x="1413802" y="10210"/>
                    </a:lnTo>
                    <a:lnTo>
                      <a:pt x="1424051" y="10210"/>
                    </a:lnTo>
                    <a:lnTo>
                      <a:pt x="1424051" y="0"/>
                    </a:lnTo>
                    <a:close/>
                  </a:path>
                  <a:path w="6219190" h="573404">
                    <a:moveTo>
                      <a:pt x="1485519" y="0"/>
                    </a:moveTo>
                    <a:lnTo>
                      <a:pt x="1475282" y="0"/>
                    </a:lnTo>
                    <a:lnTo>
                      <a:pt x="1475282" y="10210"/>
                    </a:lnTo>
                    <a:lnTo>
                      <a:pt x="1485519" y="10210"/>
                    </a:lnTo>
                    <a:lnTo>
                      <a:pt x="1485519" y="0"/>
                    </a:lnTo>
                    <a:close/>
                  </a:path>
                  <a:path w="6219190" h="573404">
                    <a:moveTo>
                      <a:pt x="1546987" y="0"/>
                    </a:moveTo>
                    <a:lnTo>
                      <a:pt x="1536750" y="0"/>
                    </a:lnTo>
                    <a:lnTo>
                      <a:pt x="1536750" y="10210"/>
                    </a:lnTo>
                    <a:lnTo>
                      <a:pt x="1546987" y="10210"/>
                    </a:lnTo>
                    <a:lnTo>
                      <a:pt x="1546987" y="0"/>
                    </a:lnTo>
                    <a:close/>
                  </a:path>
                  <a:path w="6219190" h="573404">
                    <a:moveTo>
                      <a:pt x="1608467" y="0"/>
                    </a:moveTo>
                    <a:lnTo>
                      <a:pt x="1598218" y="0"/>
                    </a:lnTo>
                    <a:lnTo>
                      <a:pt x="1598218" y="10210"/>
                    </a:lnTo>
                    <a:lnTo>
                      <a:pt x="1608467" y="10210"/>
                    </a:lnTo>
                    <a:lnTo>
                      <a:pt x="1608467" y="0"/>
                    </a:lnTo>
                    <a:close/>
                  </a:path>
                  <a:path w="6219190" h="573404">
                    <a:moveTo>
                      <a:pt x="1669935" y="0"/>
                    </a:moveTo>
                    <a:lnTo>
                      <a:pt x="1659686" y="0"/>
                    </a:lnTo>
                    <a:lnTo>
                      <a:pt x="1659686" y="10210"/>
                    </a:lnTo>
                    <a:lnTo>
                      <a:pt x="1669935" y="10210"/>
                    </a:lnTo>
                    <a:lnTo>
                      <a:pt x="1669935" y="0"/>
                    </a:lnTo>
                    <a:close/>
                  </a:path>
                  <a:path w="6219190" h="573404">
                    <a:moveTo>
                      <a:pt x="1731403" y="0"/>
                    </a:moveTo>
                    <a:lnTo>
                      <a:pt x="1721154" y="0"/>
                    </a:lnTo>
                    <a:lnTo>
                      <a:pt x="1721154" y="10210"/>
                    </a:lnTo>
                    <a:lnTo>
                      <a:pt x="1731403" y="10210"/>
                    </a:lnTo>
                    <a:lnTo>
                      <a:pt x="1731403" y="0"/>
                    </a:lnTo>
                    <a:close/>
                  </a:path>
                  <a:path w="6219190" h="573404">
                    <a:moveTo>
                      <a:pt x="1792871" y="0"/>
                    </a:moveTo>
                    <a:lnTo>
                      <a:pt x="1782622" y="0"/>
                    </a:lnTo>
                    <a:lnTo>
                      <a:pt x="1782622" y="10210"/>
                    </a:lnTo>
                    <a:lnTo>
                      <a:pt x="1792871" y="10210"/>
                    </a:lnTo>
                    <a:lnTo>
                      <a:pt x="1792871" y="0"/>
                    </a:lnTo>
                    <a:close/>
                  </a:path>
                  <a:path w="6219190" h="573404">
                    <a:moveTo>
                      <a:pt x="1854339" y="0"/>
                    </a:moveTo>
                    <a:lnTo>
                      <a:pt x="1844103" y="0"/>
                    </a:lnTo>
                    <a:lnTo>
                      <a:pt x="1844103" y="10210"/>
                    </a:lnTo>
                    <a:lnTo>
                      <a:pt x="1854339" y="10210"/>
                    </a:lnTo>
                    <a:lnTo>
                      <a:pt x="1854339" y="0"/>
                    </a:lnTo>
                    <a:close/>
                  </a:path>
                  <a:path w="6219190" h="573404">
                    <a:moveTo>
                      <a:pt x="1915807" y="0"/>
                    </a:moveTo>
                    <a:lnTo>
                      <a:pt x="1905571" y="0"/>
                    </a:lnTo>
                    <a:lnTo>
                      <a:pt x="1905571" y="10210"/>
                    </a:lnTo>
                    <a:lnTo>
                      <a:pt x="1915807" y="10210"/>
                    </a:lnTo>
                    <a:lnTo>
                      <a:pt x="1915807" y="0"/>
                    </a:lnTo>
                    <a:close/>
                  </a:path>
                  <a:path w="6219190" h="573404">
                    <a:moveTo>
                      <a:pt x="1977288" y="0"/>
                    </a:moveTo>
                    <a:lnTo>
                      <a:pt x="1967039" y="0"/>
                    </a:lnTo>
                    <a:lnTo>
                      <a:pt x="1967039" y="10210"/>
                    </a:lnTo>
                    <a:lnTo>
                      <a:pt x="1977288" y="10210"/>
                    </a:lnTo>
                    <a:lnTo>
                      <a:pt x="1977288" y="0"/>
                    </a:lnTo>
                    <a:close/>
                  </a:path>
                  <a:path w="6219190" h="573404">
                    <a:moveTo>
                      <a:pt x="2038756" y="0"/>
                    </a:moveTo>
                    <a:lnTo>
                      <a:pt x="2028507" y="0"/>
                    </a:lnTo>
                    <a:lnTo>
                      <a:pt x="2028507" y="10210"/>
                    </a:lnTo>
                    <a:lnTo>
                      <a:pt x="2038756" y="10210"/>
                    </a:lnTo>
                    <a:lnTo>
                      <a:pt x="2038756" y="0"/>
                    </a:lnTo>
                    <a:close/>
                  </a:path>
                  <a:path w="6219190" h="573404">
                    <a:moveTo>
                      <a:pt x="2100224" y="0"/>
                    </a:moveTo>
                    <a:lnTo>
                      <a:pt x="2089975" y="0"/>
                    </a:lnTo>
                    <a:lnTo>
                      <a:pt x="2089975" y="10210"/>
                    </a:lnTo>
                    <a:lnTo>
                      <a:pt x="2100224" y="10210"/>
                    </a:lnTo>
                    <a:lnTo>
                      <a:pt x="2100224" y="0"/>
                    </a:lnTo>
                    <a:close/>
                  </a:path>
                  <a:path w="6219190" h="573404">
                    <a:moveTo>
                      <a:pt x="2161692" y="0"/>
                    </a:moveTo>
                    <a:lnTo>
                      <a:pt x="2151443" y="0"/>
                    </a:lnTo>
                    <a:lnTo>
                      <a:pt x="2151443" y="10210"/>
                    </a:lnTo>
                    <a:lnTo>
                      <a:pt x="2161692" y="10210"/>
                    </a:lnTo>
                    <a:lnTo>
                      <a:pt x="2161692" y="0"/>
                    </a:lnTo>
                    <a:close/>
                  </a:path>
                  <a:path w="6219190" h="573404">
                    <a:moveTo>
                      <a:pt x="2223160" y="0"/>
                    </a:moveTo>
                    <a:lnTo>
                      <a:pt x="2212924" y="0"/>
                    </a:lnTo>
                    <a:lnTo>
                      <a:pt x="2212924" y="10210"/>
                    </a:lnTo>
                    <a:lnTo>
                      <a:pt x="2223160" y="10210"/>
                    </a:lnTo>
                    <a:lnTo>
                      <a:pt x="2223160" y="0"/>
                    </a:lnTo>
                    <a:close/>
                  </a:path>
                  <a:path w="6219190" h="573404">
                    <a:moveTo>
                      <a:pt x="2284628" y="0"/>
                    </a:moveTo>
                    <a:lnTo>
                      <a:pt x="2274392" y="0"/>
                    </a:lnTo>
                    <a:lnTo>
                      <a:pt x="2274392" y="10210"/>
                    </a:lnTo>
                    <a:lnTo>
                      <a:pt x="2284628" y="10210"/>
                    </a:lnTo>
                    <a:lnTo>
                      <a:pt x="2284628" y="0"/>
                    </a:lnTo>
                    <a:close/>
                  </a:path>
                  <a:path w="6219190" h="573404">
                    <a:moveTo>
                      <a:pt x="2346109" y="0"/>
                    </a:moveTo>
                    <a:lnTo>
                      <a:pt x="2335860" y="0"/>
                    </a:lnTo>
                    <a:lnTo>
                      <a:pt x="2335860" y="10210"/>
                    </a:lnTo>
                    <a:lnTo>
                      <a:pt x="2346109" y="10210"/>
                    </a:lnTo>
                    <a:lnTo>
                      <a:pt x="2346109" y="0"/>
                    </a:lnTo>
                    <a:close/>
                  </a:path>
                  <a:path w="6219190" h="573404">
                    <a:moveTo>
                      <a:pt x="2407577" y="0"/>
                    </a:moveTo>
                    <a:lnTo>
                      <a:pt x="2397328" y="0"/>
                    </a:lnTo>
                    <a:lnTo>
                      <a:pt x="2397328" y="10210"/>
                    </a:lnTo>
                    <a:lnTo>
                      <a:pt x="2407577" y="10210"/>
                    </a:lnTo>
                    <a:lnTo>
                      <a:pt x="2407577" y="0"/>
                    </a:lnTo>
                    <a:close/>
                  </a:path>
                  <a:path w="6219190" h="573404">
                    <a:moveTo>
                      <a:pt x="2469045" y="0"/>
                    </a:moveTo>
                    <a:lnTo>
                      <a:pt x="2458796" y="0"/>
                    </a:lnTo>
                    <a:lnTo>
                      <a:pt x="2458796" y="10210"/>
                    </a:lnTo>
                    <a:lnTo>
                      <a:pt x="2469045" y="10210"/>
                    </a:lnTo>
                    <a:lnTo>
                      <a:pt x="2469045" y="0"/>
                    </a:lnTo>
                    <a:close/>
                  </a:path>
                  <a:path w="6219190" h="573404">
                    <a:moveTo>
                      <a:pt x="2530513" y="0"/>
                    </a:moveTo>
                    <a:lnTo>
                      <a:pt x="2520264" y="0"/>
                    </a:lnTo>
                    <a:lnTo>
                      <a:pt x="2520264" y="10210"/>
                    </a:lnTo>
                    <a:lnTo>
                      <a:pt x="2530513" y="10210"/>
                    </a:lnTo>
                    <a:lnTo>
                      <a:pt x="2530513" y="0"/>
                    </a:lnTo>
                    <a:close/>
                  </a:path>
                  <a:path w="6219190" h="573404">
                    <a:moveTo>
                      <a:pt x="2591981" y="0"/>
                    </a:moveTo>
                    <a:lnTo>
                      <a:pt x="2581745" y="0"/>
                    </a:lnTo>
                    <a:lnTo>
                      <a:pt x="2581745" y="10210"/>
                    </a:lnTo>
                    <a:lnTo>
                      <a:pt x="2591981" y="10210"/>
                    </a:lnTo>
                    <a:lnTo>
                      <a:pt x="2591981" y="0"/>
                    </a:lnTo>
                    <a:close/>
                  </a:path>
                  <a:path w="6219190" h="573404">
                    <a:moveTo>
                      <a:pt x="2653449" y="0"/>
                    </a:moveTo>
                    <a:lnTo>
                      <a:pt x="2643213" y="0"/>
                    </a:lnTo>
                    <a:lnTo>
                      <a:pt x="2643213" y="10210"/>
                    </a:lnTo>
                    <a:lnTo>
                      <a:pt x="2653449" y="10210"/>
                    </a:lnTo>
                    <a:lnTo>
                      <a:pt x="2653449" y="0"/>
                    </a:lnTo>
                    <a:close/>
                  </a:path>
                  <a:path w="6219190" h="573404">
                    <a:moveTo>
                      <a:pt x="2714929" y="0"/>
                    </a:moveTo>
                    <a:lnTo>
                      <a:pt x="2704681" y="0"/>
                    </a:lnTo>
                    <a:lnTo>
                      <a:pt x="2704681" y="10210"/>
                    </a:lnTo>
                    <a:lnTo>
                      <a:pt x="2714929" y="10210"/>
                    </a:lnTo>
                    <a:lnTo>
                      <a:pt x="2714929" y="0"/>
                    </a:lnTo>
                    <a:close/>
                  </a:path>
                  <a:path w="6219190" h="573404">
                    <a:moveTo>
                      <a:pt x="2776397" y="0"/>
                    </a:moveTo>
                    <a:lnTo>
                      <a:pt x="2766149" y="0"/>
                    </a:lnTo>
                    <a:lnTo>
                      <a:pt x="2766149" y="10210"/>
                    </a:lnTo>
                    <a:lnTo>
                      <a:pt x="2776397" y="10210"/>
                    </a:lnTo>
                    <a:lnTo>
                      <a:pt x="2776397" y="0"/>
                    </a:lnTo>
                    <a:close/>
                  </a:path>
                  <a:path w="6219190" h="573404">
                    <a:moveTo>
                      <a:pt x="2837865" y="0"/>
                    </a:moveTo>
                    <a:lnTo>
                      <a:pt x="2827617" y="0"/>
                    </a:lnTo>
                    <a:lnTo>
                      <a:pt x="2827617" y="10210"/>
                    </a:lnTo>
                    <a:lnTo>
                      <a:pt x="2837865" y="10210"/>
                    </a:lnTo>
                    <a:lnTo>
                      <a:pt x="2837865" y="0"/>
                    </a:lnTo>
                    <a:close/>
                  </a:path>
                  <a:path w="6219190" h="573404">
                    <a:moveTo>
                      <a:pt x="2899333" y="0"/>
                    </a:moveTo>
                    <a:lnTo>
                      <a:pt x="2889085" y="0"/>
                    </a:lnTo>
                    <a:lnTo>
                      <a:pt x="2889085" y="10210"/>
                    </a:lnTo>
                    <a:lnTo>
                      <a:pt x="2899333" y="10210"/>
                    </a:lnTo>
                    <a:lnTo>
                      <a:pt x="2899333" y="0"/>
                    </a:lnTo>
                    <a:close/>
                  </a:path>
                  <a:path w="6219190" h="573404">
                    <a:moveTo>
                      <a:pt x="2960801" y="0"/>
                    </a:moveTo>
                    <a:lnTo>
                      <a:pt x="2950565" y="0"/>
                    </a:lnTo>
                    <a:lnTo>
                      <a:pt x="2950565" y="10210"/>
                    </a:lnTo>
                    <a:lnTo>
                      <a:pt x="2960801" y="10210"/>
                    </a:lnTo>
                    <a:lnTo>
                      <a:pt x="2960801" y="0"/>
                    </a:lnTo>
                    <a:close/>
                  </a:path>
                  <a:path w="6219190" h="573404">
                    <a:moveTo>
                      <a:pt x="3022269" y="0"/>
                    </a:moveTo>
                    <a:lnTo>
                      <a:pt x="3012033" y="0"/>
                    </a:lnTo>
                    <a:lnTo>
                      <a:pt x="3012033" y="10210"/>
                    </a:lnTo>
                    <a:lnTo>
                      <a:pt x="3022269" y="10210"/>
                    </a:lnTo>
                    <a:lnTo>
                      <a:pt x="3022269" y="0"/>
                    </a:lnTo>
                    <a:close/>
                  </a:path>
                  <a:path w="6219190" h="573404">
                    <a:moveTo>
                      <a:pt x="3083750" y="0"/>
                    </a:moveTo>
                    <a:lnTo>
                      <a:pt x="3073501" y="0"/>
                    </a:lnTo>
                    <a:lnTo>
                      <a:pt x="3073501" y="10210"/>
                    </a:lnTo>
                    <a:lnTo>
                      <a:pt x="3083750" y="10210"/>
                    </a:lnTo>
                    <a:lnTo>
                      <a:pt x="3083750" y="0"/>
                    </a:lnTo>
                    <a:close/>
                  </a:path>
                  <a:path w="6219190" h="573404">
                    <a:moveTo>
                      <a:pt x="3145218" y="0"/>
                    </a:moveTo>
                    <a:lnTo>
                      <a:pt x="3134969" y="0"/>
                    </a:lnTo>
                    <a:lnTo>
                      <a:pt x="3134969" y="10210"/>
                    </a:lnTo>
                    <a:lnTo>
                      <a:pt x="3145218" y="10210"/>
                    </a:lnTo>
                    <a:lnTo>
                      <a:pt x="3145218" y="0"/>
                    </a:lnTo>
                    <a:close/>
                  </a:path>
                  <a:path w="6219190" h="573404">
                    <a:moveTo>
                      <a:pt x="3206686" y="0"/>
                    </a:moveTo>
                    <a:lnTo>
                      <a:pt x="3196437" y="0"/>
                    </a:lnTo>
                    <a:lnTo>
                      <a:pt x="3196437" y="10210"/>
                    </a:lnTo>
                    <a:lnTo>
                      <a:pt x="3206686" y="10210"/>
                    </a:lnTo>
                    <a:lnTo>
                      <a:pt x="3206686" y="0"/>
                    </a:lnTo>
                    <a:close/>
                  </a:path>
                  <a:path w="6219190" h="573404">
                    <a:moveTo>
                      <a:pt x="3268154" y="0"/>
                    </a:moveTo>
                    <a:lnTo>
                      <a:pt x="3257905" y="0"/>
                    </a:lnTo>
                    <a:lnTo>
                      <a:pt x="3257905" y="10210"/>
                    </a:lnTo>
                    <a:lnTo>
                      <a:pt x="3268154" y="10210"/>
                    </a:lnTo>
                    <a:lnTo>
                      <a:pt x="3268154" y="0"/>
                    </a:lnTo>
                    <a:close/>
                  </a:path>
                  <a:path w="6219190" h="573404">
                    <a:moveTo>
                      <a:pt x="3329622" y="0"/>
                    </a:moveTo>
                    <a:lnTo>
                      <a:pt x="3319386" y="0"/>
                    </a:lnTo>
                    <a:lnTo>
                      <a:pt x="3319386" y="10210"/>
                    </a:lnTo>
                    <a:lnTo>
                      <a:pt x="3329622" y="10210"/>
                    </a:lnTo>
                    <a:lnTo>
                      <a:pt x="3329622" y="0"/>
                    </a:lnTo>
                    <a:close/>
                  </a:path>
                  <a:path w="6219190" h="573404">
                    <a:moveTo>
                      <a:pt x="3391090" y="0"/>
                    </a:moveTo>
                    <a:lnTo>
                      <a:pt x="3380854" y="0"/>
                    </a:lnTo>
                    <a:lnTo>
                      <a:pt x="3380854" y="10210"/>
                    </a:lnTo>
                    <a:lnTo>
                      <a:pt x="3391090" y="10210"/>
                    </a:lnTo>
                    <a:lnTo>
                      <a:pt x="3391090" y="0"/>
                    </a:lnTo>
                    <a:close/>
                  </a:path>
                  <a:path w="6219190" h="573404">
                    <a:moveTo>
                      <a:pt x="3452571" y="0"/>
                    </a:moveTo>
                    <a:lnTo>
                      <a:pt x="3442322" y="0"/>
                    </a:lnTo>
                    <a:lnTo>
                      <a:pt x="3442322" y="10210"/>
                    </a:lnTo>
                    <a:lnTo>
                      <a:pt x="3452571" y="10210"/>
                    </a:lnTo>
                    <a:lnTo>
                      <a:pt x="3452571" y="0"/>
                    </a:lnTo>
                    <a:close/>
                  </a:path>
                  <a:path w="6219190" h="573404">
                    <a:moveTo>
                      <a:pt x="3514039" y="0"/>
                    </a:moveTo>
                    <a:lnTo>
                      <a:pt x="3503790" y="0"/>
                    </a:lnTo>
                    <a:lnTo>
                      <a:pt x="3503790" y="10210"/>
                    </a:lnTo>
                    <a:lnTo>
                      <a:pt x="3514039" y="10210"/>
                    </a:lnTo>
                    <a:lnTo>
                      <a:pt x="3514039" y="0"/>
                    </a:lnTo>
                    <a:close/>
                  </a:path>
                  <a:path w="6219190" h="573404">
                    <a:moveTo>
                      <a:pt x="3575507" y="0"/>
                    </a:moveTo>
                    <a:lnTo>
                      <a:pt x="3565258" y="0"/>
                    </a:lnTo>
                    <a:lnTo>
                      <a:pt x="3565258" y="10210"/>
                    </a:lnTo>
                    <a:lnTo>
                      <a:pt x="3575507" y="10210"/>
                    </a:lnTo>
                    <a:lnTo>
                      <a:pt x="3575507" y="0"/>
                    </a:lnTo>
                    <a:close/>
                  </a:path>
                  <a:path w="6219190" h="573404">
                    <a:moveTo>
                      <a:pt x="3636975" y="0"/>
                    </a:moveTo>
                    <a:lnTo>
                      <a:pt x="3626726" y="0"/>
                    </a:lnTo>
                    <a:lnTo>
                      <a:pt x="3626726" y="10210"/>
                    </a:lnTo>
                    <a:lnTo>
                      <a:pt x="3636975" y="10210"/>
                    </a:lnTo>
                    <a:lnTo>
                      <a:pt x="3636975" y="0"/>
                    </a:lnTo>
                    <a:close/>
                  </a:path>
                  <a:path w="6219190" h="573404">
                    <a:moveTo>
                      <a:pt x="3698443" y="0"/>
                    </a:moveTo>
                    <a:lnTo>
                      <a:pt x="3688207" y="0"/>
                    </a:lnTo>
                    <a:lnTo>
                      <a:pt x="3688207" y="10210"/>
                    </a:lnTo>
                    <a:lnTo>
                      <a:pt x="3698443" y="10210"/>
                    </a:lnTo>
                    <a:lnTo>
                      <a:pt x="3698443" y="0"/>
                    </a:lnTo>
                    <a:close/>
                  </a:path>
                  <a:path w="6219190" h="573404">
                    <a:moveTo>
                      <a:pt x="3759911" y="0"/>
                    </a:moveTo>
                    <a:lnTo>
                      <a:pt x="3749675" y="0"/>
                    </a:lnTo>
                    <a:lnTo>
                      <a:pt x="3749675" y="10210"/>
                    </a:lnTo>
                    <a:lnTo>
                      <a:pt x="3759911" y="10210"/>
                    </a:lnTo>
                    <a:lnTo>
                      <a:pt x="3759911" y="0"/>
                    </a:lnTo>
                    <a:close/>
                  </a:path>
                  <a:path w="6219190" h="573404">
                    <a:moveTo>
                      <a:pt x="4313148" y="562762"/>
                    </a:moveTo>
                    <a:lnTo>
                      <a:pt x="4302899" y="562762"/>
                    </a:lnTo>
                    <a:lnTo>
                      <a:pt x="4302899" y="572960"/>
                    </a:lnTo>
                    <a:lnTo>
                      <a:pt x="4313148" y="572960"/>
                    </a:lnTo>
                    <a:lnTo>
                      <a:pt x="4313148" y="562762"/>
                    </a:lnTo>
                    <a:close/>
                  </a:path>
                  <a:path w="6219190" h="573404">
                    <a:moveTo>
                      <a:pt x="4374616" y="562762"/>
                    </a:moveTo>
                    <a:lnTo>
                      <a:pt x="4364367" y="562762"/>
                    </a:lnTo>
                    <a:lnTo>
                      <a:pt x="4364367" y="572960"/>
                    </a:lnTo>
                    <a:lnTo>
                      <a:pt x="4374616" y="572960"/>
                    </a:lnTo>
                    <a:lnTo>
                      <a:pt x="4374616" y="562762"/>
                    </a:lnTo>
                    <a:close/>
                  </a:path>
                  <a:path w="6219190" h="573404">
                    <a:moveTo>
                      <a:pt x="4436084" y="562762"/>
                    </a:moveTo>
                    <a:lnTo>
                      <a:pt x="4425848" y="562762"/>
                    </a:lnTo>
                    <a:lnTo>
                      <a:pt x="4425848" y="572960"/>
                    </a:lnTo>
                    <a:lnTo>
                      <a:pt x="4436084" y="572960"/>
                    </a:lnTo>
                    <a:lnTo>
                      <a:pt x="4436084" y="562762"/>
                    </a:lnTo>
                    <a:close/>
                  </a:path>
                  <a:path w="6219190" h="573404">
                    <a:moveTo>
                      <a:pt x="4497552" y="562762"/>
                    </a:moveTo>
                    <a:lnTo>
                      <a:pt x="4487316" y="562762"/>
                    </a:lnTo>
                    <a:lnTo>
                      <a:pt x="4487316" y="572960"/>
                    </a:lnTo>
                    <a:lnTo>
                      <a:pt x="4497552" y="572960"/>
                    </a:lnTo>
                    <a:lnTo>
                      <a:pt x="4497552" y="562762"/>
                    </a:lnTo>
                    <a:close/>
                  </a:path>
                  <a:path w="6219190" h="573404">
                    <a:moveTo>
                      <a:pt x="4559033" y="562762"/>
                    </a:moveTo>
                    <a:lnTo>
                      <a:pt x="4548784" y="562762"/>
                    </a:lnTo>
                    <a:lnTo>
                      <a:pt x="4548784" y="572960"/>
                    </a:lnTo>
                    <a:lnTo>
                      <a:pt x="4559033" y="572960"/>
                    </a:lnTo>
                    <a:lnTo>
                      <a:pt x="4559033" y="562762"/>
                    </a:lnTo>
                    <a:close/>
                  </a:path>
                  <a:path w="6219190" h="573404">
                    <a:moveTo>
                      <a:pt x="4620501" y="562762"/>
                    </a:moveTo>
                    <a:lnTo>
                      <a:pt x="4610252" y="562762"/>
                    </a:lnTo>
                    <a:lnTo>
                      <a:pt x="4610252" y="572960"/>
                    </a:lnTo>
                    <a:lnTo>
                      <a:pt x="4620501" y="572960"/>
                    </a:lnTo>
                    <a:lnTo>
                      <a:pt x="4620501" y="562762"/>
                    </a:lnTo>
                    <a:close/>
                  </a:path>
                  <a:path w="6219190" h="573404">
                    <a:moveTo>
                      <a:pt x="6095784" y="562762"/>
                    </a:moveTo>
                    <a:lnTo>
                      <a:pt x="6085535" y="562762"/>
                    </a:lnTo>
                    <a:lnTo>
                      <a:pt x="6085535" y="572960"/>
                    </a:lnTo>
                    <a:lnTo>
                      <a:pt x="6095784" y="572960"/>
                    </a:lnTo>
                    <a:lnTo>
                      <a:pt x="6095784" y="562762"/>
                    </a:lnTo>
                    <a:close/>
                  </a:path>
                  <a:path w="6219190" h="573404">
                    <a:moveTo>
                      <a:pt x="6157252" y="562762"/>
                    </a:moveTo>
                    <a:lnTo>
                      <a:pt x="6147003" y="562762"/>
                    </a:lnTo>
                    <a:lnTo>
                      <a:pt x="6147003" y="572960"/>
                    </a:lnTo>
                    <a:lnTo>
                      <a:pt x="6157252" y="572960"/>
                    </a:lnTo>
                    <a:lnTo>
                      <a:pt x="6157252" y="562762"/>
                    </a:lnTo>
                    <a:close/>
                  </a:path>
                  <a:path w="6219190" h="573404">
                    <a:moveTo>
                      <a:pt x="6218720" y="562762"/>
                    </a:moveTo>
                    <a:lnTo>
                      <a:pt x="6208471" y="562762"/>
                    </a:lnTo>
                    <a:lnTo>
                      <a:pt x="6208471" y="572960"/>
                    </a:lnTo>
                    <a:lnTo>
                      <a:pt x="6218720" y="572960"/>
                    </a:lnTo>
                    <a:lnTo>
                      <a:pt x="6218720" y="562762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88" name="object 388"/>
              <p:cNvSpPr/>
              <p:nvPr/>
            </p:nvSpPr>
            <p:spPr>
              <a:xfrm>
                <a:off x="715200" y="5423293"/>
                <a:ext cx="6219190" cy="573405"/>
              </a:xfrm>
              <a:custGeom>
                <a:avLst/>
                <a:gdLst/>
                <a:ahLst/>
                <a:cxnLst/>
                <a:rect l="l" t="t" r="r" b="b"/>
                <a:pathLst>
                  <a:path w="6219190" h="573404">
                    <a:moveTo>
                      <a:pt x="10236" y="0"/>
                    </a:moveTo>
                    <a:lnTo>
                      <a:pt x="0" y="0"/>
                    </a:lnTo>
                    <a:lnTo>
                      <a:pt x="0" y="10210"/>
                    </a:lnTo>
                    <a:lnTo>
                      <a:pt x="10236" y="10210"/>
                    </a:lnTo>
                    <a:lnTo>
                      <a:pt x="10236" y="0"/>
                    </a:lnTo>
                    <a:close/>
                  </a:path>
                  <a:path w="6219190" h="573404">
                    <a:moveTo>
                      <a:pt x="71704" y="0"/>
                    </a:moveTo>
                    <a:lnTo>
                      <a:pt x="61468" y="0"/>
                    </a:lnTo>
                    <a:lnTo>
                      <a:pt x="61468" y="10210"/>
                    </a:lnTo>
                    <a:lnTo>
                      <a:pt x="71704" y="10210"/>
                    </a:lnTo>
                    <a:lnTo>
                      <a:pt x="71704" y="0"/>
                    </a:lnTo>
                    <a:close/>
                  </a:path>
                  <a:path w="6219190" h="573404">
                    <a:moveTo>
                      <a:pt x="133184" y="0"/>
                    </a:moveTo>
                    <a:lnTo>
                      <a:pt x="122936" y="0"/>
                    </a:lnTo>
                    <a:lnTo>
                      <a:pt x="122936" y="10210"/>
                    </a:lnTo>
                    <a:lnTo>
                      <a:pt x="133184" y="10210"/>
                    </a:lnTo>
                    <a:lnTo>
                      <a:pt x="133184" y="0"/>
                    </a:lnTo>
                    <a:close/>
                  </a:path>
                  <a:path w="6219190" h="573404">
                    <a:moveTo>
                      <a:pt x="194652" y="0"/>
                    </a:moveTo>
                    <a:lnTo>
                      <a:pt x="184404" y="0"/>
                    </a:lnTo>
                    <a:lnTo>
                      <a:pt x="184404" y="10210"/>
                    </a:lnTo>
                    <a:lnTo>
                      <a:pt x="194652" y="10210"/>
                    </a:lnTo>
                    <a:lnTo>
                      <a:pt x="194652" y="0"/>
                    </a:lnTo>
                    <a:close/>
                  </a:path>
                  <a:path w="6219190" h="573404">
                    <a:moveTo>
                      <a:pt x="256120" y="0"/>
                    </a:moveTo>
                    <a:lnTo>
                      <a:pt x="245872" y="0"/>
                    </a:lnTo>
                    <a:lnTo>
                      <a:pt x="245872" y="10210"/>
                    </a:lnTo>
                    <a:lnTo>
                      <a:pt x="256120" y="10210"/>
                    </a:lnTo>
                    <a:lnTo>
                      <a:pt x="256120" y="0"/>
                    </a:lnTo>
                    <a:close/>
                  </a:path>
                  <a:path w="6219190" h="573404">
                    <a:moveTo>
                      <a:pt x="317588" y="0"/>
                    </a:moveTo>
                    <a:lnTo>
                      <a:pt x="307340" y="0"/>
                    </a:lnTo>
                    <a:lnTo>
                      <a:pt x="307340" y="10210"/>
                    </a:lnTo>
                    <a:lnTo>
                      <a:pt x="317588" y="10210"/>
                    </a:lnTo>
                    <a:lnTo>
                      <a:pt x="317588" y="0"/>
                    </a:lnTo>
                    <a:close/>
                  </a:path>
                  <a:path w="6219190" h="573404">
                    <a:moveTo>
                      <a:pt x="379056" y="0"/>
                    </a:moveTo>
                    <a:lnTo>
                      <a:pt x="368820" y="0"/>
                    </a:lnTo>
                    <a:lnTo>
                      <a:pt x="368820" y="10210"/>
                    </a:lnTo>
                    <a:lnTo>
                      <a:pt x="379056" y="10210"/>
                    </a:lnTo>
                    <a:lnTo>
                      <a:pt x="379056" y="0"/>
                    </a:lnTo>
                    <a:close/>
                  </a:path>
                  <a:path w="6219190" h="573404">
                    <a:moveTo>
                      <a:pt x="440524" y="0"/>
                    </a:moveTo>
                    <a:lnTo>
                      <a:pt x="430288" y="0"/>
                    </a:lnTo>
                    <a:lnTo>
                      <a:pt x="430288" y="10210"/>
                    </a:lnTo>
                    <a:lnTo>
                      <a:pt x="440524" y="10210"/>
                    </a:lnTo>
                    <a:lnTo>
                      <a:pt x="440524" y="0"/>
                    </a:lnTo>
                    <a:close/>
                  </a:path>
                  <a:path w="6219190" h="573404">
                    <a:moveTo>
                      <a:pt x="502005" y="0"/>
                    </a:moveTo>
                    <a:lnTo>
                      <a:pt x="491756" y="0"/>
                    </a:lnTo>
                    <a:lnTo>
                      <a:pt x="491756" y="10210"/>
                    </a:lnTo>
                    <a:lnTo>
                      <a:pt x="502005" y="10210"/>
                    </a:lnTo>
                    <a:lnTo>
                      <a:pt x="502005" y="0"/>
                    </a:lnTo>
                    <a:close/>
                  </a:path>
                  <a:path w="6219190" h="573404">
                    <a:moveTo>
                      <a:pt x="563473" y="0"/>
                    </a:moveTo>
                    <a:lnTo>
                      <a:pt x="553224" y="0"/>
                    </a:lnTo>
                    <a:lnTo>
                      <a:pt x="553224" y="10210"/>
                    </a:lnTo>
                    <a:lnTo>
                      <a:pt x="563473" y="10210"/>
                    </a:lnTo>
                    <a:lnTo>
                      <a:pt x="563473" y="0"/>
                    </a:lnTo>
                    <a:close/>
                  </a:path>
                  <a:path w="6219190" h="573404">
                    <a:moveTo>
                      <a:pt x="624941" y="0"/>
                    </a:moveTo>
                    <a:lnTo>
                      <a:pt x="614692" y="0"/>
                    </a:lnTo>
                    <a:lnTo>
                      <a:pt x="614692" y="10210"/>
                    </a:lnTo>
                    <a:lnTo>
                      <a:pt x="624941" y="10210"/>
                    </a:lnTo>
                    <a:lnTo>
                      <a:pt x="624941" y="0"/>
                    </a:lnTo>
                    <a:close/>
                  </a:path>
                  <a:path w="6219190" h="573404">
                    <a:moveTo>
                      <a:pt x="686409" y="0"/>
                    </a:moveTo>
                    <a:lnTo>
                      <a:pt x="676160" y="0"/>
                    </a:lnTo>
                    <a:lnTo>
                      <a:pt x="676160" y="10210"/>
                    </a:lnTo>
                    <a:lnTo>
                      <a:pt x="686409" y="10210"/>
                    </a:lnTo>
                    <a:lnTo>
                      <a:pt x="686409" y="0"/>
                    </a:lnTo>
                    <a:close/>
                  </a:path>
                  <a:path w="6219190" h="573404">
                    <a:moveTo>
                      <a:pt x="747877" y="0"/>
                    </a:moveTo>
                    <a:lnTo>
                      <a:pt x="737641" y="0"/>
                    </a:lnTo>
                    <a:lnTo>
                      <a:pt x="737641" y="10210"/>
                    </a:lnTo>
                    <a:lnTo>
                      <a:pt x="747877" y="10210"/>
                    </a:lnTo>
                    <a:lnTo>
                      <a:pt x="747877" y="0"/>
                    </a:lnTo>
                    <a:close/>
                  </a:path>
                  <a:path w="6219190" h="573404">
                    <a:moveTo>
                      <a:pt x="809345" y="0"/>
                    </a:moveTo>
                    <a:lnTo>
                      <a:pt x="799109" y="0"/>
                    </a:lnTo>
                    <a:lnTo>
                      <a:pt x="799109" y="10210"/>
                    </a:lnTo>
                    <a:lnTo>
                      <a:pt x="809345" y="10210"/>
                    </a:lnTo>
                    <a:lnTo>
                      <a:pt x="809345" y="0"/>
                    </a:lnTo>
                    <a:close/>
                  </a:path>
                  <a:path w="6219190" h="573404">
                    <a:moveTo>
                      <a:pt x="870826" y="0"/>
                    </a:moveTo>
                    <a:lnTo>
                      <a:pt x="860577" y="0"/>
                    </a:lnTo>
                    <a:lnTo>
                      <a:pt x="860577" y="10210"/>
                    </a:lnTo>
                    <a:lnTo>
                      <a:pt x="870826" y="10210"/>
                    </a:lnTo>
                    <a:lnTo>
                      <a:pt x="870826" y="0"/>
                    </a:lnTo>
                    <a:close/>
                  </a:path>
                  <a:path w="6219190" h="573404">
                    <a:moveTo>
                      <a:pt x="932294" y="0"/>
                    </a:moveTo>
                    <a:lnTo>
                      <a:pt x="922045" y="0"/>
                    </a:lnTo>
                    <a:lnTo>
                      <a:pt x="922045" y="10210"/>
                    </a:lnTo>
                    <a:lnTo>
                      <a:pt x="932294" y="10210"/>
                    </a:lnTo>
                    <a:lnTo>
                      <a:pt x="932294" y="0"/>
                    </a:lnTo>
                    <a:close/>
                  </a:path>
                  <a:path w="6219190" h="573404">
                    <a:moveTo>
                      <a:pt x="993762" y="0"/>
                    </a:moveTo>
                    <a:lnTo>
                      <a:pt x="983513" y="0"/>
                    </a:lnTo>
                    <a:lnTo>
                      <a:pt x="983513" y="10210"/>
                    </a:lnTo>
                    <a:lnTo>
                      <a:pt x="993762" y="10210"/>
                    </a:lnTo>
                    <a:lnTo>
                      <a:pt x="993762" y="0"/>
                    </a:lnTo>
                    <a:close/>
                  </a:path>
                  <a:path w="6219190" h="573404">
                    <a:moveTo>
                      <a:pt x="1055230" y="0"/>
                    </a:moveTo>
                    <a:lnTo>
                      <a:pt x="1044981" y="0"/>
                    </a:lnTo>
                    <a:lnTo>
                      <a:pt x="1044981" y="10210"/>
                    </a:lnTo>
                    <a:lnTo>
                      <a:pt x="1055230" y="10210"/>
                    </a:lnTo>
                    <a:lnTo>
                      <a:pt x="1055230" y="0"/>
                    </a:lnTo>
                    <a:close/>
                  </a:path>
                  <a:path w="6219190" h="573404">
                    <a:moveTo>
                      <a:pt x="1116698" y="0"/>
                    </a:moveTo>
                    <a:lnTo>
                      <a:pt x="1106462" y="0"/>
                    </a:lnTo>
                    <a:lnTo>
                      <a:pt x="1106462" y="10210"/>
                    </a:lnTo>
                    <a:lnTo>
                      <a:pt x="1116698" y="10210"/>
                    </a:lnTo>
                    <a:lnTo>
                      <a:pt x="1116698" y="0"/>
                    </a:lnTo>
                    <a:close/>
                  </a:path>
                  <a:path w="6219190" h="573404">
                    <a:moveTo>
                      <a:pt x="1178166" y="0"/>
                    </a:moveTo>
                    <a:lnTo>
                      <a:pt x="1167930" y="0"/>
                    </a:lnTo>
                    <a:lnTo>
                      <a:pt x="1167930" y="10210"/>
                    </a:lnTo>
                    <a:lnTo>
                      <a:pt x="1178166" y="10210"/>
                    </a:lnTo>
                    <a:lnTo>
                      <a:pt x="1178166" y="0"/>
                    </a:lnTo>
                    <a:close/>
                  </a:path>
                  <a:path w="6219190" h="573404">
                    <a:moveTo>
                      <a:pt x="1239647" y="0"/>
                    </a:moveTo>
                    <a:lnTo>
                      <a:pt x="1229398" y="0"/>
                    </a:lnTo>
                    <a:lnTo>
                      <a:pt x="1229398" y="10210"/>
                    </a:lnTo>
                    <a:lnTo>
                      <a:pt x="1239647" y="10210"/>
                    </a:lnTo>
                    <a:lnTo>
                      <a:pt x="1239647" y="0"/>
                    </a:lnTo>
                    <a:close/>
                  </a:path>
                  <a:path w="6219190" h="573404">
                    <a:moveTo>
                      <a:pt x="1301115" y="0"/>
                    </a:moveTo>
                    <a:lnTo>
                      <a:pt x="1290866" y="0"/>
                    </a:lnTo>
                    <a:lnTo>
                      <a:pt x="1290866" y="10210"/>
                    </a:lnTo>
                    <a:lnTo>
                      <a:pt x="1301115" y="10210"/>
                    </a:lnTo>
                    <a:lnTo>
                      <a:pt x="1301115" y="0"/>
                    </a:lnTo>
                    <a:close/>
                  </a:path>
                  <a:path w="6219190" h="573404">
                    <a:moveTo>
                      <a:pt x="1362583" y="0"/>
                    </a:moveTo>
                    <a:lnTo>
                      <a:pt x="1352334" y="0"/>
                    </a:lnTo>
                    <a:lnTo>
                      <a:pt x="1352334" y="10210"/>
                    </a:lnTo>
                    <a:lnTo>
                      <a:pt x="1362583" y="10210"/>
                    </a:lnTo>
                    <a:lnTo>
                      <a:pt x="1362583" y="0"/>
                    </a:lnTo>
                    <a:close/>
                  </a:path>
                  <a:path w="6219190" h="573404">
                    <a:moveTo>
                      <a:pt x="1424051" y="0"/>
                    </a:moveTo>
                    <a:lnTo>
                      <a:pt x="1413802" y="0"/>
                    </a:lnTo>
                    <a:lnTo>
                      <a:pt x="1413802" y="10210"/>
                    </a:lnTo>
                    <a:lnTo>
                      <a:pt x="1424051" y="10210"/>
                    </a:lnTo>
                    <a:lnTo>
                      <a:pt x="1424051" y="0"/>
                    </a:lnTo>
                    <a:close/>
                  </a:path>
                  <a:path w="6219190" h="573404">
                    <a:moveTo>
                      <a:pt x="1485519" y="0"/>
                    </a:moveTo>
                    <a:lnTo>
                      <a:pt x="1475282" y="0"/>
                    </a:lnTo>
                    <a:lnTo>
                      <a:pt x="1475282" y="10210"/>
                    </a:lnTo>
                    <a:lnTo>
                      <a:pt x="1485519" y="10210"/>
                    </a:lnTo>
                    <a:lnTo>
                      <a:pt x="1485519" y="0"/>
                    </a:lnTo>
                    <a:close/>
                  </a:path>
                  <a:path w="6219190" h="573404">
                    <a:moveTo>
                      <a:pt x="1546987" y="0"/>
                    </a:moveTo>
                    <a:lnTo>
                      <a:pt x="1536750" y="0"/>
                    </a:lnTo>
                    <a:lnTo>
                      <a:pt x="1536750" y="10210"/>
                    </a:lnTo>
                    <a:lnTo>
                      <a:pt x="1546987" y="10210"/>
                    </a:lnTo>
                    <a:lnTo>
                      <a:pt x="1546987" y="0"/>
                    </a:lnTo>
                    <a:close/>
                  </a:path>
                  <a:path w="6219190" h="573404">
                    <a:moveTo>
                      <a:pt x="1608467" y="0"/>
                    </a:moveTo>
                    <a:lnTo>
                      <a:pt x="1598218" y="0"/>
                    </a:lnTo>
                    <a:lnTo>
                      <a:pt x="1598218" y="10210"/>
                    </a:lnTo>
                    <a:lnTo>
                      <a:pt x="1608467" y="10210"/>
                    </a:lnTo>
                    <a:lnTo>
                      <a:pt x="1608467" y="0"/>
                    </a:lnTo>
                    <a:close/>
                  </a:path>
                  <a:path w="6219190" h="573404">
                    <a:moveTo>
                      <a:pt x="1669935" y="0"/>
                    </a:moveTo>
                    <a:lnTo>
                      <a:pt x="1659686" y="0"/>
                    </a:lnTo>
                    <a:lnTo>
                      <a:pt x="1659686" y="10210"/>
                    </a:lnTo>
                    <a:lnTo>
                      <a:pt x="1669935" y="10210"/>
                    </a:lnTo>
                    <a:lnTo>
                      <a:pt x="1669935" y="0"/>
                    </a:lnTo>
                    <a:close/>
                  </a:path>
                  <a:path w="6219190" h="573404">
                    <a:moveTo>
                      <a:pt x="1731403" y="0"/>
                    </a:moveTo>
                    <a:lnTo>
                      <a:pt x="1721154" y="0"/>
                    </a:lnTo>
                    <a:lnTo>
                      <a:pt x="1721154" y="10210"/>
                    </a:lnTo>
                    <a:lnTo>
                      <a:pt x="1731403" y="10210"/>
                    </a:lnTo>
                    <a:lnTo>
                      <a:pt x="1731403" y="0"/>
                    </a:lnTo>
                    <a:close/>
                  </a:path>
                  <a:path w="6219190" h="573404">
                    <a:moveTo>
                      <a:pt x="1792871" y="0"/>
                    </a:moveTo>
                    <a:lnTo>
                      <a:pt x="1782622" y="0"/>
                    </a:lnTo>
                    <a:lnTo>
                      <a:pt x="1782622" y="10210"/>
                    </a:lnTo>
                    <a:lnTo>
                      <a:pt x="1792871" y="10210"/>
                    </a:lnTo>
                    <a:lnTo>
                      <a:pt x="1792871" y="0"/>
                    </a:lnTo>
                    <a:close/>
                  </a:path>
                  <a:path w="6219190" h="573404">
                    <a:moveTo>
                      <a:pt x="1854339" y="0"/>
                    </a:moveTo>
                    <a:lnTo>
                      <a:pt x="1844103" y="0"/>
                    </a:lnTo>
                    <a:lnTo>
                      <a:pt x="1844103" y="10210"/>
                    </a:lnTo>
                    <a:lnTo>
                      <a:pt x="1854339" y="10210"/>
                    </a:lnTo>
                    <a:lnTo>
                      <a:pt x="1854339" y="0"/>
                    </a:lnTo>
                    <a:close/>
                  </a:path>
                  <a:path w="6219190" h="573404">
                    <a:moveTo>
                      <a:pt x="1915807" y="0"/>
                    </a:moveTo>
                    <a:lnTo>
                      <a:pt x="1905571" y="0"/>
                    </a:lnTo>
                    <a:lnTo>
                      <a:pt x="1905571" y="10210"/>
                    </a:lnTo>
                    <a:lnTo>
                      <a:pt x="1915807" y="10210"/>
                    </a:lnTo>
                    <a:lnTo>
                      <a:pt x="1915807" y="0"/>
                    </a:lnTo>
                    <a:close/>
                  </a:path>
                  <a:path w="6219190" h="573404">
                    <a:moveTo>
                      <a:pt x="1977288" y="0"/>
                    </a:moveTo>
                    <a:lnTo>
                      <a:pt x="1967039" y="0"/>
                    </a:lnTo>
                    <a:lnTo>
                      <a:pt x="1967039" y="10210"/>
                    </a:lnTo>
                    <a:lnTo>
                      <a:pt x="1977288" y="10210"/>
                    </a:lnTo>
                    <a:lnTo>
                      <a:pt x="1977288" y="0"/>
                    </a:lnTo>
                    <a:close/>
                  </a:path>
                  <a:path w="6219190" h="573404">
                    <a:moveTo>
                      <a:pt x="2038756" y="0"/>
                    </a:moveTo>
                    <a:lnTo>
                      <a:pt x="2028507" y="0"/>
                    </a:lnTo>
                    <a:lnTo>
                      <a:pt x="2028507" y="10210"/>
                    </a:lnTo>
                    <a:lnTo>
                      <a:pt x="2038756" y="10210"/>
                    </a:lnTo>
                    <a:lnTo>
                      <a:pt x="2038756" y="0"/>
                    </a:lnTo>
                    <a:close/>
                  </a:path>
                  <a:path w="6219190" h="573404">
                    <a:moveTo>
                      <a:pt x="2100224" y="0"/>
                    </a:moveTo>
                    <a:lnTo>
                      <a:pt x="2089975" y="0"/>
                    </a:lnTo>
                    <a:lnTo>
                      <a:pt x="2089975" y="10210"/>
                    </a:lnTo>
                    <a:lnTo>
                      <a:pt x="2100224" y="10210"/>
                    </a:lnTo>
                    <a:lnTo>
                      <a:pt x="2100224" y="0"/>
                    </a:lnTo>
                    <a:close/>
                  </a:path>
                  <a:path w="6219190" h="573404">
                    <a:moveTo>
                      <a:pt x="2161692" y="0"/>
                    </a:moveTo>
                    <a:lnTo>
                      <a:pt x="2151443" y="0"/>
                    </a:lnTo>
                    <a:lnTo>
                      <a:pt x="2151443" y="10210"/>
                    </a:lnTo>
                    <a:lnTo>
                      <a:pt x="2161692" y="10210"/>
                    </a:lnTo>
                    <a:lnTo>
                      <a:pt x="2161692" y="0"/>
                    </a:lnTo>
                    <a:close/>
                  </a:path>
                  <a:path w="6219190" h="573404">
                    <a:moveTo>
                      <a:pt x="2223160" y="0"/>
                    </a:moveTo>
                    <a:lnTo>
                      <a:pt x="2212924" y="0"/>
                    </a:lnTo>
                    <a:lnTo>
                      <a:pt x="2212924" y="10210"/>
                    </a:lnTo>
                    <a:lnTo>
                      <a:pt x="2223160" y="10210"/>
                    </a:lnTo>
                    <a:lnTo>
                      <a:pt x="2223160" y="0"/>
                    </a:lnTo>
                    <a:close/>
                  </a:path>
                  <a:path w="6219190" h="573404">
                    <a:moveTo>
                      <a:pt x="2284628" y="0"/>
                    </a:moveTo>
                    <a:lnTo>
                      <a:pt x="2274392" y="0"/>
                    </a:lnTo>
                    <a:lnTo>
                      <a:pt x="2274392" y="10210"/>
                    </a:lnTo>
                    <a:lnTo>
                      <a:pt x="2284628" y="10210"/>
                    </a:lnTo>
                    <a:lnTo>
                      <a:pt x="2284628" y="0"/>
                    </a:lnTo>
                    <a:close/>
                  </a:path>
                  <a:path w="6219190" h="573404">
                    <a:moveTo>
                      <a:pt x="2346109" y="0"/>
                    </a:moveTo>
                    <a:lnTo>
                      <a:pt x="2335860" y="0"/>
                    </a:lnTo>
                    <a:lnTo>
                      <a:pt x="2335860" y="10210"/>
                    </a:lnTo>
                    <a:lnTo>
                      <a:pt x="2346109" y="10210"/>
                    </a:lnTo>
                    <a:lnTo>
                      <a:pt x="2346109" y="0"/>
                    </a:lnTo>
                    <a:close/>
                  </a:path>
                  <a:path w="6219190" h="573404">
                    <a:moveTo>
                      <a:pt x="2407577" y="0"/>
                    </a:moveTo>
                    <a:lnTo>
                      <a:pt x="2397328" y="0"/>
                    </a:lnTo>
                    <a:lnTo>
                      <a:pt x="2397328" y="10210"/>
                    </a:lnTo>
                    <a:lnTo>
                      <a:pt x="2407577" y="10210"/>
                    </a:lnTo>
                    <a:lnTo>
                      <a:pt x="2407577" y="0"/>
                    </a:lnTo>
                    <a:close/>
                  </a:path>
                  <a:path w="6219190" h="573404">
                    <a:moveTo>
                      <a:pt x="2469045" y="0"/>
                    </a:moveTo>
                    <a:lnTo>
                      <a:pt x="2458796" y="0"/>
                    </a:lnTo>
                    <a:lnTo>
                      <a:pt x="2458796" y="10210"/>
                    </a:lnTo>
                    <a:lnTo>
                      <a:pt x="2469045" y="10210"/>
                    </a:lnTo>
                    <a:lnTo>
                      <a:pt x="2469045" y="0"/>
                    </a:lnTo>
                    <a:close/>
                  </a:path>
                  <a:path w="6219190" h="573404">
                    <a:moveTo>
                      <a:pt x="2530513" y="0"/>
                    </a:moveTo>
                    <a:lnTo>
                      <a:pt x="2520264" y="0"/>
                    </a:lnTo>
                    <a:lnTo>
                      <a:pt x="2520264" y="10210"/>
                    </a:lnTo>
                    <a:lnTo>
                      <a:pt x="2530513" y="10210"/>
                    </a:lnTo>
                    <a:lnTo>
                      <a:pt x="2530513" y="0"/>
                    </a:lnTo>
                    <a:close/>
                  </a:path>
                  <a:path w="6219190" h="573404">
                    <a:moveTo>
                      <a:pt x="2591981" y="0"/>
                    </a:moveTo>
                    <a:lnTo>
                      <a:pt x="2581745" y="0"/>
                    </a:lnTo>
                    <a:lnTo>
                      <a:pt x="2581745" y="10210"/>
                    </a:lnTo>
                    <a:lnTo>
                      <a:pt x="2591981" y="10210"/>
                    </a:lnTo>
                    <a:lnTo>
                      <a:pt x="2591981" y="0"/>
                    </a:lnTo>
                    <a:close/>
                  </a:path>
                  <a:path w="6219190" h="573404">
                    <a:moveTo>
                      <a:pt x="2653449" y="0"/>
                    </a:moveTo>
                    <a:lnTo>
                      <a:pt x="2643213" y="0"/>
                    </a:lnTo>
                    <a:lnTo>
                      <a:pt x="2643213" y="10210"/>
                    </a:lnTo>
                    <a:lnTo>
                      <a:pt x="2653449" y="10210"/>
                    </a:lnTo>
                    <a:lnTo>
                      <a:pt x="2653449" y="0"/>
                    </a:lnTo>
                    <a:close/>
                  </a:path>
                  <a:path w="6219190" h="573404">
                    <a:moveTo>
                      <a:pt x="2714929" y="0"/>
                    </a:moveTo>
                    <a:lnTo>
                      <a:pt x="2704681" y="0"/>
                    </a:lnTo>
                    <a:lnTo>
                      <a:pt x="2704681" y="10210"/>
                    </a:lnTo>
                    <a:lnTo>
                      <a:pt x="2714929" y="10210"/>
                    </a:lnTo>
                    <a:lnTo>
                      <a:pt x="2714929" y="0"/>
                    </a:lnTo>
                    <a:close/>
                  </a:path>
                  <a:path w="6219190" h="573404">
                    <a:moveTo>
                      <a:pt x="2776397" y="0"/>
                    </a:moveTo>
                    <a:lnTo>
                      <a:pt x="2766149" y="0"/>
                    </a:lnTo>
                    <a:lnTo>
                      <a:pt x="2766149" y="10210"/>
                    </a:lnTo>
                    <a:lnTo>
                      <a:pt x="2776397" y="10210"/>
                    </a:lnTo>
                    <a:lnTo>
                      <a:pt x="2776397" y="0"/>
                    </a:lnTo>
                    <a:close/>
                  </a:path>
                  <a:path w="6219190" h="573404">
                    <a:moveTo>
                      <a:pt x="2837865" y="0"/>
                    </a:moveTo>
                    <a:lnTo>
                      <a:pt x="2827617" y="0"/>
                    </a:lnTo>
                    <a:lnTo>
                      <a:pt x="2827617" y="10210"/>
                    </a:lnTo>
                    <a:lnTo>
                      <a:pt x="2837865" y="10210"/>
                    </a:lnTo>
                    <a:lnTo>
                      <a:pt x="2837865" y="0"/>
                    </a:lnTo>
                    <a:close/>
                  </a:path>
                  <a:path w="6219190" h="573404">
                    <a:moveTo>
                      <a:pt x="2899333" y="0"/>
                    </a:moveTo>
                    <a:lnTo>
                      <a:pt x="2889085" y="0"/>
                    </a:lnTo>
                    <a:lnTo>
                      <a:pt x="2889085" y="10210"/>
                    </a:lnTo>
                    <a:lnTo>
                      <a:pt x="2899333" y="10210"/>
                    </a:lnTo>
                    <a:lnTo>
                      <a:pt x="2899333" y="0"/>
                    </a:lnTo>
                    <a:close/>
                  </a:path>
                  <a:path w="6219190" h="573404">
                    <a:moveTo>
                      <a:pt x="3759911" y="562749"/>
                    </a:moveTo>
                    <a:lnTo>
                      <a:pt x="3749675" y="562749"/>
                    </a:lnTo>
                    <a:lnTo>
                      <a:pt x="3749675" y="572960"/>
                    </a:lnTo>
                    <a:lnTo>
                      <a:pt x="3759911" y="572960"/>
                    </a:lnTo>
                    <a:lnTo>
                      <a:pt x="3759911" y="562749"/>
                    </a:lnTo>
                    <a:close/>
                  </a:path>
                  <a:path w="6219190" h="573404">
                    <a:moveTo>
                      <a:pt x="3821392" y="562749"/>
                    </a:moveTo>
                    <a:lnTo>
                      <a:pt x="3811143" y="562749"/>
                    </a:lnTo>
                    <a:lnTo>
                      <a:pt x="3811143" y="572960"/>
                    </a:lnTo>
                    <a:lnTo>
                      <a:pt x="3821392" y="572960"/>
                    </a:lnTo>
                    <a:lnTo>
                      <a:pt x="3821392" y="562749"/>
                    </a:lnTo>
                    <a:close/>
                  </a:path>
                  <a:path w="6219190" h="573404">
                    <a:moveTo>
                      <a:pt x="3882860" y="562749"/>
                    </a:moveTo>
                    <a:lnTo>
                      <a:pt x="3872611" y="562749"/>
                    </a:lnTo>
                    <a:lnTo>
                      <a:pt x="3872611" y="572960"/>
                    </a:lnTo>
                    <a:lnTo>
                      <a:pt x="3882860" y="572960"/>
                    </a:lnTo>
                    <a:lnTo>
                      <a:pt x="3882860" y="562749"/>
                    </a:lnTo>
                    <a:close/>
                  </a:path>
                  <a:path w="6219190" h="573404">
                    <a:moveTo>
                      <a:pt x="3944328" y="562749"/>
                    </a:moveTo>
                    <a:lnTo>
                      <a:pt x="3934079" y="562749"/>
                    </a:lnTo>
                    <a:lnTo>
                      <a:pt x="3934079" y="572960"/>
                    </a:lnTo>
                    <a:lnTo>
                      <a:pt x="3944328" y="572960"/>
                    </a:lnTo>
                    <a:lnTo>
                      <a:pt x="3944328" y="562749"/>
                    </a:lnTo>
                    <a:close/>
                  </a:path>
                  <a:path w="6219190" h="573404">
                    <a:moveTo>
                      <a:pt x="4005796" y="562749"/>
                    </a:moveTo>
                    <a:lnTo>
                      <a:pt x="3995547" y="562749"/>
                    </a:lnTo>
                    <a:lnTo>
                      <a:pt x="3995547" y="572960"/>
                    </a:lnTo>
                    <a:lnTo>
                      <a:pt x="4005796" y="572960"/>
                    </a:lnTo>
                    <a:lnTo>
                      <a:pt x="4005796" y="562749"/>
                    </a:lnTo>
                    <a:close/>
                  </a:path>
                  <a:path w="6219190" h="573404">
                    <a:moveTo>
                      <a:pt x="4067264" y="562749"/>
                    </a:moveTo>
                    <a:lnTo>
                      <a:pt x="4057027" y="562749"/>
                    </a:lnTo>
                    <a:lnTo>
                      <a:pt x="4057027" y="572960"/>
                    </a:lnTo>
                    <a:lnTo>
                      <a:pt x="4067264" y="572960"/>
                    </a:lnTo>
                    <a:lnTo>
                      <a:pt x="4067264" y="562749"/>
                    </a:lnTo>
                    <a:close/>
                  </a:path>
                  <a:path w="6219190" h="573404">
                    <a:moveTo>
                      <a:pt x="4128732" y="562749"/>
                    </a:moveTo>
                    <a:lnTo>
                      <a:pt x="4118495" y="562749"/>
                    </a:lnTo>
                    <a:lnTo>
                      <a:pt x="4118495" y="572960"/>
                    </a:lnTo>
                    <a:lnTo>
                      <a:pt x="4128732" y="572960"/>
                    </a:lnTo>
                    <a:lnTo>
                      <a:pt x="4128732" y="562749"/>
                    </a:lnTo>
                    <a:close/>
                  </a:path>
                  <a:path w="6219190" h="573404">
                    <a:moveTo>
                      <a:pt x="4190212" y="562749"/>
                    </a:moveTo>
                    <a:lnTo>
                      <a:pt x="4179963" y="562749"/>
                    </a:lnTo>
                    <a:lnTo>
                      <a:pt x="4179963" y="572960"/>
                    </a:lnTo>
                    <a:lnTo>
                      <a:pt x="4190212" y="572960"/>
                    </a:lnTo>
                    <a:lnTo>
                      <a:pt x="4190212" y="562749"/>
                    </a:lnTo>
                    <a:close/>
                  </a:path>
                  <a:path w="6219190" h="573404">
                    <a:moveTo>
                      <a:pt x="4251680" y="562749"/>
                    </a:moveTo>
                    <a:lnTo>
                      <a:pt x="4241431" y="562749"/>
                    </a:lnTo>
                    <a:lnTo>
                      <a:pt x="4241431" y="572960"/>
                    </a:lnTo>
                    <a:lnTo>
                      <a:pt x="4251680" y="572960"/>
                    </a:lnTo>
                    <a:lnTo>
                      <a:pt x="4251680" y="562749"/>
                    </a:lnTo>
                    <a:close/>
                  </a:path>
                  <a:path w="6219190" h="573404">
                    <a:moveTo>
                      <a:pt x="4313148" y="562749"/>
                    </a:moveTo>
                    <a:lnTo>
                      <a:pt x="4302899" y="562749"/>
                    </a:lnTo>
                    <a:lnTo>
                      <a:pt x="4302899" y="572960"/>
                    </a:lnTo>
                    <a:lnTo>
                      <a:pt x="4313148" y="572960"/>
                    </a:lnTo>
                    <a:lnTo>
                      <a:pt x="4313148" y="562749"/>
                    </a:lnTo>
                    <a:close/>
                  </a:path>
                  <a:path w="6219190" h="573404">
                    <a:moveTo>
                      <a:pt x="4374616" y="562749"/>
                    </a:moveTo>
                    <a:lnTo>
                      <a:pt x="4364367" y="562749"/>
                    </a:lnTo>
                    <a:lnTo>
                      <a:pt x="4364367" y="572960"/>
                    </a:lnTo>
                    <a:lnTo>
                      <a:pt x="4374616" y="572960"/>
                    </a:lnTo>
                    <a:lnTo>
                      <a:pt x="4374616" y="562749"/>
                    </a:lnTo>
                    <a:close/>
                  </a:path>
                  <a:path w="6219190" h="573404">
                    <a:moveTo>
                      <a:pt x="4436084" y="562749"/>
                    </a:moveTo>
                    <a:lnTo>
                      <a:pt x="4425848" y="562749"/>
                    </a:lnTo>
                    <a:lnTo>
                      <a:pt x="4425848" y="572960"/>
                    </a:lnTo>
                    <a:lnTo>
                      <a:pt x="4436084" y="572960"/>
                    </a:lnTo>
                    <a:lnTo>
                      <a:pt x="4436084" y="562749"/>
                    </a:lnTo>
                    <a:close/>
                  </a:path>
                  <a:path w="6219190" h="573404">
                    <a:moveTo>
                      <a:pt x="4497552" y="562749"/>
                    </a:moveTo>
                    <a:lnTo>
                      <a:pt x="4487316" y="562749"/>
                    </a:lnTo>
                    <a:lnTo>
                      <a:pt x="4487316" y="572960"/>
                    </a:lnTo>
                    <a:lnTo>
                      <a:pt x="4497552" y="572960"/>
                    </a:lnTo>
                    <a:lnTo>
                      <a:pt x="4497552" y="562749"/>
                    </a:lnTo>
                    <a:close/>
                  </a:path>
                  <a:path w="6219190" h="573404">
                    <a:moveTo>
                      <a:pt x="4559033" y="562749"/>
                    </a:moveTo>
                    <a:lnTo>
                      <a:pt x="4548784" y="562749"/>
                    </a:lnTo>
                    <a:lnTo>
                      <a:pt x="4548784" y="572960"/>
                    </a:lnTo>
                    <a:lnTo>
                      <a:pt x="4559033" y="572960"/>
                    </a:lnTo>
                    <a:lnTo>
                      <a:pt x="4559033" y="562749"/>
                    </a:lnTo>
                    <a:close/>
                  </a:path>
                  <a:path w="6219190" h="573404">
                    <a:moveTo>
                      <a:pt x="4620501" y="562749"/>
                    </a:moveTo>
                    <a:lnTo>
                      <a:pt x="4610252" y="562749"/>
                    </a:lnTo>
                    <a:lnTo>
                      <a:pt x="4610252" y="572960"/>
                    </a:lnTo>
                    <a:lnTo>
                      <a:pt x="4620501" y="572960"/>
                    </a:lnTo>
                    <a:lnTo>
                      <a:pt x="4620501" y="562749"/>
                    </a:lnTo>
                    <a:close/>
                  </a:path>
                  <a:path w="6219190" h="573404">
                    <a:moveTo>
                      <a:pt x="5788431" y="562749"/>
                    </a:moveTo>
                    <a:lnTo>
                      <a:pt x="5778182" y="562749"/>
                    </a:lnTo>
                    <a:lnTo>
                      <a:pt x="5778182" y="572960"/>
                    </a:lnTo>
                    <a:lnTo>
                      <a:pt x="5788431" y="572960"/>
                    </a:lnTo>
                    <a:lnTo>
                      <a:pt x="5788431" y="562749"/>
                    </a:lnTo>
                    <a:close/>
                  </a:path>
                  <a:path w="6219190" h="573404">
                    <a:moveTo>
                      <a:pt x="5849899" y="562749"/>
                    </a:moveTo>
                    <a:lnTo>
                      <a:pt x="5839650" y="562749"/>
                    </a:lnTo>
                    <a:lnTo>
                      <a:pt x="5839650" y="572960"/>
                    </a:lnTo>
                    <a:lnTo>
                      <a:pt x="5849899" y="572960"/>
                    </a:lnTo>
                    <a:lnTo>
                      <a:pt x="5849899" y="562749"/>
                    </a:lnTo>
                    <a:close/>
                  </a:path>
                  <a:path w="6219190" h="573404">
                    <a:moveTo>
                      <a:pt x="5911367" y="562749"/>
                    </a:moveTo>
                    <a:lnTo>
                      <a:pt x="5901131" y="562749"/>
                    </a:lnTo>
                    <a:lnTo>
                      <a:pt x="5901131" y="572960"/>
                    </a:lnTo>
                    <a:lnTo>
                      <a:pt x="5911367" y="572960"/>
                    </a:lnTo>
                    <a:lnTo>
                      <a:pt x="5911367" y="562749"/>
                    </a:lnTo>
                    <a:close/>
                  </a:path>
                  <a:path w="6219190" h="573404">
                    <a:moveTo>
                      <a:pt x="5972835" y="562749"/>
                    </a:moveTo>
                    <a:lnTo>
                      <a:pt x="5962599" y="562749"/>
                    </a:lnTo>
                    <a:lnTo>
                      <a:pt x="5962599" y="572960"/>
                    </a:lnTo>
                    <a:lnTo>
                      <a:pt x="5972835" y="572960"/>
                    </a:lnTo>
                    <a:lnTo>
                      <a:pt x="5972835" y="562749"/>
                    </a:lnTo>
                    <a:close/>
                  </a:path>
                  <a:path w="6219190" h="573404">
                    <a:moveTo>
                      <a:pt x="6034316" y="562749"/>
                    </a:moveTo>
                    <a:lnTo>
                      <a:pt x="6024067" y="562749"/>
                    </a:lnTo>
                    <a:lnTo>
                      <a:pt x="6024067" y="572960"/>
                    </a:lnTo>
                    <a:lnTo>
                      <a:pt x="6034316" y="572960"/>
                    </a:lnTo>
                    <a:lnTo>
                      <a:pt x="6034316" y="562749"/>
                    </a:lnTo>
                    <a:close/>
                  </a:path>
                  <a:path w="6219190" h="573404">
                    <a:moveTo>
                      <a:pt x="6095784" y="562749"/>
                    </a:moveTo>
                    <a:lnTo>
                      <a:pt x="6085535" y="562749"/>
                    </a:lnTo>
                    <a:lnTo>
                      <a:pt x="6085535" y="572960"/>
                    </a:lnTo>
                    <a:lnTo>
                      <a:pt x="6095784" y="572960"/>
                    </a:lnTo>
                    <a:lnTo>
                      <a:pt x="6095784" y="562749"/>
                    </a:lnTo>
                    <a:close/>
                  </a:path>
                  <a:path w="6219190" h="573404">
                    <a:moveTo>
                      <a:pt x="6157252" y="562749"/>
                    </a:moveTo>
                    <a:lnTo>
                      <a:pt x="6147003" y="562749"/>
                    </a:lnTo>
                    <a:lnTo>
                      <a:pt x="6147003" y="572960"/>
                    </a:lnTo>
                    <a:lnTo>
                      <a:pt x="6157252" y="572960"/>
                    </a:lnTo>
                    <a:lnTo>
                      <a:pt x="6157252" y="562749"/>
                    </a:lnTo>
                    <a:close/>
                  </a:path>
                  <a:path w="6219190" h="573404">
                    <a:moveTo>
                      <a:pt x="6218720" y="562749"/>
                    </a:moveTo>
                    <a:lnTo>
                      <a:pt x="6208471" y="562749"/>
                    </a:lnTo>
                    <a:lnTo>
                      <a:pt x="6208471" y="572960"/>
                    </a:lnTo>
                    <a:lnTo>
                      <a:pt x="6218720" y="572960"/>
                    </a:lnTo>
                    <a:lnTo>
                      <a:pt x="6218720" y="56274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89" name="object 389"/>
              <p:cNvSpPr/>
              <p:nvPr/>
            </p:nvSpPr>
            <p:spPr>
              <a:xfrm>
                <a:off x="3604285" y="5423293"/>
                <a:ext cx="3329940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3329940" h="1079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10"/>
                    </a:lnTo>
                    <a:lnTo>
                      <a:pt x="10248" y="10210"/>
                    </a:lnTo>
                    <a:lnTo>
                      <a:pt x="10248" y="0"/>
                    </a:lnTo>
                    <a:close/>
                  </a:path>
                  <a:path w="3329940" h="10795">
                    <a:moveTo>
                      <a:pt x="71716" y="0"/>
                    </a:moveTo>
                    <a:lnTo>
                      <a:pt x="61480" y="0"/>
                    </a:lnTo>
                    <a:lnTo>
                      <a:pt x="61480" y="10210"/>
                    </a:lnTo>
                    <a:lnTo>
                      <a:pt x="71716" y="10210"/>
                    </a:lnTo>
                    <a:lnTo>
                      <a:pt x="71716" y="0"/>
                    </a:lnTo>
                    <a:close/>
                  </a:path>
                  <a:path w="3329940" h="10795">
                    <a:moveTo>
                      <a:pt x="133184" y="0"/>
                    </a:moveTo>
                    <a:lnTo>
                      <a:pt x="122948" y="0"/>
                    </a:lnTo>
                    <a:lnTo>
                      <a:pt x="122948" y="10210"/>
                    </a:lnTo>
                    <a:lnTo>
                      <a:pt x="133184" y="10210"/>
                    </a:lnTo>
                    <a:lnTo>
                      <a:pt x="133184" y="0"/>
                    </a:lnTo>
                    <a:close/>
                  </a:path>
                  <a:path w="3329940" h="10795">
                    <a:moveTo>
                      <a:pt x="194665" y="0"/>
                    </a:moveTo>
                    <a:lnTo>
                      <a:pt x="184416" y="0"/>
                    </a:lnTo>
                    <a:lnTo>
                      <a:pt x="184416" y="10210"/>
                    </a:lnTo>
                    <a:lnTo>
                      <a:pt x="194665" y="10210"/>
                    </a:lnTo>
                    <a:lnTo>
                      <a:pt x="194665" y="0"/>
                    </a:lnTo>
                    <a:close/>
                  </a:path>
                  <a:path w="3329940" h="10795">
                    <a:moveTo>
                      <a:pt x="256133" y="0"/>
                    </a:moveTo>
                    <a:lnTo>
                      <a:pt x="245884" y="0"/>
                    </a:lnTo>
                    <a:lnTo>
                      <a:pt x="245884" y="10210"/>
                    </a:lnTo>
                    <a:lnTo>
                      <a:pt x="256133" y="10210"/>
                    </a:lnTo>
                    <a:lnTo>
                      <a:pt x="256133" y="0"/>
                    </a:lnTo>
                    <a:close/>
                  </a:path>
                  <a:path w="3329940" h="10795">
                    <a:moveTo>
                      <a:pt x="317601" y="0"/>
                    </a:moveTo>
                    <a:lnTo>
                      <a:pt x="307352" y="0"/>
                    </a:lnTo>
                    <a:lnTo>
                      <a:pt x="307352" y="10210"/>
                    </a:lnTo>
                    <a:lnTo>
                      <a:pt x="317601" y="10210"/>
                    </a:lnTo>
                    <a:lnTo>
                      <a:pt x="317601" y="0"/>
                    </a:lnTo>
                    <a:close/>
                  </a:path>
                  <a:path w="3329940" h="10795">
                    <a:moveTo>
                      <a:pt x="379069" y="0"/>
                    </a:moveTo>
                    <a:lnTo>
                      <a:pt x="368820" y="0"/>
                    </a:lnTo>
                    <a:lnTo>
                      <a:pt x="368820" y="10210"/>
                    </a:lnTo>
                    <a:lnTo>
                      <a:pt x="379069" y="10210"/>
                    </a:lnTo>
                    <a:lnTo>
                      <a:pt x="379069" y="0"/>
                    </a:lnTo>
                    <a:close/>
                  </a:path>
                  <a:path w="3329940" h="10795">
                    <a:moveTo>
                      <a:pt x="440537" y="0"/>
                    </a:moveTo>
                    <a:lnTo>
                      <a:pt x="430301" y="0"/>
                    </a:lnTo>
                    <a:lnTo>
                      <a:pt x="430301" y="10210"/>
                    </a:lnTo>
                    <a:lnTo>
                      <a:pt x="440537" y="10210"/>
                    </a:lnTo>
                    <a:lnTo>
                      <a:pt x="440537" y="0"/>
                    </a:lnTo>
                    <a:close/>
                  </a:path>
                  <a:path w="3329940" h="10795">
                    <a:moveTo>
                      <a:pt x="502005" y="0"/>
                    </a:moveTo>
                    <a:lnTo>
                      <a:pt x="491769" y="0"/>
                    </a:lnTo>
                    <a:lnTo>
                      <a:pt x="491769" y="10210"/>
                    </a:lnTo>
                    <a:lnTo>
                      <a:pt x="502005" y="10210"/>
                    </a:lnTo>
                    <a:lnTo>
                      <a:pt x="502005" y="0"/>
                    </a:lnTo>
                    <a:close/>
                  </a:path>
                  <a:path w="3329940" h="10795">
                    <a:moveTo>
                      <a:pt x="563486" y="0"/>
                    </a:moveTo>
                    <a:lnTo>
                      <a:pt x="553237" y="0"/>
                    </a:lnTo>
                    <a:lnTo>
                      <a:pt x="553237" y="10210"/>
                    </a:lnTo>
                    <a:lnTo>
                      <a:pt x="563486" y="10210"/>
                    </a:lnTo>
                    <a:lnTo>
                      <a:pt x="563486" y="0"/>
                    </a:lnTo>
                    <a:close/>
                  </a:path>
                  <a:path w="3329940" h="10795">
                    <a:moveTo>
                      <a:pt x="624954" y="0"/>
                    </a:moveTo>
                    <a:lnTo>
                      <a:pt x="614705" y="0"/>
                    </a:lnTo>
                    <a:lnTo>
                      <a:pt x="614705" y="10210"/>
                    </a:lnTo>
                    <a:lnTo>
                      <a:pt x="624954" y="10210"/>
                    </a:lnTo>
                    <a:lnTo>
                      <a:pt x="624954" y="0"/>
                    </a:lnTo>
                    <a:close/>
                  </a:path>
                  <a:path w="3329940" h="10795">
                    <a:moveTo>
                      <a:pt x="686422" y="0"/>
                    </a:moveTo>
                    <a:lnTo>
                      <a:pt x="676173" y="0"/>
                    </a:lnTo>
                    <a:lnTo>
                      <a:pt x="676173" y="10210"/>
                    </a:lnTo>
                    <a:lnTo>
                      <a:pt x="686422" y="10210"/>
                    </a:lnTo>
                    <a:lnTo>
                      <a:pt x="686422" y="0"/>
                    </a:lnTo>
                    <a:close/>
                  </a:path>
                  <a:path w="3329940" h="10795">
                    <a:moveTo>
                      <a:pt x="747890" y="0"/>
                    </a:moveTo>
                    <a:lnTo>
                      <a:pt x="737641" y="0"/>
                    </a:lnTo>
                    <a:lnTo>
                      <a:pt x="737641" y="10210"/>
                    </a:lnTo>
                    <a:lnTo>
                      <a:pt x="747890" y="10210"/>
                    </a:lnTo>
                    <a:lnTo>
                      <a:pt x="747890" y="0"/>
                    </a:lnTo>
                    <a:close/>
                  </a:path>
                  <a:path w="3329940" h="10795">
                    <a:moveTo>
                      <a:pt x="809358" y="0"/>
                    </a:moveTo>
                    <a:lnTo>
                      <a:pt x="799122" y="0"/>
                    </a:lnTo>
                    <a:lnTo>
                      <a:pt x="799122" y="10210"/>
                    </a:lnTo>
                    <a:lnTo>
                      <a:pt x="809358" y="10210"/>
                    </a:lnTo>
                    <a:lnTo>
                      <a:pt x="809358" y="0"/>
                    </a:lnTo>
                    <a:close/>
                  </a:path>
                  <a:path w="3329940" h="10795">
                    <a:moveTo>
                      <a:pt x="870826" y="0"/>
                    </a:moveTo>
                    <a:lnTo>
                      <a:pt x="860590" y="0"/>
                    </a:lnTo>
                    <a:lnTo>
                      <a:pt x="860590" y="10210"/>
                    </a:lnTo>
                    <a:lnTo>
                      <a:pt x="870826" y="10210"/>
                    </a:lnTo>
                    <a:lnTo>
                      <a:pt x="870826" y="0"/>
                    </a:lnTo>
                    <a:close/>
                  </a:path>
                  <a:path w="3329940" h="10795">
                    <a:moveTo>
                      <a:pt x="932307" y="0"/>
                    </a:moveTo>
                    <a:lnTo>
                      <a:pt x="922058" y="0"/>
                    </a:lnTo>
                    <a:lnTo>
                      <a:pt x="922058" y="10210"/>
                    </a:lnTo>
                    <a:lnTo>
                      <a:pt x="932307" y="10210"/>
                    </a:lnTo>
                    <a:lnTo>
                      <a:pt x="932307" y="0"/>
                    </a:lnTo>
                    <a:close/>
                  </a:path>
                  <a:path w="3329940" h="10795">
                    <a:moveTo>
                      <a:pt x="993775" y="0"/>
                    </a:moveTo>
                    <a:lnTo>
                      <a:pt x="983526" y="0"/>
                    </a:lnTo>
                    <a:lnTo>
                      <a:pt x="983526" y="10210"/>
                    </a:lnTo>
                    <a:lnTo>
                      <a:pt x="993775" y="10210"/>
                    </a:lnTo>
                    <a:lnTo>
                      <a:pt x="993775" y="0"/>
                    </a:lnTo>
                    <a:close/>
                  </a:path>
                  <a:path w="3329940" h="10795">
                    <a:moveTo>
                      <a:pt x="1055243" y="0"/>
                    </a:moveTo>
                    <a:lnTo>
                      <a:pt x="1044994" y="0"/>
                    </a:lnTo>
                    <a:lnTo>
                      <a:pt x="1044994" y="10210"/>
                    </a:lnTo>
                    <a:lnTo>
                      <a:pt x="1055243" y="10210"/>
                    </a:lnTo>
                    <a:lnTo>
                      <a:pt x="1055243" y="0"/>
                    </a:lnTo>
                    <a:close/>
                  </a:path>
                  <a:path w="3329940" h="10795">
                    <a:moveTo>
                      <a:pt x="1116711" y="0"/>
                    </a:moveTo>
                    <a:lnTo>
                      <a:pt x="1106462" y="0"/>
                    </a:lnTo>
                    <a:lnTo>
                      <a:pt x="1106462" y="10210"/>
                    </a:lnTo>
                    <a:lnTo>
                      <a:pt x="1116711" y="10210"/>
                    </a:lnTo>
                    <a:lnTo>
                      <a:pt x="1116711" y="0"/>
                    </a:lnTo>
                    <a:close/>
                  </a:path>
                  <a:path w="3329940" h="10795">
                    <a:moveTo>
                      <a:pt x="1178179" y="0"/>
                    </a:moveTo>
                    <a:lnTo>
                      <a:pt x="1167942" y="0"/>
                    </a:lnTo>
                    <a:lnTo>
                      <a:pt x="1167942" y="10210"/>
                    </a:lnTo>
                    <a:lnTo>
                      <a:pt x="1178179" y="10210"/>
                    </a:lnTo>
                    <a:lnTo>
                      <a:pt x="1178179" y="0"/>
                    </a:lnTo>
                    <a:close/>
                  </a:path>
                  <a:path w="3329940" h="10795">
                    <a:moveTo>
                      <a:pt x="1239647" y="0"/>
                    </a:moveTo>
                    <a:lnTo>
                      <a:pt x="1229410" y="0"/>
                    </a:lnTo>
                    <a:lnTo>
                      <a:pt x="1229410" y="10210"/>
                    </a:lnTo>
                    <a:lnTo>
                      <a:pt x="1239647" y="10210"/>
                    </a:lnTo>
                    <a:lnTo>
                      <a:pt x="1239647" y="0"/>
                    </a:lnTo>
                    <a:close/>
                  </a:path>
                  <a:path w="3329940" h="10795">
                    <a:moveTo>
                      <a:pt x="1301127" y="0"/>
                    </a:moveTo>
                    <a:lnTo>
                      <a:pt x="1290878" y="0"/>
                    </a:lnTo>
                    <a:lnTo>
                      <a:pt x="1290878" y="10210"/>
                    </a:lnTo>
                    <a:lnTo>
                      <a:pt x="1301127" y="10210"/>
                    </a:lnTo>
                    <a:lnTo>
                      <a:pt x="1301127" y="0"/>
                    </a:lnTo>
                    <a:close/>
                  </a:path>
                  <a:path w="3329940" h="10795">
                    <a:moveTo>
                      <a:pt x="1362595" y="0"/>
                    </a:moveTo>
                    <a:lnTo>
                      <a:pt x="1352346" y="0"/>
                    </a:lnTo>
                    <a:lnTo>
                      <a:pt x="1352346" y="10210"/>
                    </a:lnTo>
                    <a:lnTo>
                      <a:pt x="1362595" y="10210"/>
                    </a:lnTo>
                    <a:lnTo>
                      <a:pt x="1362595" y="0"/>
                    </a:lnTo>
                    <a:close/>
                  </a:path>
                  <a:path w="3329940" h="10795">
                    <a:moveTo>
                      <a:pt x="1424063" y="0"/>
                    </a:moveTo>
                    <a:lnTo>
                      <a:pt x="1413814" y="0"/>
                    </a:lnTo>
                    <a:lnTo>
                      <a:pt x="1413814" y="10210"/>
                    </a:lnTo>
                    <a:lnTo>
                      <a:pt x="1424063" y="10210"/>
                    </a:lnTo>
                    <a:lnTo>
                      <a:pt x="1424063" y="0"/>
                    </a:lnTo>
                    <a:close/>
                  </a:path>
                  <a:path w="3329940" h="10795">
                    <a:moveTo>
                      <a:pt x="1485531" y="0"/>
                    </a:moveTo>
                    <a:lnTo>
                      <a:pt x="1475282" y="0"/>
                    </a:lnTo>
                    <a:lnTo>
                      <a:pt x="1475282" y="10210"/>
                    </a:lnTo>
                    <a:lnTo>
                      <a:pt x="1485531" y="10210"/>
                    </a:lnTo>
                    <a:lnTo>
                      <a:pt x="1485531" y="0"/>
                    </a:lnTo>
                    <a:close/>
                  </a:path>
                  <a:path w="3329940" h="10795">
                    <a:moveTo>
                      <a:pt x="1546999" y="0"/>
                    </a:moveTo>
                    <a:lnTo>
                      <a:pt x="1536763" y="0"/>
                    </a:lnTo>
                    <a:lnTo>
                      <a:pt x="1536763" y="10210"/>
                    </a:lnTo>
                    <a:lnTo>
                      <a:pt x="1546999" y="10210"/>
                    </a:lnTo>
                    <a:lnTo>
                      <a:pt x="1546999" y="0"/>
                    </a:lnTo>
                    <a:close/>
                  </a:path>
                  <a:path w="3329940" h="10795">
                    <a:moveTo>
                      <a:pt x="1608467" y="0"/>
                    </a:moveTo>
                    <a:lnTo>
                      <a:pt x="1598231" y="0"/>
                    </a:lnTo>
                    <a:lnTo>
                      <a:pt x="1598231" y="10210"/>
                    </a:lnTo>
                    <a:lnTo>
                      <a:pt x="1608467" y="10210"/>
                    </a:lnTo>
                    <a:lnTo>
                      <a:pt x="1608467" y="0"/>
                    </a:lnTo>
                    <a:close/>
                  </a:path>
                  <a:path w="3329940" h="10795">
                    <a:moveTo>
                      <a:pt x="1669948" y="0"/>
                    </a:moveTo>
                    <a:lnTo>
                      <a:pt x="1659699" y="0"/>
                    </a:lnTo>
                    <a:lnTo>
                      <a:pt x="1659699" y="10210"/>
                    </a:lnTo>
                    <a:lnTo>
                      <a:pt x="1669948" y="10210"/>
                    </a:lnTo>
                    <a:lnTo>
                      <a:pt x="1669948" y="0"/>
                    </a:lnTo>
                    <a:close/>
                  </a:path>
                  <a:path w="3329940" h="10795">
                    <a:moveTo>
                      <a:pt x="1731416" y="0"/>
                    </a:moveTo>
                    <a:lnTo>
                      <a:pt x="1721167" y="0"/>
                    </a:lnTo>
                    <a:lnTo>
                      <a:pt x="1721167" y="10210"/>
                    </a:lnTo>
                    <a:lnTo>
                      <a:pt x="1731416" y="10210"/>
                    </a:lnTo>
                    <a:lnTo>
                      <a:pt x="1731416" y="0"/>
                    </a:lnTo>
                    <a:close/>
                  </a:path>
                  <a:path w="3329940" h="10795">
                    <a:moveTo>
                      <a:pt x="1792884" y="0"/>
                    </a:moveTo>
                    <a:lnTo>
                      <a:pt x="1782635" y="0"/>
                    </a:lnTo>
                    <a:lnTo>
                      <a:pt x="1782635" y="10210"/>
                    </a:lnTo>
                    <a:lnTo>
                      <a:pt x="1792884" y="10210"/>
                    </a:lnTo>
                    <a:lnTo>
                      <a:pt x="1792884" y="0"/>
                    </a:lnTo>
                    <a:close/>
                  </a:path>
                  <a:path w="3329940" h="10795">
                    <a:moveTo>
                      <a:pt x="1854352" y="0"/>
                    </a:moveTo>
                    <a:lnTo>
                      <a:pt x="1844103" y="0"/>
                    </a:lnTo>
                    <a:lnTo>
                      <a:pt x="1844103" y="10210"/>
                    </a:lnTo>
                    <a:lnTo>
                      <a:pt x="1854352" y="10210"/>
                    </a:lnTo>
                    <a:lnTo>
                      <a:pt x="1854352" y="0"/>
                    </a:lnTo>
                    <a:close/>
                  </a:path>
                  <a:path w="3329940" h="10795">
                    <a:moveTo>
                      <a:pt x="1915820" y="0"/>
                    </a:moveTo>
                    <a:lnTo>
                      <a:pt x="1905584" y="0"/>
                    </a:lnTo>
                    <a:lnTo>
                      <a:pt x="1905584" y="10210"/>
                    </a:lnTo>
                    <a:lnTo>
                      <a:pt x="1915820" y="10210"/>
                    </a:lnTo>
                    <a:lnTo>
                      <a:pt x="1915820" y="0"/>
                    </a:lnTo>
                    <a:close/>
                  </a:path>
                  <a:path w="3329940" h="10795">
                    <a:moveTo>
                      <a:pt x="1977288" y="0"/>
                    </a:moveTo>
                    <a:lnTo>
                      <a:pt x="1967052" y="0"/>
                    </a:lnTo>
                    <a:lnTo>
                      <a:pt x="1967052" y="10210"/>
                    </a:lnTo>
                    <a:lnTo>
                      <a:pt x="1977288" y="10210"/>
                    </a:lnTo>
                    <a:lnTo>
                      <a:pt x="1977288" y="0"/>
                    </a:lnTo>
                    <a:close/>
                  </a:path>
                  <a:path w="3329940" h="10795">
                    <a:moveTo>
                      <a:pt x="2653461" y="0"/>
                    </a:moveTo>
                    <a:lnTo>
                      <a:pt x="2643225" y="0"/>
                    </a:lnTo>
                    <a:lnTo>
                      <a:pt x="2643225" y="10210"/>
                    </a:lnTo>
                    <a:lnTo>
                      <a:pt x="2653461" y="10210"/>
                    </a:lnTo>
                    <a:lnTo>
                      <a:pt x="2653461" y="0"/>
                    </a:lnTo>
                    <a:close/>
                  </a:path>
                  <a:path w="3329940" h="10795">
                    <a:moveTo>
                      <a:pt x="2714929" y="0"/>
                    </a:moveTo>
                    <a:lnTo>
                      <a:pt x="2704693" y="0"/>
                    </a:lnTo>
                    <a:lnTo>
                      <a:pt x="2704693" y="10210"/>
                    </a:lnTo>
                    <a:lnTo>
                      <a:pt x="2714929" y="10210"/>
                    </a:lnTo>
                    <a:lnTo>
                      <a:pt x="2714929" y="0"/>
                    </a:lnTo>
                    <a:close/>
                  </a:path>
                  <a:path w="3329940" h="10795">
                    <a:moveTo>
                      <a:pt x="2776410" y="0"/>
                    </a:moveTo>
                    <a:lnTo>
                      <a:pt x="2766161" y="0"/>
                    </a:lnTo>
                    <a:lnTo>
                      <a:pt x="2766161" y="10210"/>
                    </a:lnTo>
                    <a:lnTo>
                      <a:pt x="2776410" y="10210"/>
                    </a:lnTo>
                    <a:lnTo>
                      <a:pt x="2776410" y="0"/>
                    </a:lnTo>
                    <a:close/>
                  </a:path>
                  <a:path w="3329940" h="10795">
                    <a:moveTo>
                      <a:pt x="2837878" y="0"/>
                    </a:moveTo>
                    <a:lnTo>
                      <a:pt x="2827629" y="0"/>
                    </a:lnTo>
                    <a:lnTo>
                      <a:pt x="2827629" y="10210"/>
                    </a:lnTo>
                    <a:lnTo>
                      <a:pt x="2837878" y="10210"/>
                    </a:lnTo>
                    <a:lnTo>
                      <a:pt x="2837878" y="0"/>
                    </a:lnTo>
                    <a:close/>
                  </a:path>
                  <a:path w="3329940" h="10795">
                    <a:moveTo>
                      <a:pt x="2899346" y="0"/>
                    </a:moveTo>
                    <a:lnTo>
                      <a:pt x="2889097" y="0"/>
                    </a:lnTo>
                    <a:lnTo>
                      <a:pt x="2889097" y="10210"/>
                    </a:lnTo>
                    <a:lnTo>
                      <a:pt x="2899346" y="10210"/>
                    </a:lnTo>
                    <a:lnTo>
                      <a:pt x="2899346" y="0"/>
                    </a:lnTo>
                    <a:close/>
                  </a:path>
                  <a:path w="3329940" h="10795">
                    <a:moveTo>
                      <a:pt x="2960814" y="0"/>
                    </a:moveTo>
                    <a:lnTo>
                      <a:pt x="2950565" y="0"/>
                    </a:lnTo>
                    <a:lnTo>
                      <a:pt x="2950565" y="10210"/>
                    </a:lnTo>
                    <a:lnTo>
                      <a:pt x="2960814" y="10210"/>
                    </a:lnTo>
                    <a:lnTo>
                      <a:pt x="2960814" y="0"/>
                    </a:lnTo>
                    <a:close/>
                  </a:path>
                  <a:path w="3329940" h="10795">
                    <a:moveTo>
                      <a:pt x="3022282" y="0"/>
                    </a:moveTo>
                    <a:lnTo>
                      <a:pt x="3012046" y="0"/>
                    </a:lnTo>
                    <a:lnTo>
                      <a:pt x="3012046" y="10210"/>
                    </a:lnTo>
                    <a:lnTo>
                      <a:pt x="3022282" y="10210"/>
                    </a:lnTo>
                    <a:lnTo>
                      <a:pt x="3022282" y="0"/>
                    </a:lnTo>
                    <a:close/>
                  </a:path>
                  <a:path w="3329940" h="10795">
                    <a:moveTo>
                      <a:pt x="3083750" y="0"/>
                    </a:moveTo>
                    <a:lnTo>
                      <a:pt x="3073514" y="0"/>
                    </a:lnTo>
                    <a:lnTo>
                      <a:pt x="3073514" y="10210"/>
                    </a:lnTo>
                    <a:lnTo>
                      <a:pt x="3083750" y="10210"/>
                    </a:lnTo>
                    <a:lnTo>
                      <a:pt x="3083750" y="0"/>
                    </a:lnTo>
                    <a:close/>
                  </a:path>
                  <a:path w="3329940" h="10795">
                    <a:moveTo>
                      <a:pt x="3145231" y="0"/>
                    </a:moveTo>
                    <a:lnTo>
                      <a:pt x="3134982" y="0"/>
                    </a:lnTo>
                    <a:lnTo>
                      <a:pt x="3134982" y="10210"/>
                    </a:lnTo>
                    <a:lnTo>
                      <a:pt x="3145231" y="10210"/>
                    </a:lnTo>
                    <a:lnTo>
                      <a:pt x="3145231" y="0"/>
                    </a:lnTo>
                    <a:close/>
                  </a:path>
                  <a:path w="3329940" h="10795">
                    <a:moveTo>
                      <a:pt x="3206699" y="0"/>
                    </a:moveTo>
                    <a:lnTo>
                      <a:pt x="3196450" y="0"/>
                    </a:lnTo>
                    <a:lnTo>
                      <a:pt x="3196450" y="10210"/>
                    </a:lnTo>
                    <a:lnTo>
                      <a:pt x="3206699" y="10210"/>
                    </a:lnTo>
                    <a:lnTo>
                      <a:pt x="3206699" y="0"/>
                    </a:lnTo>
                    <a:close/>
                  </a:path>
                  <a:path w="3329940" h="10795">
                    <a:moveTo>
                      <a:pt x="3268167" y="0"/>
                    </a:moveTo>
                    <a:lnTo>
                      <a:pt x="3257918" y="0"/>
                    </a:lnTo>
                    <a:lnTo>
                      <a:pt x="3257918" y="10210"/>
                    </a:lnTo>
                    <a:lnTo>
                      <a:pt x="3268167" y="10210"/>
                    </a:lnTo>
                    <a:lnTo>
                      <a:pt x="3268167" y="0"/>
                    </a:lnTo>
                    <a:close/>
                  </a:path>
                  <a:path w="3329940" h="10795">
                    <a:moveTo>
                      <a:pt x="3329635" y="0"/>
                    </a:moveTo>
                    <a:lnTo>
                      <a:pt x="3319386" y="0"/>
                    </a:lnTo>
                    <a:lnTo>
                      <a:pt x="3319386" y="10210"/>
                    </a:lnTo>
                    <a:lnTo>
                      <a:pt x="3329635" y="10210"/>
                    </a:lnTo>
                    <a:lnTo>
                      <a:pt x="3329635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90" name="object 390"/>
              <p:cNvSpPr/>
              <p:nvPr/>
            </p:nvSpPr>
            <p:spPr>
              <a:xfrm>
                <a:off x="765133" y="5264999"/>
                <a:ext cx="6127115" cy="1558925"/>
              </a:xfrm>
              <a:custGeom>
                <a:avLst/>
                <a:gdLst/>
                <a:ahLst/>
                <a:cxnLst/>
                <a:rect l="l" t="t" r="r" b="b"/>
                <a:pathLst>
                  <a:path w="6127115" h="1558925">
                    <a:moveTo>
                      <a:pt x="0" y="706637"/>
                    </a:moveTo>
                    <a:lnTo>
                      <a:pt x="278503" y="792115"/>
                    </a:lnTo>
                    <a:lnTo>
                      <a:pt x="557006" y="827716"/>
                    </a:lnTo>
                    <a:lnTo>
                      <a:pt x="835510" y="734311"/>
                    </a:lnTo>
                    <a:lnTo>
                      <a:pt x="1114013" y="389246"/>
                    </a:lnTo>
                    <a:lnTo>
                      <a:pt x="1392517" y="284534"/>
                    </a:lnTo>
                    <a:lnTo>
                      <a:pt x="1671021" y="182681"/>
                    </a:lnTo>
                    <a:lnTo>
                      <a:pt x="1949524" y="73045"/>
                    </a:lnTo>
                    <a:lnTo>
                      <a:pt x="2228028" y="0"/>
                    </a:lnTo>
                    <a:lnTo>
                      <a:pt x="2506531" y="3932"/>
                    </a:lnTo>
                    <a:lnTo>
                      <a:pt x="2785034" y="107893"/>
                    </a:lnTo>
                    <a:lnTo>
                      <a:pt x="3063538" y="437415"/>
                    </a:lnTo>
                    <a:lnTo>
                      <a:pt x="3342041" y="360495"/>
                    </a:lnTo>
                    <a:lnTo>
                      <a:pt x="3620545" y="421051"/>
                    </a:lnTo>
                    <a:lnTo>
                      <a:pt x="3899048" y="522583"/>
                    </a:lnTo>
                    <a:lnTo>
                      <a:pt x="4177552" y="641316"/>
                    </a:lnTo>
                    <a:lnTo>
                      <a:pt x="4456056" y="895022"/>
                    </a:lnTo>
                    <a:lnTo>
                      <a:pt x="4734559" y="1246053"/>
                    </a:lnTo>
                    <a:lnTo>
                      <a:pt x="5013063" y="1419691"/>
                    </a:lnTo>
                    <a:lnTo>
                      <a:pt x="5291566" y="1523928"/>
                    </a:lnTo>
                    <a:lnTo>
                      <a:pt x="5570069" y="1523962"/>
                    </a:lnTo>
                    <a:lnTo>
                      <a:pt x="5848573" y="1542599"/>
                    </a:lnTo>
                    <a:lnTo>
                      <a:pt x="6127077" y="1558802"/>
                    </a:lnTo>
                  </a:path>
                </a:pathLst>
              </a:custGeom>
              <a:ln w="30622">
                <a:solidFill>
                  <a:srgbClr val="E66B37"/>
                </a:solidFill>
              </a:ln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391" name="object 391"/>
            <p:cNvSpPr txBox="1"/>
            <p:nvPr/>
          </p:nvSpPr>
          <p:spPr>
            <a:xfrm>
              <a:off x="551108" y="6194718"/>
              <a:ext cx="260537" cy="141959"/>
            </a:xfrm>
            <a:prstGeom prst="rect">
              <a:avLst/>
            </a:prstGeom>
          </p:spPr>
          <p:txBody>
            <a:bodyPr vert="horz" wrap="square" lIns="0" tIns="12887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0M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92" name="object 392"/>
            <p:cNvSpPr/>
            <p:nvPr/>
          </p:nvSpPr>
          <p:spPr>
            <a:xfrm>
              <a:off x="890588" y="577835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5" y="10205"/>
                  </a:moveTo>
                  <a:lnTo>
                    <a:pt x="0" y="10205"/>
                  </a:lnTo>
                  <a:lnTo>
                    <a:pt x="0" y="0"/>
                  </a:lnTo>
                  <a:lnTo>
                    <a:pt x="10245" y="0"/>
                  </a:lnTo>
                  <a:lnTo>
                    <a:pt x="10245" y="10205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3" name="object 393"/>
            <p:cNvSpPr/>
            <p:nvPr/>
          </p:nvSpPr>
          <p:spPr>
            <a:xfrm>
              <a:off x="6477135" y="577835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5" y="10205"/>
                  </a:moveTo>
                  <a:lnTo>
                    <a:pt x="0" y="10205"/>
                  </a:lnTo>
                  <a:lnTo>
                    <a:pt x="0" y="0"/>
                  </a:lnTo>
                  <a:lnTo>
                    <a:pt x="10245" y="0"/>
                  </a:lnTo>
                  <a:lnTo>
                    <a:pt x="10245" y="10205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4" name="object 394"/>
            <p:cNvSpPr txBox="1"/>
            <p:nvPr/>
          </p:nvSpPr>
          <p:spPr>
            <a:xfrm>
              <a:off x="551108" y="5698169"/>
              <a:ext cx="260537" cy="141959"/>
            </a:xfrm>
            <a:prstGeom prst="rect">
              <a:avLst/>
            </a:prstGeom>
          </p:spPr>
          <p:txBody>
            <a:bodyPr vert="horz" wrap="square" lIns="0" tIns="12887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2M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95" name="object 395"/>
            <p:cNvSpPr/>
            <p:nvPr/>
          </p:nvSpPr>
          <p:spPr>
            <a:xfrm>
              <a:off x="890588" y="5281802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5" y="10205"/>
                  </a:moveTo>
                  <a:lnTo>
                    <a:pt x="0" y="10205"/>
                  </a:lnTo>
                  <a:lnTo>
                    <a:pt x="0" y="0"/>
                  </a:lnTo>
                  <a:lnTo>
                    <a:pt x="10245" y="0"/>
                  </a:lnTo>
                  <a:lnTo>
                    <a:pt x="10245" y="10205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6" name="object 396"/>
            <p:cNvSpPr/>
            <p:nvPr/>
          </p:nvSpPr>
          <p:spPr>
            <a:xfrm>
              <a:off x="6477135" y="5281802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5" y="10205"/>
                  </a:moveTo>
                  <a:lnTo>
                    <a:pt x="0" y="10205"/>
                  </a:lnTo>
                  <a:lnTo>
                    <a:pt x="0" y="0"/>
                  </a:lnTo>
                  <a:lnTo>
                    <a:pt x="10245" y="0"/>
                  </a:lnTo>
                  <a:lnTo>
                    <a:pt x="10245" y="10205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7" name="object 397"/>
            <p:cNvSpPr txBox="1"/>
            <p:nvPr/>
          </p:nvSpPr>
          <p:spPr>
            <a:xfrm>
              <a:off x="551108" y="5201621"/>
              <a:ext cx="260537" cy="141959"/>
            </a:xfrm>
            <a:prstGeom prst="rect">
              <a:avLst/>
            </a:prstGeom>
          </p:spPr>
          <p:txBody>
            <a:bodyPr vert="horz" wrap="square" lIns="0" tIns="12887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4M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98" name="object 398"/>
            <p:cNvSpPr/>
            <p:nvPr/>
          </p:nvSpPr>
          <p:spPr>
            <a:xfrm>
              <a:off x="890588" y="478525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5" y="10205"/>
                  </a:moveTo>
                  <a:lnTo>
                    <a:pt x="0" y="10205"/>
                  </a:lnTo>
                  <a:lnTo>
                    <a:pt x="0" y="0"/>
                  </a:lnTo>
                  <a:lnTo>
                    <a:pt x="10245" y="0"/>
                  </a:lnTo>
                  <a:lnTo>
                    <a:pt x="10245" y="10205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9" name="object 399"/>
            <p:cNvSpPr/>
            <p:nvPr/>
          </p:nvSpPr>
          <p:spPr>
            <a:xfrm>
              <a:off x="6477135" y="478525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5" y="10205"/>
                  </a:moveTo>
                  <a:lnTo>
                    <a:pt x="0" y="10205"/>
                  </a:lnTo>
                  <a:lnTo>
                    <a:pt x="0" y="0"/>
                  </a:lnTo>
                  <a:lnTo>
                    <a:pt x="10245" y="0"/>
                  </a:lnTo>
                  <a:lnTo>
                    <a:pt x="10245" y="10205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0" name="object 400"/>
            <p:cNvSpPr txBox="1"/>
            <p:nvPr/>
          </p:nvSpPr>
          <p:spPr>
            <a:xfrm>
              <a:off x="551108" y="4705073"/>
              <a:ext cx="260537" cy="141959"/>
            </a:xfrm>
            <a:prstGeom prst="rect">
              <a:avLst/>
            </a:prstGeom>
          </p:spPr>
          <p:txBody>
            <a:bodyPr vert="horz" wrap="square" lIns="0" tIns="12887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6M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01" name="object 401"/>
            <p:cNvSpPr txBox="1"/>
            <p:nvPr/>
          </p:nvSpPr>
          <p:spPr>
            <a:xfrm>
              <a:off x="6572614" y="6194718"/>
              <a:ext cx="81243" cy="141959"/>
            </a:xfrm>
            <a:prstGeom prst="rect">
              <a:avLst/>
            </a:prstGeom>
          </p:spPr>
          <p:txBody>
            <a:bodyPr vert="horz" wrap="square" lIns="0" tIns="12887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02" name="object 402"/>
            <p:cNvSpPr/>
            <p:nvPr/>
          </p:nvSpPr>
          <p:spPr>
            <a:xfrm>
              <a:off x="6484383" y="592731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5" y="10205"/>
                  </a:moveTo>
                  <a:lnTo>
                    <a:pt x="0" y="10205"/>
                  </a:lnTo>
                  <a:lnTo>
                    <a:pt x="0" y="0"/>
                  </a:lnTo>
                  <a:lnTo>
                    <a:pt x="10245" y="0"/>
                  </a:lnTo>
                  <a:lnTo>
                    <a:pt x="10245" y="10205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3" name="object 403"/>
            <p:cNvSpPr txBox="1"/>
            <p:nvPr/>
          </p:nvSpPr>
          <p:spPr>
            <a:xfrm>
              <a:off x="6572614" y="5847134"/>
              <a:ext cx="139513" cy="141959"/>
            </a:xfrm>
            <a:prstGeom prst="rect">
              <a:avLst/>
            </a:prstGeom>
          </p:spPr>
          <p:txBody>
            <a:bodyPr vert="horz" wrap="square" lIns="0" tIns="12887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5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04" name="object 404"/>
            <p:cNvSpPr/>
            <p:nvPr/>
          </p:nvSpPr>
          <p:spPr>
            <a:xfrm>
              <a:off x="6484383" y="557973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5" y="10205"/>
                  </a:moveTo>
                  <a:lnTo>
                    <a:pt x="0" y="10205"/>
                  </a:lnTo>
                  <a:lnTo>
                    <a:pt x="0" y="0"/>
                  </a:lnTo>
                  <a:lnTo>
                    <a:pt x="10245" y="0"/>
                  </a:lnTo>
                  <a:lnTo>
                    <a:pt x="10245" y="10205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5" name="object 405"/>
            <p:cNvSpPr txBox="1"/>
            <p:nvPr/>
          </p:nvSpPr>
          <p:spPr>
            <a:xfrm>
              <a:off x="6572614" y="5499551"/>
              <a:ext cx="198344" cy="141959"/>
            </a:xfrm>
            <a:prstGeom prst="rect">
              <a:avLst/>
            </a:prstGeom>
          </p:spPr>
          <p:txBody>
            <a:bodyPr vert="horz" wrap="square" lIns="0" tIns="12887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1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06" name="object 406"/>
            <p:cNvSpPr/>
            <p:nvPr/>
          </p:nvSpPr>
          <p:spPr>
            <a:xfrm>
              <a:off x="6484383" y="5232148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5" y="10205"/>
                  </a:moveTo>
                  <a:lnTo>
                    <a:pt x="0" y="10205"/>
                  </a:lnTo>
                  <a:lnTo>
                    <a:pt x="0" y="0"/>
                  </a:lnTo>
                  <a:lnTo>
                    <a:pt x="10245" y="0"/>
                  </a:lnTo>
                  <a:lnTo>
                    <a:pt x="10245" y="10205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7" name="object 407"/>
            <p:cNvSpPr txBox="1"/>
            <p:nvPr/>
          </p:nvSpPr>
          <p:spPr>
            <a:xfrm>
              <a:off x="6572614" y="5151967"/>
              <a:ext cx="198344" cy="141959"/>
            </a:xfrm>
            <a:prstGeom prst="rect">
              <a:avLst/>
            </a:prstGeom>
          </p:spPr>
          <p:txBody>
            <a:bodyPr vert="horz" wrap="square" lIns="0" tIns="12887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15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08" name="object 408"/>
            <p:cNvSpPr/>
            <p:nvPr/>
          </p:nvSpPr>
          <p:spPr>
            <a:xfrm>
              <a:off x="6484383" y="488456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5" y="10205"/>
                  </a:moveTo>
                  <a:lnTo>
                    <a:pt x="0" y="10205"/>
                  </a:lnTo>
                  <a:lnTo>
                    <a:pt x="0" y="0"/>
                  </a:lnTo>
                  <a:lnTo>
                    <a:pt x="10245" y="0"/>
                  </a:lnTo>
                  <a:lnTo>
                    <a:pt x="10245" y="10205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9" name="object 409"/>
            <p:cNvSpPr txBox="1"/>
            <p:nvPr/>
          </p:nvSpPr>
          <p:spPr>
            <a:xfrm>
              <a:off x="6572614" y="4804383"/>
              <a:ext cx="198344" cy="141959"/>
            </a:xfrm>
            <a:prstGeom prst="rect">
              <a:avLst/>
            </a:prstGeom>
          </p:spPr>
          <p:txBody>
            <a:bodyPr vert="horz" wrap="square" lIns="0" tIns="12887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10" name="object 410"/>
            <p:cNvSpPr/>
            <p:nvPr/>
          </p:nvSpPr>
          <p:spPr>
            <a:xfrm>
              <a:off x="6484383" y="453698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45" y="10205"/>
                  </a:moveTo>
                  <a:lnTo>
                    <a:pt x="0" y="10205"/>
                  </a:lnTo>
                  <a:lnTo>
                    <a:pt x="0" y="0"/>
                  </a:lnTo>
                  <a:lnTo>
                    <a:pt x="10245" y="0"/>
                  </a:lnTo>
                  <a:lnTo>
                    <a:pt x="10245" y="10205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1" name="object 411"/>
            <p:cNvSpPr txBox="1"/>
            <p:nvPr/>
          </p:nvSpPr>
          <p:spPr>
            <a:xfrm>
              <a:off x="6572614" y="4456799"/>
              <a:ext cx="198344" cy="141959"/>
            </a:xfrm>
            <a:prstGeom prst="rect">
              <a:avLst/>
            </a:prstGeom>
          </p:spPr>
          <p:txBody>
            <a:bodyPr vert="horz" wrap="square" lIns="0" tIns="12887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5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13" name="object 413"/>
            <p:cNvSpPr txBox="1"/>
            <p:nvPr/>
          </p:nvSpPr>
          <p:spPr>
            <a:xfrm>
              <a:off x="352544" y="4897621"/>
              <a:ext cx="153888" cy="1025899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1204"/>
                </a:lnSpc>
              </a:pPr>
              <a:r>
                <a:rPr sz="1147" spc="26" dirty="0">
                  <a:solidFill>
                    <a:srgbClr val="252423"/>
                  </a:solidFill>
                  <a:latin typeface="Arial Narrow"/>
                  <a:cs typeface="Arial Narrow"/>
                </a:rPr>
                <a:t>Count </a:t>
              </a:r>
              <a:r>
                <a:rPr sz="1147" spc="35" dirty="0">
                  <a:solidFill>
                    <a:srgbClr val="252423"/>
                  </a:solidFill>
                  <a:latin typeface="Arial Narrow"/>
                  <a:cs typeface="Arial Narrow"/>
                </a:rPr>
                <a:t>of</a:t>
              </a:r>
              <a:r>
                <a:rPr sz="1147" spc="-66" dirty="0">
                  <a:solidFill>
                    <a:srgbClr val="252423"/>
                  </a:solidFill>
                  <a:latin typeface="Arial Narrow"/>
                  <a:cs typeface="Arial Narrow"/>
                </a:rPr>
                <a:t> </a:t>
              </a:r>
              <a:r>
                <a:rPr sz="1147" spc="40" dirty="0">
                  <a:solidFill>
                    <a:srgbClr val="252423"/>
                  </a:solidFill>
                  <a:latin typeface="Arial Narrow"/>
                  <a:cs typeface="Arial Narrow"/>
                </a:rPr>
                <a:t>Reviews</a:t>
              </a:r>
              <a:endParaRPr sz="1147" dirty="0">
                <a:latin typeface="Arial Narrow"/>
                <a:cs typeface="Arial Narrow"/>
              </a:endParaRPr>
            </a:p>
          </p:txBody>
        </p:sp>
        <p:sp>
          <p:nvSpPr>
            <p:cNvPr id="414" name="object 414"/>
            <p:cNvSpPr txBox="1"/>
            <p:nvPr/>
          </p:nvSpPr>
          <p:spPr>
            <a:xfrm>
              <a:off x="1843678" y="6304213"/>
              <a:ext cx="256615" cy="141959"/>
            </a:xfrm>
            <a:prstGeom prst="rect">
              <a:avLst/>
            </a:prstGeom>
          </p:spPr>
          <p:txBody>
            <a:bodyPr vert="horz" wrap="square" lIns="0" tIns="12887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15" name="object 415"/>
            <p:cNvSpPr txBox="1"/>
            <p:nvPr/>
          </p:nvSpPr>
          <p:spPr>
            <a:xfrm>
              <a:off x="3072370" y="6304213"/>
              <a:ext cx="256615" cy="141959"/>
            </a:xfrm>
            <a:prstGeom prst="rect">
              <a:avLst/>
            </a:prstGeom>
          </p:spPr>
          <p:txBody>
            <a:bodyPr vert="horz" wrap="square" lIns="0" tIns="12887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0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16" name="object 416"/>
            <p:cNvSpPr txBox="1"/>
            <p:nvPr/>
          </p:nvSpPr>
          <p:spPr>
            <a:xfrm>
              <a:off x="4301062" y="6304213"/>
              <a:ext cx="256615" cy="141959"/>
            </a:xfrm>
            <a:prstGeom prst="rect">
              <a:avLst/>
            </a:prstGeom>
          </p:spPr>
          <p:txBody>
            <a:bodyPr vert="horz" wrap="square" lIns="0" tIns="12887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17" name="object 417"/>
            <p:cNvSpPr txBox="1"/>
            <p:nvPr/>
          </p:nvSpPr>
          <p:spPr>
            <a:xfrm>
              <a:off x="5529754" y="6304213"/>
              <a:ext cx="256615" cy="141959"/>
            </a:xfrm>
            <a:prstGeom prst="rect">
              <a:avLst/>
            </a:prstGeom>
          </p:spPr>
          <p:txBody>
            <a:bodyPr vert="horz" wrap="square" lIns="0" tIns="12887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2015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18" name="object 418"/>
            <p:cNvSpPr/>
            <p:nvPr/>
          </p:nvSpPr>
          <p:spPr>
            <a:xfrm>
              <a:off x="368476" y="4275153"/>
              <a:ext cx="89416" cy="92417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9" name="object 419"/>
            <p:cNvSpPr/>
            <p:nvPr/>
          </p:nvSpPr>
          <p:spPr>
            <a:xfrm>
              <a:off x="1100290" y="4275153"/>
              <a:ext cx="89416" cy="92417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0" name="object 420"/>
            <p:cNvSpPr/>
            <p:nvPr/>
          </p:nvSpPr>
          <p:spPr>
            <a:xfrm>
              <a:off x="1597201" y="4275153"/>
              <a:ext cx="89416" cy="92417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1" name="object 421"/>
            <p:cNvSpPr txBox="1"/>
            <p:nvPr/>
          </p:nvSpPr>
          <p:spPr>
            <a:xfrm>
              <a:off x="347732" y="3928323"/>
              <a:ext cx="2588559" cy="460915"/>
            </a:xfrm>
            <a:prstGeom prst="rect">
              <a:avLst/>
            </a:prstGeom>
          </p:spPr>
          <p:txBody>
            <a:bodyPr vert="horz" wrap="square" lIns="0" tIns="11766" rIns="0" bIns="0" rtlCol="0">
              <a:spAutoFit/>
            </a:bodyPr>
            <a:lstStyle/>
            <a:p>
              <a:pPr marL="11206">
                <a:spcBef>
                  <a:spcPts val="93"/>
                </a:spcBef>
              </a:pPr>
              <a:r>
                <a:rPr sz="1324" b="1" spc="57" dirty="0">
                  <a:solidFill>
                    <a:srgbClr val="252423"/>
                  </a:solidFill>
                  <a:latin typeface="Arial Narrow"/>
                  <a:cs typeface="Arial Narrow"/>
                </a:rPr>
                <a:t>Reviews </a:t>
              </a:r>
              <a:r>
                <a:rPr sz="1324" b="1" spc="35" dirty="0">
                  <a:solidFill>
                    <a:srgbClr val="252423"/>
                  </a:solidFill>
                  <a:latin typeface="Arial Narrow"/>
                  <a:cs typeface="Arial Narrow"/>
                </a:rPr>
                <a:t>and </a:t>
              </a:r>
              <a:r>
                <a:rPr sz="1324" b="1" spc="57" dirty="0">
                  <a:solidFill>
                    <a:srgbClr val="252423"/>
                  </a:solidFill>
                  <a:latin typeface="Arial Narrow"/>
                  <a:cs typeface="Arial Narrow"/>
                </a:rPr>
                <a:t>Usefulness </a:t>
              </a:r>
              <a:r>
                <a:rPr sz="1324" b="1" spc="66" dirty="0">
                  <a:solidFill>
                    <a:srgbClr val="252423"/>
                  </a:solidFill>
                  <a:latin typeface="Arial Narrow"/>
                  <a:cs typeface="Arial Narrow"/>
                </a:rPr>
                <a:t>over</a:t>
              </a:r>
              <a:r>
                <a:rPr sz="1324" b="1" spc="-150" dirty="0">
                  <a:solidFill>
                    <a:srgbClr val="252423"/>
                  </a:solidFill>
                  <a:latin typeface="Arial Narrow"/>
                  <a:cs typeface="Arial Narrow"/>
                </a:rPr>
                <a:t> </a:t>
              </a:r>
              <a:r>
                <a:rPr sz="1324" b="1" spc="44" dirty="0">
                  <a:solidFill>
                    <a:srgbClr val="252423"/>
                  </a:solidFill>
                  <a:latin typeface="Arial Narrow"/>
                  <a:cs typeface="Arial Narrow"/>
                </a:rPr>
                <a:t>Time</a:t>
              </a:r>
              <a:endParaRPr sz="1324" b="1" dirty="0">
                <a:latin typeface="Arial Narrow"/>
                <a:cs typeface="Arial Narrow"/>
              </a:endParaRPr>
            </a:p>
            <a:p>
              <a:pPr marL="129435">
                <a:spcBef>
                  <a:spcPts val="799"/>
                </a:spcBef>
                <a:tabLst>
                  <a:tab pos="860097" algn="l"/>
                  <a:tab pos="1356544" algn="l"/>
                </a:tabLst>
              </a:pPr>
              <a:r>
                <a:rPr sz="927" spc="9" dirty="0">
                  <a:solidFill>
                    <a:srgbClr val="605D5C"/>
                  </a:solidFill>
                  <a:latin typeface="Segoe UI"/>
                  <a:cs typeface="Segoe UI"/>
                </a:rPr>
                <a:t>Not Useful	Useful	</a:t>
              </a:r>
              <a:r>
                <a:rPr sz="927" spc="4" dirty="0">
                  <a:solidFill>
                    <a:srgbClr val="605D5C"/>
                  </a:solidFill>
                  <a:latin typeface="Segoe UI"/>
                  <a:cs typeface="Segoe UI"/>
                </a:rPr>
                <a:t>Average </a:t>
              </a:r>
              <a:r>
                <a:rPr sz="927" spc="9" dirty="0">
                  <a:solidFill>
                    <a:srgbClr val="605D5C"/>
                  </a:solidFill>
                  <a:latin typeface="Segoe UI"/>
                  <a:cs typeface="Segoe UI"/>
                </a:rPr>
                <a:t>of</a:t>
              </a:r>
              <a:r>
                <a:rPr sz="927" spc="-22" dirty="0">
                  <a:solidFill>
                    <a:srgbClr val="605D5C"/>
                  </a:solidFill>
                  <a:latin typeface="Segoe UI"/>
                  <a:cs typeface="Segoe UI"/>
                </a:rPr>
                <a:t> </a:t>
              </a:r>
              <a:r>
                <a:rPr sz="927" spc="4" dirty="0">
                  <a:solidFill>
                    <a:srgbClr val="605D5C"/>
                  </a:solidFill>
                  <a:latin typeface="Segoe UI"/>
                  <a:cs typeface="Segoe UI"/>
                </a:rPr>
                <a:t>WordCount</a:t>
              </a:r>
              <a:endParaRPr sz="927" dirty="0">
                <a:latin typeface="Segoe UI"/>
                <a:cs typeface="Segoe UI"/>
              </a:endParaRPr>
            </a:p>
          </p:txBody>
        </p:sp>
      </p:grpSp>
      <p:grpSp>
        <p:nvGrpSpPr>
          <p:cNvPr id="422" name="object 422"/>
          <p:cNvGrpSpPr/>
          <p:nvPr/>
        </p:nvGrpSpPr>
        <p:grpSpPr>
          <a:xfrm>
            <a:off x="6807549" y="184652"/>
            <a:ext cx="5068981" cy="6505574"/>
            <a:chOff x="7359622" y="209272"/>
            <a:chExt cx="5744845" cy="7372984"/>
          </a:xfrm>
        </p:grpSpPr>
        <p:sp>
          <p:nvSpPr>
            <p:cNvPr id="423" name="object 423"/>
            <p:cNvSpPr/>
            <p:nvPr/>
          </p:nvSpPr>
          <p:spPr>
            <a:xfrm>
              <a:off x="7365019" y="214669"/>
              <a:ext cx="5734050" cy="7362190"/>
            </a:xfrm>
            <a:custGeom>
              <a:avLst/>
              <a:gdLst/>
              <a:ahLst/>
              <a:cxnLst/>
              <a:rect l="l" t="t" r="r" b="b"/>
              <a:pathLst>
                <a:path w="5734050" h="7362190">
                  <a:moveTo>
                    <a:pt x="0" y="0"/>
                  </a:moveTo>
                  <a:lnTo>
                    <a:pt x="5734049" y="0"/>
                  </a:lnTo>
                  <a:lnTo>
                    <a:pt x="5734049" y="7362110"/>
                  </a:lnTo>
                  <a:lnTo>
                    <a:pt x="0" y="7362110"/>
                  </a:lnTo>
                  <a:lnTo>
                    <a:pt x="0" y="0"/>
                  </a:lnTo>
                  <a:close/>
                </a:path>
              </a:pathLst>
            </a:custGeom>
            <a:ln w="10239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4" name="object 424"/>
            <p:cNvSpPr/>
            <p:nvPr/>
          </p:nvSpPr>
          <p:spPr>
            <a:xfrm>
              <a:off x="7544208" y="608885"/>
              <a:ext cx="1126490" cy="20955"/>
            </a:xfrm>
            <a:custGeom>
              <a:avLst/>
              <a:gdLst/>
              <a:ahLst/>
              <a:cxnLst/>
              <a:rect l="l" t="t" r="r" b="b"/>
              <a:pathLst>
                <a:path w="1126490" h="20954">
                  <a:moveTo>
                    <a:pt x="1126331" y="20478"/>
                  </a:moveTo>
                  <a:lnTo>
                    <a:pt x="0" y="20478"/>
                  </a:lnTo>
                  <a:lnTo>
                    <a:pt x="0" y="0"/>
                  </a:lnTo>
                  <a:lnTo>
                    <a:pt x="1126331" y="0"/>
                  </a:lnTo>
                  <a:lnTo>
                    <a:pt x="1126331" y="20478"/>
                  </a:lnTo>
                  <a:close/>
                </a:path>
              </a:pathLst>
            </a:custGeom>
            <a:solidFill>
              <a:srgbClr val="118CFF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</p:grpSp>
      <p:sp>
        <p:nvSpPr>
          <p:cNvPr id="425" name="object 425"/>
          <p:cNvSpPr txBox="1"/>
          <p:nvPr/>
        </p:nvSpPr>
        <p:spPr>
          <a:xfrm>
            <a:off x="6970419" y="309212"/>
            <a:ext cx="2057960" cy="185568"/>
          </a:xfrm>
          <a:prstGeom prst="rect">
            <a:avLst/>
          </a:prstGeom>
        </p:spPr>
        <p:txBody>
          <a:bodyPr vert="horz" wrap="square" lIns="0" tIns="15688" rIns="0" bIns="0" rtlCol="0">
            <a:spAutoFit/>
          </a:bodyPr>
          <a:lstStyle/>
          <a:p>
            <a:pPr>
              <a:spcBef>
                <a:spcPts val="124"/>
              </a:spcBef>
              <a:tabLst>
                <a:tab pos="1137458" algn="l"/>
              </a:tabLst>
            </a:pPr>
            <a:r>
              <a:rPr sz="1103" b="1" spc="13" dirty="0">
                <a:solidFill>
                  <a:srgbClr val="252423"/>
                </a:solidFill>
                <a:latin typeface="Segoe UI Semibold"/>
                <a:cs typeface="Segoe UI Semibold"/>
              </a:rPr>
              <a:t>Key</a:t>
            </a:r>
            <a:r>
              <a:rPr sz="1103" b="1" spc="18" dirty="0">
                <a:solidFill>
                  <a:srgbClr val="252423"/>
                </a:solidFill>
                <a:latin typeface="Segoe UI Semibold"/>
                <a:cs typeface="Segoe UI Semibold"/>
              </a:rPr>
              <a:t> </a:t>
            </a:r>
            <a:r>
              <a:rPr sz="1103" b="1" spc="13" dirty="0">
                <a:solidFill>
                  <a:srgbClr val="252423"/>
                </a:solidFill>
                <a:latin typeface="Segoe UI Semibold"/>
                <a:cs typeface="Segoe UI Semibold"/>
              </a:rPr>
              <a:t>influencers	</a:t>
            </a:r>
            <a:r>
              <a:rPr sz="1103" b="1" spc="-18" dirty="0">
                <a:solidFill>
                  <a:srgbClr val="252423"/>
                </a:solidFill>
                <a:latin typeface="Segoe UI Semibold"/>
                <a:cs typeface="Segoe UI Semibold"/>
              </a:rPr>
              <a:t>Top</a:t>
            </a:r>
            <a:r>
              <a:rPr sz="1103" b="1" spc="-49" dirty="0">
                <a:solidFill>
                  <a:srgbClr val="252423"/>
                </a:solidFill>
                <a:latin typeface="Segoe UI Semibold"/>
                <a:cs typeface="Segoe UI Semibold"/>
              </a:rPr>
              <a:t> </a:t>
            </a:r>
            <a:r>
              <a:rPr sz="1103" b="1" spc="18" dirty="0">
                <a:solidFill>
                  <a:srgbClr val="252423"/>
                </a:solidFill>
                <a:latin typeface="Segoe UI Semibold"/>
                <a:cs typeface="Segoe UI Semibold"/>
              </a:rPr>
              <a:t>segments</a:t>
            </a:r>
            <a:endParaRPr sz="1103" dirty="0">
              <a:latin typeface="Segoe UI Semibold"/>
              <a:cs typeface="Segoe UI Semibold"/>
            </a:endParaRPr>
          </a:p>
        </p:txBody>
      </p:sp>
      <p:sp>
        <p:nvSpPr>
          <p:cNvPr id="426" name="object 426"/>
          <p:cNvSpPr txBox="1"/>
          <p:nvPr/>
        </p:nvSpPr>
        <p:spPr>
          <a:xfrm>
            <a:off x="6970419" y="715775"/>
            <a:ext cx="1683123" cy="163544"/>
          </a:xfrm>
          <a:prstGeom prst="rect">
            <a:avLst/>
          </a:prstGeom>
        </p:spPr>
        <p:txBody>
          <a:bodyPr vert="horz" wrap="square" lIns="0" tIns="14007" rIns="0" bIns="0" rtlCol="0">
            <a:spAutoFit/>
          </a:bodyPr>
          <a:lstStyle/>
          <a:p>
            <a:pPr>
              <a:spcBef>
                <a:spcPts val="110"/>
              </a:spcBef>
            </a:pPr>
            <a:r>
              <a:rPr sz="971" spc="13" dirty="0">
                <a:solidFill>
                  <a:srgbClr val="252423"/>
                </a:solidFill>
                <a:latin typeface="Segoe UI"/>
                <a:cs typeface="Segoe UI"/>
              </a:rPr>
              <a:t>What </a:t>
            </a:r>
            <a:r>
              <a:rPr sz="971" spc="9" dirty="0">
                <a:solidFill>
                  <a:srgbClr val="252423"/>
                </a:solidFill>
                <a:latin typeface="Segoe UI"/>
                <a:cs typeface="Segoe UI"/>
              </a:rPr>
              <a:t>influences Usefulness</a:t>
            </a:r>
            <a:r>
              <a:rPr sz="971" spc="-31" dirty="0">
                <a:solidFill>
                  <a:srgbClr val="252423"/>
                </a:solidFill>
                <a:latin typeface="Segoe UI"/>
                <a:cs typeface="Segoe UI"/>
              </a:rPr>
              <a:t> </a:t>
            </a:r>
            <a:r>
              <a:rPr sz="971" spc="9" dirty="0">
                <a:solidFill>
                  <a:srgbClr val="252423"/>
                </a:solidFill>
                <a:latin typeface="Segoe UI"/>
                <a:cs typeface="Segoe UI"/>
              </a:rPr>
              <a:t>to</a:t>
            </a:r>
            <a:endParaRPr sz="971" dirty="0">
              <a:latin typeface="Segoe UI"/>
              <a:cs typeface="Segoe UI"/>
            </a:endParaRPr>
          </a:p>
        </p:txBody>
      </p:sp>
      <p:sp>
        <p:nvSpPr>
          <p:cNvPr id="427" name="object 427"/>
          <p:cNvSpPr txBox="1"/>
          <p:nvPr/>
        </p:nvSpPr>
        <p:spPr>
          <a:xfrm>
            <a:off x="10159825" y="715775"/>
            <a:ext cx="68356" cy="163544"/>
          </a:xfrm>
          <a:prstGeom prst="rect">
            <a:avLst/>
          </a:prstGeom>
        </p:spPr>
        <p:txBody>
          <a:bodyPr vert="horz" wrap="square" lIns="0" tIns="14007" rIns="0" bIns="0" rtlCol="0">
            <a:spAutoFit/>
          </a:bodyPr>
          <a:lstStyle/>
          <a:p>
            <a:pPr>
              <a:spcBef>
                <a:spcPts val="110"/>
              </a:spcBef>
            </a:pPr>
            <a:r>
              <a:rPr sz="971" spc="9" dirty="0">
                <a:solidFill>
                  <a:srgbClr val="252423"/>
                </a:solidFill>
                <a:latin typeface="Segoe UI"/>
                <a:cs typeface="Segoe UI"/>
              </a:rPr>
              <a:t>?</a:t>
            </a:r>
            <a:endParaRPr sz="971" dirty="0">
              <a:latin typeface="Segoe UI"/>
              <a:cs typeface="Segoe UI"/>
            </a:endParaRPr>
          </a:p>
        </p:txBody>
      </p:sp>
      <p:sp>
        <p:nvSpPr>
          <p:cNvPr id="429" name="object 429"/>
          <p:cNvSpPr/>
          <p:nvPr/>
        </p:nvSpPr>
        <p:spPr>
          <a:xfrm>
            <a:off x="6862003" y="1052232"/>
            <a:ext cx="4960284" cy="5583891"/>
          </a:xfrm>
          <a:custGeom>
            <a:avLst/>
            <a:gdLst/>
            <a:ahLst/>
            <a:cxnLst/>
            <a:rect l="l" t="t" r="r" b="b"/>
            <a:pathLst>
              <a:path w="5621655" h="6328409">
                <a:moveTo>
                  <a:pt x="5621416" y="6327933"/>
                </a:moveTo>
                <a:lnTo>
                  <a:pt x="0" y="6327933"/>
                </a:lnTo>
                <a:lnTo>
                  <a:pt x="0" y="0"/>
                </a:lnTo>
                <a:lnTo>
                  <a:pt x="5621416" y="0"/>
                </a:lnTo>
                <a:lnTo>
                  <a:pt x="5621416" y="6327933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431" name="object 431"/>
          <p:cNvSpPr txBox="1"/>
          <p:nvPr/>
        </p:nvSpPr>
        <p:spPr>
          <a:xfrm>
            <a:off x="11355658" y="327281"/>
            <a:ext cx="372596" cy="185568"/>
          </a:xfrm>
          <a:prstGeom prst="rect">
            <a:avLst/>
          </a:prstGeom>
        </p:spPr>
        <p:txBody>
          <a:bodyPr vert="horz" wrap="square" lIns="0" tIns="15688" rIns="0" bIns="0" rtlCol="0">
            <a:spAutoFit/>
          </a:bodyPr>
          <a:lstStyle/>
          <a:p>
            <a:pPr>
              <a:spcBef>
                <a:spcPts val="124"/>
              </a:spcBef>
            </a:pPr>
            <a:r>
              <a:rPr sz="1103" spc="35" dirty="0">
                <a:solidFill>
                  <a:srgbClr val="252423"/>
                </a:solidFill>
                <a:latin typeface="Segoe MDL2 Assets"/>
                <a:cs typeface="Segoe MDL2 Assets"/>
              </a:rPr>
              <a:t></a:t>
            </a:r>
            <a:r>
              <a:rPr sz="1103" spc="190" dirty="0">
                <a:solidFill>
                  <a:srgbClr val="252423"/>
                </a:solidFill>
                <a:latin typeface="Segoe MDL2 Assets"/>
                <a:cs typeface="Segoe MDL2 Assets"/>
              </a:rPr>
              <a:t> </a:t>
            </a:r>
            <a:r>
              <a:rPr sz="1103" spc="35" dirty="0">
                <a:solidFill>
                  <a:srgbClr val="252423"/>
                </a:solidFill>
                <a:latin typeface="Segoe MDL2 Assets"/>
                <a:cs typeface="Segoe MDL2 Assets"/>
              </a:rPr>
              <a:t></a:t>
            </a:r>
            <a:endParaRPr sz="1103" dirty="0">
              <a:latin typeface="Segoe MDL2 Assets"/>
              <a:cs typeface="Segoe MDL2 Assets"/>
            </a:endParaRPr>
          </a:p>
        </p:txBody>
      </p:sp>
      <p:sp>
        <p:nvSpPr>
          <p:cNvPr id="432" name="object 432"/>
          <p:cNvSpPr txBox="1"/>
          <p:nvPr/>
        </p:nvSpPr>
        <p:spPr>
          <a:xfrm>
            <a:off x="8718642" y="686325"/>
            <a:ext cx="1364316" cy="190049"/>
          </a:xfrm>
          <a:prstGeom prst="rect">
            <a:avLst/>
          </a:prstGeom>
          <a:ln w="10239">
            <a:solidFill>
              <a:srgbClr val="C7C7C7"/>
            </a:solidFill>
          </a:ln>
        </p:spPr>
        <p:txBody>
          <a:bodyPr vert="horz" wrap="square" lIns="0" tIns="60512" rIns="0" bIns="0" rtlCol="0">
            <a:spAutoFit/>
          </a:bodyPr>
          <a:lstStyle/>
          <a:p>
            <a:pPr marL="40343">
              <a:spcBef>
                <a:spcPts val="476"/>
              </a:spcBef>
              <a:tabLst>
                <a:tab pos="1214782" algn="l"/>
              </a:tabLst>
            </a:pPr>
            <a:r>
              <a:rPr sz="1257" spc="6" baseline="5847" dirty="0">
                <a:solidFill>
                  <a:srgbClr val="252423"/>
                </a:solidFill>
                <a:latin typeface="Segoe UI"/>
                <a:cs typeface="Segoe UI"/>
              </a:rPr>
              <a:t>Increase	</a:t>
            </a:r>
            <a:r>
              <a:rPr sz="838" spc="13" dirty="0">
                <a:solidFill>
                  <a:srgbClr val="252423"/>
                </a:solidFill>
                <a:latin typeface="Segoe MDL2 Assets"/>
                <a:cs typeface="Segoe MDL2 Assets"/>
              </a:rPr>
              <a:t></a:t>
            </a:r>
            <a:endParaRPr sz="838" dirty="0">
              <a:latin typeface="Segoe MDL2 Assets"/>
              <a:cs typeface="Segoe MDL2 Assets"/>
            </a:endParaRPr>
          </a:p>
        </p:txBody>
      </p:sp>
      <p:sp>
        <p:nvSpPr>
          <p:cNvPr id="433" name="object 433"/>
          <p:cNvSpPr txBox="1"/>
          <p:nvPr/>
        </p:nvSpPr>
        <p:spPr>
          <a:xfrm>
            <a:off x="6970420" y="1158478"/>
            <a:ext cx="362510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</a:pP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When...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34" name="object 434"/>
          <p:cNvSpPr txBox="1"/>
          <p:nvPr/>
        </p:nvSpPr>
        <p:spPr>
          <a:xfrm>
            <a:off x="10289558" y="1144022"/>
            <a:ext cx="1332940" cy="302112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R="4483">
              <a:lnSpc>
                <a:spcPct val="113199"/>
              </a:lnSpc>
              <a:spcBef>
                <a:spcPts val="84"/>
              </a:spcBef>
            </a:pP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....the average of</a:t>
            </a:r>
            <a:r>
              <a:rPr sz="838" spc="-35" dirty="0">
                <a:solidFill>
                  <a:srgbClr val="252423"/>
                </a:solidFill>
                <a:latin typeface="Segoe UI"/>
                <a:cs typeface="Segoe UI"/>
              </a:rPr>
              <a:t> </a:t>
            </a: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Usefulness  increases</a:t>
            </a:r>
            <a:r>
              <a:rPr sz="838" spc="-4" dirty="0">
                <a:solidFill>
                  <a:srgbClr val="252423"/>
                </a:solidFill>
                <a:latin typeface="Segoe UI"/>
                <a:cs typeface="Segoe UI"/>
              </a:rPr>
              <a:t> </a:t>
            </a: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by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35" name="object 435"/>
          <p:cNvSpPr txBox="1"/>
          <p:nvPr/>
        </p:nvSpPr>
        <p:spPr>
          <a:xfrm>
            <a:off x="7078836" y="1718632"/>
            <a:ext cx="912159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</a:pPr>
            <a:r>
              <a:rPr sz="838" spc="-13" dirty="0">
                <a:solidFill>
                  <a:srgbClr val="252423"/>
                </a:solidFill>
                <a:latin typeface="Segoe UI"/>
                <a:cs typeface="Segoe UI"/>
              </a:rPr>
              <a:t>Year </a:t>
            </a: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is 2008 or</a:t>
            </a:r>
            <a:r>
              <a:rPr sz="838" spc="-44" dirty="0">
                <a:solidFill>
                  <a:srgbClr val="252423"/>
                </a:solidFill>
                <a:latin typeface="Segoe UI"/>
                <a:cs typeface="Segoe UI"/>
              </a:rPr>
              <a:t> </a:t>
            </a: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less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36" name="object 436"/>
          <p:cNvSpPr/>
          <p:nvPr/>
        </p:nvSpPr>
        <p:spPr>
          <a:xfrm>
            <a:off x="8614735" y="1558177"/>
            <a:ext cx="2791946" cy="470087"/>
          </a:xfrm>
          <a:custGeom>
            <a:avLst/>
            <a:gdLst/>
            <a:ahLst/>
            <a:cxnLst/>
            <a:rect l="l" t="t" r="r" b="b"/>
            <a:pathLst>
              <a:path w="3164204" h="532764">
                <a:moveTo>
                  <a:pt x="2631516" y="266230"/>
                </a:moveTo>
                <a:lnTo>
                  <a:pt x="2549601" y="225272"/>
                </a:lnTo>
                <a:lnTo>
                  <a:pt x="2549601" y="266230"/>
                </a:lnTo>
                <a:lnTo>
                  <a:pt x="0" y="266230"/>
                </a:lnTo>
                <a:lnTo>
                  <a:pt x="0" y="276466"/>
                </a:lnTo>
                <a:lnTo>
                  <a:pt x="2549601" y="276466"/>
                </a:lnTo>
                <a:lnTo>
                  <a:pt x="2549601" y="307187"/>
                </a:lnTo>
                <a:lnTo>
                  <a:pt x="2631516" y="266230"/>
                </a:lnTo>
                <a:close/>
              </a:path>
              <a:path w="3164204" h="532764">
                <a:moveTo>
                  <a:pt x="3163963" y="266230"/>
                </a:moveTo>
                <a:lnTo>
                  <a:pt x="3161093" y="227164"/>
                </a:lnTo>
                <a:lnTo>
                  <a:pt x="3152508" y="188950"/>
                </a:lnTo>
                <a:lnTo>
                  <a:pt x="3138411" y="152400"/>
                </a:lnTo>
                <a:lnTo>
                  <a:pt x="3119107" y="118325"/>
                </a:lnTo>
                <a:lnTo>
                  <a:pt x="3095002" y="87439"/>
                </a:lnTo>
                <a:lnTo>
                  <a:pt x="3066631" y="60439"/>
                </a:lnTo>
                <a:lnTo>
                  <a:pt x="3034614" y="37884"/>
                </a:lnTo>
                <a:lnTo>
                  <a:pt x="2999625" y="20269"/>
                </a:lnTo>
                <a:lnTo>
                  <a:pt x="2962427" y="7988"/>
                </a:lnTo>
                <a:lnTo>
                  <a:pt x="2923844" y="1282"/>
                </a:lnTo>
                <a:lnTo>
                  <a:pt x="2897746" y="0"/>
                </a:lnTo>
                <a:lnTo>
                  <a:pt x="2884678" y="330"/>
                </a:lnTo>
                <a:lnTo>
                  <a:pt x="2845803" y="5118"/>
                </a:lnTo>
                <a:lnTo>
                  <a:pt x="2808059" y="15570"/>
                </a:lnTo>
                <a:lnTo>
                  <a:pt x="2772245" y="31445"/>
                </a:lnTo>
                <a:lnTo>
                  <a:pt x="2739161" y="52400"/>
                </a:lnTo>
                <a:lnTo>
                  <a:pt x="2709494" y="77978"/>
                </a:lnTo>
                <a:lnTo>
                  <a:pt x="2683916" y="107645"/>
                </a:lnTo>
                <a:lnTo>
                  <a:pt x="2662961" y="140728"/>
                </a:lnTo>
                <a:lnTo>
                  <a:pt x="2647086" y="176542"/>
                </a:lnTo>
                <a:lnTo>
                  <a:pt x="2636634" y="214287"/>
                </a:lnTo>
                <a:lnTo>
                  <a:pt x="2631846" y="253161"/>
                </a:lnTo>
                <a:lnTo>
                  <a:pt x="2631516" y="266230"/>
                </a:lnTo>
                <a:lnTo>
                  <a:pt x="2631846" y="279298"/>
                </a:lnTo>
                <a:lnTo>
                  <a:pt x="2636634" y="318173"/>
                </a:lnTo>
                <a:lnTo>
                  <a:pt x="2647086" y="355917"/>
                </a:lnTo>
                <a:lnTo>
                  <a:pt x="2662961" y="391731"/>
                </a:lnTo>
                <a:lnTo>
                  <a:pt x="2683916" y="424815"/>
                </a:lnTo>
                <a:lnTo>
                  <a:pt x="2709494" y="454482"/>
                </a:lnTo>
                <a:lnTo>
                  <a:pt x="2739161" y="480060"/>
                </a:lnTo>
                <a:lnTo>
                  <a:pt x="2772245" y="501015"/>
                </a:lnTo>
                <a:lnTo>
                  <a:pt x="2808059" y="516890"/>
                </a:lnTo>
                <a:lnTo>
                  <a:pt x="2845803" y="527342"/>
                </a:lnTo>
                <a:lnTo>
                  <a:pt x="2884678" y="532130"/>
                </a:lnTo>
                <a:lnTo>
                  <a:pt x="2897746" y="532447"/>
                </a:lnTo>
                <a:lnTo>
                  <a:pt x="2910814" y="532130"/>
                </a:lnTo>
                <a:lnTo>
                  <a:pt x="2949676" y="527342"/>
                </a:lnTo>
                <a:lnTo>
                  <a:pt x="2987433" y="516890"/>
                </a:lnTo>
                <a:lnTo>
                  <a:pt x="3023247" y="501015"/>
                </a:lnTo>
                <a:lnTo>
                  <a:pt x="3056331" y="480060"/>
                </a:lnTo>
                <a:lnTo>
                  <a:pt x="3085998" y="454482"/>
                </a:lnTo>
                <a:lnTo>
                  <a:pt x="3111576" y="424815"/>
                </a:lnTo>
                <a:lnTo>
                  <a:pt x="3132531" y="391731"/>
                </a:lnTo>
                <a:lnTo>
                  <a:pt x="3148406" y="355917"/>
                </a:lnTo>
                <a:lnTo>
                  <a:pt x="3158858" y="318173"/>
                </a:lnTo>
                <a:lnTo>
                  <a:pt x="3163646" y="279298"/>
                </a:lnTo>
                <a:lnTo>
                  <a:pt x="3163963" y="266230"/>
                </a:lnTo>
                <a:close/>
              </a:path>
            </a:pathLst>
          </a:custGeom>
          <a:solidFill>
            <a:srgbClr val="C7C7C7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437" name="object 437"/>
          <p:cNvSpPr txBox="1"/>
          <p:nvPr/>
        </p:nvSpPr>
        <p:spPr>
          <a:xfrm>
            <a:off x="11104802" y="1718632"/>
            <a:ext cx="151840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</a:pPr>
            <a:r>
              <a:rPr sz="838" spc="4" dirty="0">
                <a:solidFill>
                  <a:srgbClr val="333333"/>
                </a:solidFill>
                <a:latin typeface="Segoe UI"/>
                <a:cs typeface="Segoe UI"/>
              </a:rPr>
              <a:t>0.5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38" name="object 438"/>
          <p:cNvSpPr txBox="1"/>
          <p:nvPr/>
        </p:nvSpPr>
        <p:spPr>
          <a:xfrm>
            <a:off x="8614743" y="2224578"/>
            <a:ext cx="1933575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  <a:tabLst>
                <a:tab pos="1921911" algn="l"/>
              </a:tabLst>
            </a:pPr>
            <a:r>
              <a:rPr sz="838" u="sng" dirty="0">
                <a:solidFill>
                  <a:srgbClr val="252423"/>
                </a:solidFill>
                <a:uFill>
                  <a:solidFill>
                    <a:srgbClr val="C7C7C7"/>
                  </a:solidFill>
                </a:uFill>
                <a:latin typeface="Times New Roman"/>
                <a:cs typeface="Times New Roman"/>
              </a:rPr>
              <a:t> 	</a:t>
            </a:r>
            <a:endParaRPr sz="838" dirty="0">
              <a:latin typeface="Times New Roman"/>
              <a:cs typeface="Times New Roman"/>
            </a:endParaRPr>
          </a:p>
        </p:txBody>
      </p:sp>
      <p:sp>
        <p:nvSpPr>
          <p:cNvPr id="439" name="object 439"/>
          <p:cNvSpPr txBox="1"/>
          <p:nvPr/>
        </p:nvSpPr>
        <p:spPr>
          <a:xfrm>
            <a:off x="7078837" y="2210122"/>
            <a:ext cx="1220881" cy="302112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R="4483">
              <a:lnSpc>
                <a:spcPct val="113199"/>
              </a:lnSpc>
              <a:spcBef>
                <a:spcPts val="84"/>
              </a:spcBef>
            </a:pPr>
            <a:r>
              <a:rPr sz="838" dirty="0">
                <a:solidFill>
                  <a:srgbClr val="252423"/>
                </a:solidFill>
                <a:latin typeface="Segoe UI"/>
                <a:cs typeface="Segoe UI"/>
              </a:rPr>
              <a:t>Word </a:t>
            </a: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Count is </a:t>
            </a:r>
            <a:r>
              <a:rPr sz="838" spc="9" dirty="0">
                <a:solidFill>
                  <a:srgbClr val="252423"/>
                </a:solidFill>
                <a:latin typeface="Segoe UI"/>
                <a:cs typeface="Segoe UI"/>
              </a:rPr>
              <a:t>more</a:t>
            </a:r>
            <a:r>
              <a:rPr sz="838" spc="-62" dirty="0">
                <a:solidFill>
                  <a:srgbClr val="252423"/>
                </a:solidFill>
                <a:latin typeface="Segoe UI"/>
                <a:cs typeface="Segoe UI"/>
              </a:rPr>
              <a:t> </a:t>
            </a: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than  146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40" name="object 440"/>
          <p:cNvSpPr/>
          <p:nvPr/>
        </p:nvSpPr>
        <p:spPr>
          <a:xfrm>
            <a:off x="10512036" y="2136401"/>
            <a:ext cx="542365" cy="470087"/>
          </a:xfrm>
          <a:custGeom>
            <a:avLst/>
            <a:gdLst/>
            <a:ahLst/>
            <a:cxnLst/>
            <a:rect l="l" t="t" r="r" b="b"/>
            <a:pathLst>
              <a:path w="614679" h="532764">
                <a:moveTo>
                  <a:pt x="81915" y="266230"/>
                </a:moveTo>
                <a:lnTo>
                  <a:pt x="0" y="225272"/>
                </a:lnTo>
                <a:lnTo>
                  <a:pt x="0" y="307187"/>
                </a:lnTo>
                <a:lnTo>
                  <a:pt x="81915" y="266230"/>
                </a:lnTo>
                <a:close/>
              </a:path>
              <a:path w="614679" h="532764">
                <a:moveTo>
                  <a:pt x="614362" y="266230"/>
                </a:moveTo>
                <a:lnTo>
                  <a:pt x="611479" y="227164"/>
                </a:lnTo>
                <a:lnTo>
                  <a:pt x="602894" y="188950"/>
                </a:lnTo>
                <a:lnTo>
                  <a:pt x="588797" y="152400"/>
                </a:lnTo>
                <a:lnTo>
                  <a:pt x="569493" y="118325"/>
                </a:lnTo>
                <a:lnTo>
                  <a:pt x="545388" y="87439"/>
                </a:lnTo>
                <a:lnTo>
                  <a:pt x="517029" y="60439"/>
                </a:lnTo>
                <a:lnTo>
                  <a:pt x="485000" y="37884"/>
                </a:lnTo>
                <a:lnTo>
                  <a:pt x="450011" y="20269"/>
                </a:lnTo>
                <a:lnTo>
                  <a:pt x="412826" y="7988"/>
                </a:lnTo>
                <a:lnTo>
                  <a:pt x="374230" y="1282"/>
                </a:lnTo>
                <a:lnTo>
                  <a:pt x="348132" y="0"/>
                </a:lnTo>
                <a:lnTo>
                  <a:pt x="335076" y="330"/>
                </a:lnTo>
                <a:lnTo>
                  <a:pt x="296202" y="5118"/>
                </a:lnTo>
                <a:lnTo>
                  <a:pt x="258445" y="15570"/>
                </a:lnTo>
                <a:lnTo>
                  <a:pt x="222631" y="31445"/>
                </a:lnTo>
                <a:lnTo>
                  <a:pt x="189547" y="52400"/>
                </a:lnTo>
                <a:lnTo>
                  <a:pt x="159880" y="77978"/>
                </a:lnTo>
                <a:lnTo>
                  <a:pt x="134302" y="107645"/>
                </a:lnTo>
                <a:lnTo>
                  <a:pt x="113347" y="140728"/>
                </a:lnTo>
                <a:lnTo>
                  <a:pt x="97472" y="176542"/>
                </a:lnTo>
                <a:lnTo>
                  <a:pt x="87020" y="214287"/>
                </a:lnTo>
                <a:lnTo>
                  <a:pt x="82232" y="253161"/>
                </a:lnTo>
                <a:lnTo>
                  <a:pt x="81915" y="266230"/>
                </a:lnTo>
                <a:lnTo>
                  <a:pt x="82232" y="279298"/>
                </a:lnTo>
                <a:lnTo>
                  <a:pt x="87020" y="318173"/>
                </a:lnTo>
                <a:lnTo>
                  <a:pt x="97472" y="355917"/>
                </a:lnTo>
                <a:lnTo>
                  <a:pt x="113347" y="391731"/>
                </a:lnTo>
                <a:lnTo>
                  <a:pt x="134302" y="424815"/>
                </a:lnTo>
                <a:lnTo>
                  <a:pt x="159880" y="454482"/>
                </a:lnTo>
                <a:lnTo>
                  <a:pt x="189547" y="480060"/>
                </a:lnTo>
                <a:lnTo>
                  <a:pt x="222643" y="501015"/>
                </a:lnTo>
                <a:lnTo>
                  <a:pt x="258445" y="516890"/>
                </a:lnTo>
                <a:lnTo>
                  <a:pt x="296202" y="527342"/>
                </a:lnTo>
                <a:lnTo>
                  <a:pt x="335076" y="532130"/>
                </a:lnTo>
                <a:lnTo>
                  <a:pt x="348132" y="532447"/>
                </a:lnTo>
                <a:lnTo>
                  <a:pt x="361200" y="532130"/>
                </a:lnTo>
                <a:lnTo>
                  <a:pt x="400075" y="527342"/>
                </a:lnTo>
                <a:lnTo>
                  <a:pt x="437819" y="516890"/>
                </a:lnTo>
                <a:lnTo>
                  <a:pt x="473633" y="501015"/>
                </a:lnTo>
                <a:lnTo>
                  <a:pt x="506730" y="480060"/>
                </a:lnTo>
                <a:lnTo>
                  <a:pt x="536384" y="454482"/>
                </a:lnTo>
                <a:lnTo>
                  <a:pt x="561962" y="424815"/>
                </a:lnTo>
                <a:lnTo>
                  <a:pt x="582917" y="391731"/>
                </a:lnTo>
                <a:lnTo>
                  <a:pt x="598792" y="355917"/>
                </a:lnTo>
                <a:lnTo>
                  <a:pt x="609244" y="318173"/>
                </a:lnTo>
                <a:lnTo>
                  <a:pt x="614032" y="279298"/>
                </a:lnTo>
                <a:lnTo>
                  <a:pt x="614362" y="266230"/>
                </a:lnTo>
                <a:close/>
              </a:path>
            </a:pathLst>
          </a:custGeom>
          <a:solidFill>
            <a:srgbClr val="C7C7C7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441" name="object 441"/>
          <p:cNvSpPr txBox="1"/>
          <p:nvPr/>
        </p:nvSpPr>
        <p:spPr>
          <a:xfrm>
            <a:off x="10721391" y="2296855"/>
            <a:ext cx="210110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</a:pPr>
            <a:r>
              <a:rPr sz="838" spc="4" dirty="0">
                <a:solidFill>
                  <a:srgbClr val="333333"/>
                </a:solidFill>
                <a:latin typeface="Segoe UI"/>
                <a:cs typeface="Segoe UI"/>
              </a:rPr>
              <a:t>0.44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42" name="object 442"/>
          <p:cNvSpPr txBox="1"/>
          <p:nvPr/>
        </p:nvSpPr>
        <p:spPr>
          <a:xfrm>
            <a:off x="8614743" y="2802801"/>
            <a:ext cx="1698812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  <a:tabLst>
                <a:tab pos="1687136" algn="l"/>
              </a:tabLst>
            </a:pPr>
            <a:r>
              <a:rPr sz="838" u="sng" dirty="0">
                <a:solidFill>
                  <a:srgbClr val="252423"/>
                </a:solidFill>
                <a:uFill>
                  <a:solidFill>
                    <a:srgbClr val="C7C7C7"/>
                  </a:solidFill>
                </a:uFill>
                <a:latin typeface="Times New Roman"/>
                <a:cs typeface="Times New Roman"/>
              </a:rPr>
              <a:t> 	</a:t>
            </a:r>
            <a:endParaRPr sz="838" dirty="0">
              <a:latin typeface="Times New Roman"/>
              <a:cs typeface="Times New Roman"/>
            </a:endParaRPr>
          </a:p>
        </p:txBody>
      </p:sp>
      <p:sp>
        <p:nvSpPr>
          <p:cNvPr id="443" name="object 443"/>
          <p:cNvSpPr txBox="1"/>
          <p:nvPr/>
        </p:nvSpPr>
        <p:spPr>
          <a:xfrm>
            <a:off x="7078837" y="2788345"/>
            <a:ext cx="1151404" cy="302112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R="4483">
              <a:lnSpc>
                <a:spcPct val="113199"/>
              </a:lnSpc>
              <a:spcBef>
                <a:spcPts val="84"/>
              </a:spcBef>
            </a:pP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Sentence Count is</a:t>
            </a:r>
            <a:r>
              <a:rPr sz="838" spc="-49" dirty="0">
                <a:solidFill>
                  <a:srgbClr val="252423"/>
                </a:solidFill>
                <a:latin typeface="Segoe UI"/>
                <a:cs typeface="Segoe UI"/>
              </a:rPr>
              <a:t> </a:t>
            </a:r>
            <a:r>
              <a:rPr sz="838" spc="9" dirty="0">
                <a:solidFill>
                  <a:srgbClr val="252423"/>
                </a:solidFill>
                <a:latin typeface="Segoe UI"/>
                <a:cs typeface="Segoe UI"/>
              </a:rPr>
              <a:t>more  </a:t>
            </a: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than</a:t>
            </a:r>
            <a:r>
              <a:rPr sz="838" spc="-4" dirty="0">
                <a:solidFill>
                  <a:srgbClr val="252423"/>
                </a:solidFill>
                <a:latin typeface="Segoe UI"/>
                <a:cs typeface="Segoe UI"/>
              </a:rPr>
              <a:t> </a:t>
            </a: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7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44" name="object 444"/>
          <p:cNvSpPr/>
          <p:nvPr/>
        </p:nvSpPr>
        <p:spPr>
          <a:xfrm>
            <a:off x="10277127" y="2714624"/>
            <a:ext cx="542365" cy="470087"/>
          </a:xfrm>
          <a:custGeom>
            <a:avLst/>
            <a:gdLst/>
            <a:ahLst/>
            <a:cxnLst/>
            <a:rect l="l" t="t" r="r" b="b"/>
            <a:pathLst>
              <a:path w="614679" h="532764">
                <a:moveTo>
                  <a:pt x="81915" y="266230"/>
                </a:moveTo>
                <a:lnTo>
                  <a:pt x="0" y="225272"/>
                </a:lnTo>
                <a:lnTo>
                  <a:pt x="0" y="307187"/>
                </a:lnTo>
                <a:lnTo>
                  <a:pt x="81915" y="266230"/>
                </a:lnTo>
                <a:close/>
              </a:path>
              <a:path w="614679" h="532764">
                <a:moveTo>
                  <a:pt x="614362" y="266230"/>
                </a:moveTo>
                <a:lnTo>
                  <a:pt x="611479" y="227164"/>
                </a:lnTo>
                <a:lnTo>
                  <a:pt x="602907" y="188950"/>
                </a:lnTo>
                <a:lnTo>
                  <a:pt x="588810" y="152400"/>
                </a:lnTo>
                <a:lnTo>
                  <a:pt x="569493" y="118325"/>
                </a:lnTo>
                <a:lnTo>
                  <a:pt x="545401" y="87439"/>
                </a:lnTo>
                <a:lnTo>
                  <a:pt x="517029" y="60439"/>
                </a:lnTo>
                <a:lnTo>
                  <a:pt x="485013" y="37884"/>
                </a:lnTo>
                <a:lnTo>
                  <a:pt x="450024" y="20269"/>
                </a:lnTo>
                <a:lnTo>
                  <a:pt x="412826" y="7988"/>
                </a:lnTo>
                <a:lnTo>
                  <a:pt x="374230" y="1282"/>
                </a:lnTo>
                <a:lnTo>
                  <a:pt x="348145" y="0"/>
                </a:lnTo>
                <a:lnTo>
                  <a:pt x="335076" y="330"/>
                </a:lnTo>
                <a:lnTo>
                  <a:pt x="296202" y="5118"/>
                </a:lnTo>
                <a:lnTo>
                  <a:pt x="258457" y="15570"/>
                </a:lnTo>
                <a:lnTo>
                  <a:pt x="222643" y="31445"/>
                </a:lnTo>
                <a:lnTo>
                  <a:pt x="189547" y="52400"/>
                </a:lnTo>
                <a:lnTo>
                  <a:pt x="159893" y="77978"/>
                </a:lnTo>
                <a:lnTo>
                  <a:pt x="134302" y="107645"/>
                </a:lnTo>
                <a:lnTo>
                  <a:pt x="113347" y="140728"/>
                </a:lnTo>
                <a:lnTo>
                  <a:pt x="97485" y="176542"/>
                </a:lnTo>
                <a:lnTo>
                  <a:pt x="87033" y="214287"/>
                </a:lnTo>
                <a:lnTo>
                  <a:pt x="82232" y="253161"/>
                </a:lnTo>
                <a:lnTo>
                  <a:pt x="81915" y="266230"/>
                </a:lnTo>
                <a:lnTo>
                  <a:pt x="82232" y="279298"/>
                </a:lnTo>
                <a:lnTo>
                  <a:pt x="87033" y="318173"/>
                </a:lnTo>
                <a:lnTo>
                  <a:pt x="97485" y="355917"/>
                </a:lnTo>
                <a:lnTo>
                  <a:pt x="113347" y="391731"/>
                </a:lnTo>
                <a:lnTo>
                  <a:pt x="134302" y="424815"/>
                </a:lnTo>
                <a:lnTo>
                  <a:pt x="159893" y="454482"/>
                </a:lnTo>
                <a:lnTo>
                  <a:pt x="189547" y="480060"/>
                </a:lnTo>
                <a:lnTo>
                  <a:pt x="222643" y="501015"/>
                </a:lnTo>
                <a:lnTo>
                  <a:pt x="258457" y="516890"/>
                </a:lnTo>
                <a:lnTo>
                  <a:pt x="296202" y="527342"/>
                </a:lnTo>
                <a:lnTo>
                  <a:pt x="335076" y="532130"/>
                </a:lnTo>
                <a:lnTo>
                  <a:pt x="348145" y="532447"/>
                </a:lnTo>
                <a:lnTo>
                  <a:pt x="361200" y="532130"/>
                </a:lnTo>
                <a:lnTo>
                  <a:pt x="400075" y="527342"/>
                </a:lnTo>
                <a:lnTo>
                  <a:pt x="437832" y="516890"/>
                </a:lnTo>
                <a:lnTo>
                  <a:pt x="473633" y="501015"/>
                </a:lnTo>
                <a:lnTo>
                  <a:pt x="506730" y="480060"/>
                </a:lnTo>
                <a:lnTo>
                  <a:pt x="536384" y="454482"/>
                </a:lnTo>
                <a:lnTo>
                  <a:pt x="561975" y="424815"/>
                </a:lnTo>
                <a:lnTo>
                  <a:pt x="582930" y="391731"/>
                </a:lnTo>
                <a:lnTo>
                  <a:pt x="598805" y="355917"/>
                </a:lnTo>
                <a:lnTo>
                  <a:pt x="609244" y="318173"/>
                </a:lnTo>
                <a:lnTo>
                  <a:pt x="614045" y="279298"/>
                </a:lnTo>
                <a:lnTo>
                  <a:pt x="614362" y="266230"/>
                </a:lnTo>
                <a:close/>
              </a:path>
            </a:pathLst>
          </a:custGeom>
          <a:solidFill>
            <a:srgbClr val="C7C7C7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445" name="object 445"/>
          <p:cNvSpPr txBox="1"/>
          <p:nvPr/>
        </p:nvSpPr>
        <p:spPr>
          <a:xfrm>
            <a:off x="10482676" y="2875080"/>
            <a:ext cx="210110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</a:pPr>
            <a:r>
              <a:rPr sz="838" spc="4" dirty="0">
                <a:solidFill>
                  <a:srgbClr val="333333"/>
                </a:solidFill>
                <a:latin typeface="Segoe UI"/>
                <a:cs typeface="Segoe UI"/>
              </a:rPr>
              <a:t>0.39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46" name="object 446"/>
          <p:cNvSpPr txBox="1"/>
          <p:nvPr/>
        </p:nvSpPr>
        <p:spPr>
          <a:xfrm>
            <a:off x="7078836" y="3453303"/>
            <a:ext cx="913279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</a:pPr>
            <a:r>
              <a:rPr sz="838" spc="-13" dirty="0">
                <a:solidFill>
                  <a:srgbClr val="252423"/>
                </a:solidFill>
                <a:latin typeface="Segoe UI"/>
                <a:cs typeface="Segoe UI"/>
              </a:rPr>
              <a:t>Year </a:t>
            </a: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is 2008 -</a:t>
            </a:r>
            <a:r>
              <a:rPr sz="838" spc="-40" dirty="0">
                <a:solidFill>
                  <a:srgbClr val="252423"/>
                </a:solidFill>
                <a:latin typeface="Segoe UI"/>
                <a:cs typeface="Segoe UI"/>
              </a:rPr>
              <a:t> </a:t>
            </a: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2011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47" name="object 447"/>
          <p:cNvSpPr/>
          <p:nvPr/>
        </p:nvSpPr>
        <p:spPr>
          <a:xfrm>
            <a:off x="8614735" y="3292848"/>
            <a:ext cx="1734671" cy="470087"/>
          </a:xfrm>
          <a:custGeom>
            <a:avLst/>
            <a:gdLst/>
            <a:ahLst/>
            <a:cxnLst/>
            <a:rect l="l" t="t" r="r" b="b"/>
            <a:pathLst>
              <a:path w="1965959" h="532764">
                <a:moveTo>
                  <a:pt x="1433512" y="266230"/>
                </a:moveTo>
                <a:lnTo>
                  <a:pt x="1351597" y="225272"/>
                </a:lnTo>
                <a:lnTo>
                  <a:pt x="1351597" y="266230"/>
                </a:lnTo>
                <a:lnTo>
                  <a:pt x="0" y="266230"/>
                </a:lnTo>
                <a:lnTo>
                  <a:pt x="0" y="276466"/>
                </a:lnTo>
                <a:lnTo>
                  <a:pt x="1351597" y="276466"/>
                </a:lnTo>
                <a:lnTo>
                  <a:pt x="1351597" y="307187"/>
                </a:lnTo>
                <a:lnTo>
                  <a:pt x="1433512" y="266230"/>
                </a:lnTo>
                <a:close/>
              </a:path>
              <a:path w="1965959" h="532764">
                <a:moveTo>
                  <a:pt x="1965960" y="266230"/>
                </a:moveTo>
                <a:lnTo>
                  <a:pt x="1963077" y="227164"/>
                </a:lnTo>
                <a:lnTo>
                  <a:pt x="1954504" y="188950"/>
                </a:lnTo>
                <a:lnTo>
                  <a:pt x="1940407" y="152400"/>
                </a:lnTo>
                <a:lnTo>
                  <a:pt x="1921090" y="118325"/>
                </a:lnTo>
                <a:lnTo>
                  <a:pt x="1896999" y="87439"/>
                </a:lnTo>
                <a:lnTo>
                  <a:pt x="1868627" y="60439"/>
                </a:lnTo>
                <a:lnTo>
                  <a:pt x="1836610" y="37884"/>
                </a:lnTo>
                <a:lnTo>
                  <a:pt x="1801622" y="20269"/>
                </a:lnTo>
                <a:lnTo>
                  <a:pt x="1764423" y="7988"/>
                </a:lnTo>
                <a:lnTo>
                  <a:pt x="1725828" y="1282"/>
                </a:lnTo>
                <a:lnTo>
                  <a:pt x="1699742" y="0"/>
                </a:lnTo>
                <a:lnTo>
                  <a:pt x="1686674" y="330"/>
                </a:lnTo>
                <a:lnTo>
                  <a:pt x="1647799" y="5118"/>
                </a:lnTo>
                <a:lnTo>
                  <a:pt x="1610055" y="15570"/>
                </a:lnTo>
                <a:lnTo>
                  <a:pt x="1574241" y="31445"/>
                </a:lnTo>
                <a:lnTo>
                  <a:pt x="1541145" y="52400"/>
                </a:lnTo>
                <a:lnTo>
                  <a:pt x="1511490" y="77978"/>
                </a:lnTo>
                <a:lnTo>
                  <a:pt x="1485900" y="107645"/>
                </a:lnTo>
                <a:lnTo>
                  <a:pt x="1464945" y="140728"/>
                </a:lnTo>
                <a:lnTo>
                  <a:pt x="1449082" y="176542"/>
                </a:lnTo>
                <a:lnTo>
                  <a:pt x="1438630" y="214287"/>
                </a:lnTo>
                <a:lnTo>
                  <a:pt x="1433830" y="253161"/>
                </a:lnTo>
                <a:lnTo>
                  <a:pt x="1433512" y="266230"/>
                </a:lnTo>
                <a:lnTo>
                  <a:pt x="1433830" y="279298"/>
                </a:lnTo>
                <a:lnTo>
                  <a:pt x="1438630" y="318173"/>
                </a:lnTo>
                <a:lnTo>
                  <a:pt x="1449082" y="355917"/>
                </a:lnTo>
                <a:lnTo>
                  <a:pt x="1464945" y="391731"/>
                </a:lnTo>
                <a:lnTo>
                  <a:pt x="1485900" y="424815"/>
                </a:lnTo>
                <a:lnTo>
                  <a:pt x="1511490" y="454482"/>
                </a:lnTo>
                <a:lnTo>
                  <a:pt x="1541145" y="480060"/>
                </a:lnTo>
                <a:lnTo>
                  <a:pt x="1574241" y="501015"/>
                </a:lnTo>
                <a:lnTo>
                  <a:pt x="1610055" y="516890"/>
                </a:lnTo>
                <a:lnTo>
                  <a:pt x="1647799" y="527342"/>
                </a:lnTo>
                <a:lnTo>
                  <a:pt x="1686674" y="532130"/>
                </a:lnTo>
                <a:lnTo>
                  <a:pt x="1699742" y="532447"/>
                </a:lnTo>
                <a:lnTo>
                  <a:pt x="1712798" y="532130"/>
                </a:lnTo>
                <a:lnTo>
                  <a:pt x="1751672" y="527342"/>
                </a:lnTo>
                <a:lnTo>
                  <a:pt x="1789430" y="516890"/>
                </a:lnTo>
                <a:lnTo>
                  <a:pt x="1825231" y="501015"/>
                </a:lnTo>
                <a:lnTo>
                  <a:pt x="1858327" y="480060"/>
                </a:lnTo>
                <a:lnTo>
                  <a:pt x="1887982" y="454482"/>
                </a:lnTo>
                <a:lnTo>
                  <a:pt x="1913572" y="424815"/>
                </a:lnTo>
                <a:lnTo>
                  <a:pt x="1934527" y="391731"/>
                </a:lnTo>
                <a:lnTo>
                  <a:pt x="1950402" y="355917"/>
                </a:lnTo>
                <a:lnTo>
                  <a:pt x="1960841" y="318173"/>
                </a:lnTo>
                <a:lnTo>
                  <a:pt x="1965642" y="279298"/>
                </a:lnTo>
                <a:lnTo>
                  <a:pt x="1965960" y="266230"/>
                </a:lnTo>
                <a:close/>
              </a:path>
            </a:pathLst>
          </a:custGeom>
          <a:solidFill>
            <a:srgbClr val="C7C7C7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448" name="object 448"/>
          <p:cNvSpPr txBox="1"/>
          <p:nvPr/>
        </p:nvSpPr>
        <p:spPr>
          <a:xfrm>
            <a:off x="10010752" y="3453303"/>
            <a:ext cx="210110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</a:pPr>
            <a:r>
              <a:rPr sz="838" spc="4" dirty="0">
                <a:solidFill>
                  <a:srgbClr val="333333"/>
                </a:solidFill>
                <a:latin typeface="Segoe UI"/>
                <a:cs typeface="Segoe UI"/>
              </a:rPr>
              <a:t>0.31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49" name="object 449"/>
          <p:cNvSpPr txBox="1"/>
          <p:nvPr/>
        </p:nvSpPr>
        <p:spPr>
          <a:xfrm>
            <a:off x="7078837" y="4031526"/>
            <a:ext cx="845484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</a:pP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Rating is 1 or</a:t>
            </a:r>
            <a:r>
              <a:rPr sz="838" spc="-62" dirty="0">
                <a:solidFill>
                  <a:srgbClr val="252423"/>
                </a:solidFill>
                <a:latin typeface="Segoe UI"/>
                <a:cs typeface="Segoe UI"/>
              </a:rPr>
              <a:t> </a:t>
            </a: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less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50" name="object 450"/>
          <p:cNvSpPr/>
          <p:nvPr/>
        </p:nvSpPr>
        <p:spPr>
          <a:xfrm>
            <a:off x="8614735" y="3871072"/>
            <a:ext cx="1508872" cy="470087"/>
          </a:xfrm>
          <a:custGeom>
            <a:avLst/>
            <a:gdLst/>
            <a:ahLst/>
            <a:cxnLst/>
            <a:rect l="l" t="t" r="r" b="b"/>
            <a:pathLst>
              <a:path w="1710054" h="532764">
                <a:moveTo>
                  <a:pt x="1177531" y="266230"/>
                </a:moveTo>
                <a:lnTo>
                  <a:pt x="1095616" y="225272"/>
                </a:lnTo>
                <a:lnTo>
                  <a:pt x="1095616" y="266230"/>
                </a:lnTo>
                <a:lnTo>
                  <a:pt x="0" y="266230"/>
                </a:lnTo>
                <a:lnTo>
                  <a:pt x="0" y="276466"/>
                </a:lnTo>
                <a:lnTo>
                  <a:pt x="1095616" y="276466"/>
                </a:lnTo>
                <a:lnTo>
                  <a:pt x="1095616" y="307187"/>
                </a:lnTo>
                <a:lnTo>
                  <a:pt x="1177531" y="266230"/>
                </a:lnTo>
                <a:close/>
              </a:path>
              <a:path w="1710054" h="532764">
                <a:moveTo>
                  <a:pt x="1709978" y="266230"/>
                </a:moveTo>
                <a:lnTo>
                  <a:pt x="1707095" y="227164"/>
                </a:lnTo>
                <a:lnTo>
                  <a:pt x="1698510" y="188950"/>
                </a:lnTo>
                <a:lnTo>
                  <a:pt x="1684413" y="152400"/>
                </a:lnTo>
                <a:lnTo>
                  <a:pt x="1665109" y="118325"/>
                </a:lnTo>
                <a:lnTo>
                  <a:pt x="1641017" y="87439"/>
                </a:lnTo>
                <a:lnTo>
                  <a:pt x="1612646" y="60439"/>
                </a:lnTo>
                <a:lnTo>
                  <a:pt x="1580616" y="37884"/>
                </a:lnTo>
                <a:lnTo>
                  <a:pt x="1545628" y="20269"/>
                </a:lnTo>
                <a:lnTo>
                  <a:pt x="1508442" y="7988"/>
                </a:lnTo>
                <a:lnTo>
                  <a:pt x="1469847" y="1282"/>
                </a:lnTo>
                <a:lnTo>
                  <a:pt x="1443748" y="0"/>
                </a:lnTo>
                <a:lnTo>
                  <a:pt x="1430693" y="330"/>
                </a:lnTo>
                <a:lnTo>
                  <a:pt x="1391818" y="5118"/>
                </a:lnTo>
                <a:lnTo>
                  <a:pt x="1354061" y="15570"/>
                </a:lnTo>
                <a:lnTo>
                  <a:pt x="1318260" y="31445"/>
                </a:lnTo>
                <a:lnTo>
                  <a:pt x="1285163" y="52400"/>
                </a:lnTo>
                <a:lnTo>
                  <a:pt x="1255509" y="77978"/>
                </a:lnTo>
                <a:lnTo>
                  <a:pt x="1229918" y="107645"/>
                </a:lnTo>
                <a:lnTo>
                  <a:pt x="1208963" y="140728"/>
                </a:lnTo>
                <a:lnTo>
                  <a:pt x="1193088" y="176542"/>
                </a:lnTo>
                <a:lnTo>
                  <a:pt x="1182649" y="214287"/>
                </a:lnTo>
                <a:lnTo>
                  <a:pt x="1177848" y="253161"/>
                </a:lnTo>
                <a:lnTo>
                  <a:pt x="1177531" y="266230"/>
                </a:lnTo>
                <a:lnTo>
                  <a:pt x="1177848" y="279298"/>
                </a:lnTo>
                <a:lnTo>
                  <a:pt x="1182649" y="318173"/>
                </a:lnTo>
                <a:lnTo>
                  <a:pt x="1193088" y="355917"/>
                </a:lnTo>
                <a:lnTo>
                  <a:pt x="1208963" y="391731"/>
                </a:lnTo>
                <a:lnTo>
                  <a:pt x="1229918" y="424815"/>
                </a:lnTo>
                <a:lnTo>
                  <a:pt x="1255509" y="454482"/>
                </a:lnTo>
                <a:lnTo>
                  <a:pt x="1285163" y="480060"/>
                </a:lnTo>
                <a:lnTo>
                  <a:pt x="1318260" y="501015"/>
                </a:lnTo>
                <a:lnTo>
                  <a:pt x="1354061" y="516890"/>
                </a:lnTo>
                <a:lnTo>
                  <a:pt x="1391818" y="527342"/>
                </a:lnTo>
                <a:lnTo>
                  <a:pt x="1430693" y="532130"/>
                </a:lnTo>
                <a:lnTo>
                  <a:pt x="1443748" y="532447"/>
                </a:lnTo>
                <a:lnTo>
                  <a:pt x="1456817" y="532130"/>
                </a:lnTo>
                <a:lnTo>
                  <a:pt x="1495691" y="527342"/>
                </a:lnTo>
                <a:lnTo>
                  <a:pt x="1533436" y="516890"/>
                </a:lnTo>
                <a:lnTo>
                  <a:pt x="1569250" y="501015"/>
                </a:lnTo>
                <a:lnTo>
                  <a:pt x="1602346" y="480060"/>
                </a:lnTo>
                <a:lnTo>
                  <a:pt x="1632000" y="454482"/>
                </a:lnTo>
                <a:lnTo>
                  <a:pt x="1657591" y="424815"/>
                </a:lnTo>
                <a:lnTo>
                  <a:pt x="1678546" y="391731"/>
                </a:lnTo>
                <a:lnTo>
                  <a:pt x="1694421" y="355917"/>
                </a:lnTo>
                <a:lnTo>
                  <a:pt x="1704860" y="318173"/>
                </a:lnTo>
                <a:lnTo>
                  <a:pt x="1709661" y="279298"/>
                </a:lnTo>
                <a:lnTo>
                  <a:pt x="1709978" y="266230"/>
                </a:lnTo>
                <a:close/>
              </a:path>
            </a:pathLst>
          </a:custGeom>
          <a:solidFill>
            <a:srgbClr val="C7C7C7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451" name="object 451"/>
          <p:cNvSpPr txBox="1"/>
          <p:nvPr/>
        </p:nvSpPr>
        <p:spPr>
          <a:xfrm>
            <a:off x="9787706" y="4031526"/>
            <a:ext cx="210110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</a:pPr>
            <a:r>
              <a:rPr sz="838" spc="4" dirty="0">
                <a:solidFill>
                  <a:srgbClr val="333333"/>
                </a:solidFill>
                <a:latin typeface="Segoe UI"/>
                <a:cs typeface="Segoe UI"/>
              </a:rPr>
              <a:t>0.27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52" name="object 452"/>
          <p:cNvSpPr txBox="1"/>
          <p:nvPr/>
        </p:nvSpPr>
        <p:spPr>
          <a:xfrm>
            <a:off x="7078836" y="4609750"/>
            <a:ext cx="1058396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</a:pP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Sentiment is</a:t>
            </a:r>
            <a:r>
              <a:rPr sz="838" spc="-31" dirty="0">
                <a:solidFill>
                  <a:srgbClr val="252423"/>
                </a:solidFill>
                <a:latin typeface="Segoe UI"/>
                <a:cs typeface="Segoe UI"/>
              </a:rPr>
              <a:t> </a:t>
            </a: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Negative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53" name="object 453"/>
          <p:cNvSpPr/>
          <p:nvPr/>
        </p:nvSpPr>
        <p:spPr>
          <a:xfrm>
            <a:off x="8614734" y="4449295"/>
            <a:ext cx="1283074" cy="470087"/>
          </a:xfrm>
          <a:custGeom>
            <a:avLst/>
            <a:gdLst/>
            <a:ahLst/>
            <a:cxnLst/>
            <a:rect l="l" t="t" r="r" b="b"/>
            <a:pathLst>
              <a:path w="1454150" h="532764">
                <a:moveTo>
                  <a:pt x="921550" y="266230"/>
                </a:moveTo>
                <a:lnTo>
                  <a:pt x="839635" y="225272"/>
                </a:lnTo>
                <a:lnTo>
                  <a:pt x="839635" y="266230"/>
                </a:lnTo>
                <a:lnTo>
                  <a:pt x="0" y="266230"/>
                </a:lnTo>
                <a:lnTo>
                  <a:pt x="0" y="276466"/>
                </a:lnTo>
                <a:lnTo>
                  <a:pt x="839635" y="276466"/>
                </a:lnTo>
                <a:lnTo>
                  <a:pt x="839635" y="307187"/>
                </a:lnTo>
                <a:lnTo>
                  <a:pt x="921550" y="266230"/>
                </a:lnTo>
                <a:close/>
              </a:path>
              <a:path w="1454150" h="532764">
                <a:moveTo>
                  <a:pt x="1453997" y="266230"/>
                </a:moveTo>
                <a:lnTo>
                  <a:pt x="1451114" y="227164"/>
                </a:lnTo>
                <a:lnTo>
                  <a:pt x="1442529" y="188950"/>
                </a:lnTo>
                <a:lnTo>
                  <a:pt x="1428432" y="152400"/>
                </a:lnTo>
                <a:lnTo>
                  <a:pt x="1409128" y="118325"/>
                </a:lnTo>
                <a:lnTo>
                  <a:pt x="1385023" y="87439"/>
                </a:lnTo>
                <a:lnTo>
                  <a:pt x="1356664" y="60439"/>
                </a:lnTo>
                <a:lnTo>
                  <a:pt x="1324635" y="37884"/>
                </a:lnTo>
                <a:lnTo>
                  <a:pt x="1289646" y="20269"/>
                </a:lnTo>
                <a:lnTo>
                  <a:pt x="1252461" y="7988"/>
                </a:lnTo>
                <a:lnTo>
                  <a:pt x="1213866" y="1282"/>
                </a:lnTo>
                <a:lnTo>
                  <a:pt x="1187767" y="0"/>
                </a:lnTo>
                <a:lnTo>
                  <a:pt x="1174711" y="330"/>
                </a:lnTo>
                <a:lnTo>
                  <a:pt x="1135837" y="5118"/>
                </a:lnTo>
                <a:lnTo>
                  <a:pt x="1098080" y="15570"/>
                </a:lnTo>
                <a:lnTo>
                  <a:pt x="1062278" y="31445"/>
                </a:lnTo>
                <a:lnTo>
                  <a:pt x="1029182" y="52400"/>
                </a:lnTo>
                <a:lnTo>
                  <a:pt x="999515" y="77978"/>
                </a:lnTo>
                <a:lnTo>
                  <a:pt x="973937" y="107645"/>
                </a:lnTo>
                <a:lnTo>
                  <a:pt x="952982" y="140728"/>
                </a:lnTo>
                <a:lnTo>
                  <a:pt x="937107" y="176542"/>
                </a:lnTo>
                <a:lnTo>
                  <a:pt x="926655" y="214287"/>
                </a:lnTo>
                <a:lnTo>
                  <a:pt x="921867" y="253161"/>
                </a:lnTo>
                <a:lnTo>
                  <a:pt x="921550" y="266230"/>
                </a:lnTo>
                <a:lnTo>
                  <a:pt x="921867" y="279298"/>
                </a:lnTo>
                <a:lnTo>
                  <a:pt x="926655" y="318173"/>
                </a:lnTo>
                <a:lnTo>
                  <a:pt x="937107" y="355917"/>
                </a:lnTo>
                <a:lnTo>
                  <a:pt x="952982" y="391731"/>
                </a:lnTo>
                <a:lnTo>
                  <a:pt x="973937" y="424815"/>
                </a:lnTo>
                <a:lnTo>
                  <a:pt x="999515" y="454482"/>
                </a:lnTo>
                <a:lnTo>
                  <a:pt x="1029182" y="480060"/>
                </a:lnTo>
                <a:lnTo>
                  <a:pt x="1062278" y="501015"/>
                </a:lnTo>
                <a:lnTo>
                  <a:pt x="1098080" y="516890"/>
                </a:lnTo>
                <a:lnTo>
                  <a:pt x="1135837" y="527342"/>
                </a:lnTo>
                <a:lnTo>
                  <a:pt x="1174711" y="532130"/>
                </a:lnTo>
                <a:lnTo>
                  <a:pt x="1187767" y="532447"/>
                </a:lnTo>
                <a:lnTo>
                  <a:pt x="1200835" y="532130"/>
                </a:lnTo>
                <a:lnTo>
                  <a:pt x="1239710" y="527342"/>
                </a:lnTo>
                <a:lnTo>
                  <a:pt x="1277454" y="516890"/>
                </a:lnTo>
                <a:lnTo>
                  <a:pt x="1313268" y="501015"/>
                </a:lnTo>
                <a:lnTo>
                  <a:pt x="1346365" y="480060"/>
                </a:lnTo>
                <a:lnTo>
                  <a:pt x="1376019" y="454482"/>
                </a:lnTo>
                <a:lnTo>
                  <a:pt x="1401597" y="424815"/>
                </a:lnTo>
                <a:lnTo>
                  <a:pt x="1422552" y="391731"/>
                </a:lnTo>
                <a:lnTo>
                  <a:pt x="1438427" y="355917"/>
                </a:lnTo>
                <a:lnTo>
                  <a:pt x="1448879" y="318173"/>
                </a:lnTo>
                <a:lnTo>
                  <a:pt x="1453667" y="279298"/>
                </a:lnTo>
                <a:lnTo>
                  <a:pt x="1453997" y="266230"/>
                </a:lnTo>
                <a:close/>
              </a:path>
            </a:pathLst>
          </a:custGeom>
          <a:solidFill>
            <a:srgbClr val="C7C7C7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454" name="object 454"/>
          <p:cNvSpPr txBox="1"/>
          <p:nvPr/>
        </p:nvSpPr>
        <p:spPr>
          <a:xfrm>
            <a:off x="9560851" y="4609750"/>
            <a:ext cx="210110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</a:pPr>
            <a:r>
              <a:rPr sz="838" spc="4" dirty="0">
                <a:solidFill>
                  <a:srgbClr val="333333"/>
                </a:solidFill>
                <a:latin typeface="Segoe UI"/>
                <a:cs typeface="Segoe UI"/>
              </a:rPr>
              <a:t>0.23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55" name="object 455"/>
          <p:cNvSpPr txBox="1"/>
          <p:nvPr/>
        </p:nvSpPr>
        <p:spPr>
          <a:xfrm>
            <a:off x="7078837" y="5187974"/>
            <a:ext cx="1120028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</a:pPr>
            <a:r>
              <a:rPr sz="838" dirty="0">
                <a:solidFill>
                  <a:srgbClr val="252423"/>
                </a:solidFill>
                <a:latin typeface="Segoe UI"/>
                <a:cs typeface="Segoe UI"/>
              </a:rPr>
              <a:t>Word </a:t>
            </a: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Count is 74 -</a:t>
            </a:r>
            <a:r>
              <a:rPr sz="838" spc="-53" dirty="0">
                <a:solidFill>
                  <a:srgbClr val="252423"/>
                </a:solidFill>
                <a:latin typeface="Segoe UI"/>
                <a:cs typeface="Segoe UI"/>
              </a:rPr>
              <a:t> </a:t>
            </a: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146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56" name="object 456"/>
          <p:cNvSpPr/>
          <p:nvPr/>
        </p:nvSpPr>
        <p:spPr>
          <a:xfrm>
            <a:off x="8614735" y="5027519"/>
            <a:ext cx="1093694" cy="470087"/>
          </a:xfrm>
          <a:custGeom>
            <a:avLst/>
            <a:gdLst/>
            <a:ahLst/>
            <a:cxnLst/>
            <a:rect l="l" t="t" r="r" b="b"/>
            <a:pathLst>
              <a:path w="1239520" h="532764">
                <a:moveTo>
                  <a:pt x="706513" y="266230"/>
                </a:moveTo>
                <a:lnTo>
                  <a:pt x="624598" y="225272"/>
                </a:lnTo>
                <a:lnTo>
                  <a:pt x="624598" y="266230"/>
                </a:lnTo>
                <a:lnTo>
                  <a:pt x="0" y="266230"/>
                </a:lnTo>
                <a:lnTo>
                  <a:pt x="0" y="276466"/>
                </a:lnTo>
                <a:lnTo>
                  <a:pt x="624598" y="276466"/>
                </a:lnTo>
                <a:lnTo>
                  <a:pt x="624598" y="307187"/>
                </a:lnTo>
                <a:lnTo>
                  <a:pt x="706513" y="266230"/>
                </a:lnTo>
                <a:close/>
              </a:path>
              <a:path w="1239520" h="532764">
                <a:moveTo>
                  <a:pt x="1238961" y="266230"/>
                </a:moveTo>
                <a:lnTo>
                  <a:pt x="1236091" y="227164"/>
                </a:lnTo>
                <a:lnTo>
                  <a:pt x="1227505" y="188950"/>
                </a:lnTo>
                <a:lnTo>
                  <a:pt x="1213408" y="152400"/>
                </a:lnTo>
                <a:lnTo>
                  <a:pt x="1194104" y="118325"/>
                </a:lnTo>
                <a:lnTo>
                  <a:pt x="1170000" y="87439"/>
                </a:lnTo>
                <a:lnTo>
                  <a:pt x="1141628" y="60439"/>
                </a:lnTo>
                <a:lnTo>
                  <a:pt x="1109611" y="37884"/>
                </a:lnTo>
                <a:lnTo>
                  <a:pt x="1074623" y="20269"/>
                </a:lnTo>
                <a:lnTo>
                  <a:pt x="1037424" y="7988"/>
                </a:lnTo>
                <a:lnTo>
                  <a:pt x="998842" y="1282"/>
                </a:lnTo>
                <a:lnTo>
                  <a:pt x="972743" y="0"/>
                </a:lnTo>
                <a:lnTo>
                  <a:pt x="959675" y="330"/>
                </a:lnTo>
                <a:lnTo>
                  <a:pt x="920800" y="5118"/>
                </a:lnTo>
                <a:lnTo>
                  <a:pt x="883056" y="15570"/>
                </a:lnTo>
                <a:lnTo>
                  <a:pt x="847242" y="31445"/>
                </a:lnTo>
                <a:lnTo>
                  <a:pt x="814158" y="52400"/>
                </a:lnTo>
                <a:lnTo>
                  <a:pt x="784491" y="77978"/>
                </a:lnTo>
                <a:lnTo>
                  <a:pt x="758913" y="107645"/>
                </a:lnTo>
                <a:lnTo>
                  <a:pt x="737958" y="140728"/>
                </a:lnTo>
                <a:lnTo>
                  <a:pt x="722083" y="176542"/>
                </a:lnTo>
                <a:lnTo>
                  <a:pt x="711631" y="214287"/>
                </a:lnTo>
                <a:lnTo>
                  <a:pt x="706843" y="253161"/>
                </a:lnTo>
                <a:lnTo>
                  <a:pt x="706513" y="266230"/>
                </a:lnTo>
                <a:lnTo>
                  <a:pt x="706843" y="279298"/>
                </a:lnTo>
                <a:lnTo>
                  <a:pt x="711631" y="318173"/>
                </a:lnTo>
                <a:lnTo>
                  <a:pt x="722083" y="355917"/>
                </a:lnTo>
                <a:lnTo>
                  <a:pt x="737958" y="391731"/>
                </a:lnTo>
                <a:lnTo>
                  <a:pt x="758913" y="424815"/>
                </a:lnTo>
                <a:lnTo>
                  <a:pt x="784491" y="454482"/>
                </a:lnTo>
                <a:lnTo>
                  <a:pt x="814158" y="480060"/>
                </a:lnTo>
                <a:lnTo>
                  <a:pt x="847242" y="501015"/>
                </a:lnTo>
                <a:lnTo>
                  <a:pt x="883056" y="516890"/>
                </a:lnTo>
                <a:lnTo>
                  <a:pt x="920800" y="527342"/>
                </a:lnTo>
                <a:lnTo>
                  <a:pt x="959675" y="532130"/>
                </a:lnTo>
                <a:lnTo>
                  <a:pt x="972743" y="532447"/>
                </a:lnTo>
                <a:lnTo>
                  <a:pt x="985812" y="532130"/>
                </a:lnTo>
                <a:lnTo>
                  <a:pt x="1024686" y="527342"/>
                </a:lnTo>
                <a:lnTo>
                  <a:pt x="1062431" y="516890"/>
                </a:lnTo>
                <a:lnTo>
                  <a:pt x="1098245" y="501015"/>
                </a:lnTo>
                <a:lnTo>
                  <a:pt x="1131328" y="480060"/>
                </a:lnTo>
                <a:lnTo>
                  <a:pt x="1160995" y="454482"/>
                </a:lnTo>
                <a:lnTo>
                  <a:pt x="1186573" y="424815"/>
                </a:lnTo>
                <a:lnTo>
                  <a:pt x="1207528" y="391731"/>
                </a:lnTo>
                <a:lnTo>
                  <a:pt x="1223403" y="355917"/>
                </a:lnTo>
                <a:lnTo>
                  <a:pt x="1233855" y="318173"/>
                </a:lnTo>
                <a:lnTo>
                  <a:pt x="1238643" y="279298"/>
                </a:lnTo>
                <a:lnTo>
                  <a:pt x="1238961" y="266230"/>
                </a:lnTo>
                <a:close/>
              </a:path>
            </a:pathLst>
          </a:custGeom>
          <a:solidFill>
            <a:srgbClr val="C7C7C7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457" name="object 457"/>
          <p:cNvSpPr txBox="1"/>
          <p:nvPr/>
        </p:nvSpPr>
        <p:spPr>
          <a:xfrm>
            <a:off x="9401471" y="5187974"/>
            <a:ext cx="151840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</a:pPr>
            <a:r>
              <a:rPr sz="838" spc="4" dirty="0">
                <a:solidFill>
                  <a:srgbClr val="333333"/>
                </a:solidFill>
                <a:latin typeface="Segoe UI"/>
                <a:cs typeface="Segoe UI"/>
              </a:rPr>
              <a:t>0.2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58" name="object 458"/>
          <p:cNvSpPr txBox="1"/>
          <p:nvPr/>
        </p:nvSpPr>
        <p:spPr>
          <a:xfrm>
            <a:off x="7078837" y="5766196"/>
            <a:ext cx="1120028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</a:pP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Sentence Count is 4 -</a:t>
            </a:r>
            <a:r>
              <a:rPr sz="838" spc="-49" dirty="0">
                <a:solidFill>
                  <a:srgbClr val="252423"/>
                </a:solidFill>
                <a:latin typeface="Segoe UI"/>
                <a:cs typeface="Segoe UI"/>
              </a:rPr>
              <a:t> </a:t>
            </a:r>
            <a:r>
              <a:rPr sz="838" spc="4" dirty="0">
                <a:solidFill>
                  <a:srgbClr val="252423"/>
                </a:solidFill>
                <a:latin typeface="Segoe UI"/>
                <a:cs typeface="Segoe UI"/>
              </a:rPr>
              <a:t>7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59" name="object 459"/>
          <p:cNvSpPr/>
          <p:nvPr/>
        </p:nvSpPr>
        <p:spPr>
          <a:xfrm>
            <a:off x="8614735" y="5605743"/>
            <a:ext cx="993962" cy="470087"/>
          </a:xfrm>
          <a:custGeom>
            <a:avLst/>
            <a:gdLst/>
            <a:ahLst/>
            <a:cxnLst/>
            <a:rect l="l" t="t" r="r" b="b"/>
            <a:pathLst>
              <a:path w="1126490" h="532765">
                <a:moveTo>
                  <a:pt x="593890" y="266230"/>
                </a:moveTo>
                <a:lnTo>
                  <a:pt x="511975" y="225272"/>
                </a:lnTo>
                <a:lnTo>
                  <a:pt x="511975" y="266230"/>
                </a:lnTo>
                <a:lnTo>
                  <a:pt x="0" y="266230"/>
                </a:lnTo>
                <a:lnTo>
                  <a:pt x="0" y="276466"/>
                </a:lnTo>
                <a:lnTo>
                  <a:pt x="511975" y="276466"/>
                </a:lnTo>
                <a:lnTo>
                  <a:pt x="511975" y="307187"/>
                </a:lnTo>
                <a:lnTo>
                  <a:pt x="593890" y="266230"/>
                </a:lnTo>
                <a:close/>
              </a:path>
              <a:path w="1126490" h="532765">
                <a:moveTo>
                  <a:pt x="1126337" y="266230"/>
                </a:moveTo>
                <a:lnTo>
                  <a:pt x="1123454" y="227164"/>
                </a:lnTo>
                <a:lnTo>
                  <a:pt x="1114869" y="188950"/>
                </a:lnTo>
                <a:lnTo>
                  <a:pt x="1100772" y="152400"/>
                </a:lnTo>
                <a:lnTo>
                  <a:pt x="1081468" y="118325"/>
                </a:lnTo>
                <a:lnTo>
                  <a:pt x="1057363" y="87439"/>
                </a:lnTo>
                <a:lnTo>
                  <a:pt x="1029004" y="60439"/>
                </a:lnTo>
                <a:lnTo>
                  <a:pt x="996975" y="37884"/>
                </a:lnTo>
                <a:lnTo>
                  <a:pt x="961986" y="20269"/>
                </a:lnTo>
                <a:lnTo>
                  <a:pt x="924801" y="7988"/>
                </a:lnTo>
                <a:lnTo>
                  <a:pt x="886206" y="1282"/>
                </a:lnTo>
                <a:lnTo>
                  <a:pt x="860107" y="0"/>
                </a:lnTo>
                <a:lnTo>
                  <a:pt x="847051" y="330"/>
                </a:lnTo>
                <a:lnTo>
                  <a:pt x="808177" y="5118"/>
                </a:lnTo>
                <a:lnTo>
                  <a:pt x="770420" y="15570"/>
                </a:lnTo>
                <a:lnTo>
                  <a:pt x="734618" y="31445"/>
                </a:lnTo>
                <a:lnTo>
                  <a:pt x="701522" y="52400"/>
                </a:lnTo>
                <a:lnTo>
                  <a:pt x="671855" y="77978"/>
                </a:lnTo>
                <a:lnTo>
                  <a:pt x="646277" y="107645"/>
                </a:lnTo>
                <a:lnTo>
                  <a:pt x="625322" y="140728"/>
                </a:lnTo>
                <a:lnTo>
                  <a:pt x="609447" y="176542"/>
                </a:lnTo>
                <a:lnTo>
                  <a:pt x="598995" y="214287"/>
                </a:lnTo>
                <a:lnTo>
                  <a:pt x="594207" y="253161"/>
                </a:lnTo>
                <a:lnTo>
                  <a:pt x="593890" y="266230"/>
                </a:lnTo>
                <a:lnTo>
                  <a:pt x="594207" y="279298"/>
                </a:lnTo>
                <a:lnTo>
                  <a:pt x="598995" y="318173"/>
                </a:lnTo>
                <a:lnTo>
                  <a:pt x="609447" y="355917"/>
                </a:lnTo>
                <a:lnTo>
                  <a:pt x="625322" y="391731"/>
                </a:lnTo>
                <a:lnTo>
                  <a:pt x="646277" y="424815"/>
                </a:lnTo>
                <a:lnTo>
                  <a:pt x="671855" y="454482"/>
                </a:lnTo>
                <a:lnTo>
                  <a:pt x="701522" y="480060"/>
                </a:lnTo>
                <a:lnTo>
                  <a:pt x="734618" y="501015"/>
                </a:lnTo>
                <a:lnTo>
                  <a:pt x="770420" y="516890"/>
                </a:lnTo>
                <a:lnTo>
                  <a:pt x="808177" y="527342"/>
                </a:lnTo>
                <a:lnTo>
                  <a:pt x="847051" y="532130"/>
                </a:lnTo>
                <a:lnTo>
                  <a:pt x="860107" y="532447"/>
                </a:lnTo>
                <a:lnTo>
                  <a:pt x="873175" y="532130"/>
                </a:lnTo>
                <a:lnTo>
                  <a:pt x="912050" y="527342"/>
                </a:lnTo>
                <a:lnTo>
                  <a:pt x="949794" y="516890"/>
                </a:lnTo>
                <a:lnTo>
                  <a:pt x="985608" y="501015"/>
                </a:lnTo>
                <a:lnTo>
                  <a:pt x="1018705" y="480060"/>
                </a:lnTo>
                <a:lnTo>
                  <a:pt x="1048359" y="454482"/>
                </a:lnTo>
                <a:lnTo>
                  <a:pt x="1073937" y="424815"/>
                </a:lnTo>
                <a:lnTo>
                  <a:pt x="1094892" y="391731"/>
                </a:lnTo>
                <a:lnTo>
                  <a:pt x="1110767" y="355917"/>
                </a:lnTo>
                <a:lnTo>
                  <a:pt x="1121219" y="318173"/>
                </a:lnTo>
                <a:lnTo>
                  <a:pt x="1126007" y="279298"/>
                </a:lnTo>
                <a:lnTo>
                  <a:pt x="1126337" y="266230"/>
                </a:lnTo>
                <a:close/>
              </a:path>
            </a:pathLst>
          </a:custGeom>
          <a:solidFill>
            <a:srgbClr val="C7C7C7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460" name="object 460"/>
          <p:cNvSpPr txBox="1"/>
          <p:nvPr/>
        </p:nvSpPr>
        <p:spPr>
          <a:xfrm>
            <a:off x="9273150" y="5766196"/>
            <a:ext cx="210110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>
              <a:spcBef>
                <a:spcPts val="101"/>
              </a:spcBef>
            </a:pPr>
            <a:r>
              <a:rPr sz="838" spc="4" dirty="0">
                <a:solidFill>
                  <a:srgbClr val="333333"/>
                </a:solidFill>
                <a:latin typeface="Segoe UI"/>
                <a:cs typeface="Segoe UI"/>
              </a:rPr>
              <a:t>0.18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467" name="object 467"/>
          <p:cNvSpPr/>
          <p:nvPr/>
        </p:nvSpPr>
        <p:spPr>
          <a:xfrm>
            <a:off x="250074" y="296447"/>
            <a:ext cx="3833540" cy="488016"/>
          </a:xfrm>
          <a:custGeom>
            <a:avLst/>
            <a:gdLst/>
            <a:ahLst/>
            <a:cxnLst/>
            <a:rect l="l" t="t" r="r" b="b"/>
            <a:pathLst>
              <a:path w="3819525" h="553085">
                <a:moveTo>
                  <a:pt x="3819286" y="552926"/>
                </a:moveTo>
                <a:lnTo>
                  <a:pt x="0" y="552926"/>
                </a:lnTo>
                <a:lnTo>
                  <a:pt x="0" y="0"/>
                </a:lnTo>
                <a:lnTo>
                  <a:pt x="3819286" y="0"/>
                </a:lnTo>
                <a:lnTo>
                  <a:pt x="3819286" y="552926"/>
                </a:lnTo>
                <a:close/>
              </a:path>
            </a:pathLst>
          </a:custGeom>
          <a:solidFill>
            <a:srgbClr val="FFB618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468" name="object 468"/>
          <p:cNvSpPr txBox="1"/>
          <p:nvPr/>
        </p:nvSpPr>
        <p:spPr>
          <a:xfrm>
            <a:off x="362107" y="406234"/>
            <a:ext cx="3323236" cy="273360"/>
          </a:xfrm>
          <a:prstGeom prst="rect">
            <a:avLst/>
          </a:prstGeom>
        </p:spPr>
        <p:txBody>
          <a:bodyPr vert="horz" wrap="square" lIns="0" tIns="15128" rIns="0" bIns="0" rtlCol="0">
            <a:spAutoFit/>
          </a:bodyPr>
          <a:lstStyle/>
          <a:p>
            <a:pPr marL="11206">
              <a:spcBef>
                <a:spcPts val="119"/>
              </a:spcBef>
            </a:pPr>
            <a:r>
              <a:rPr sz="1677" b="1" i="1" spc="18" dirty="0">
                <a:latin typeface="Segoe UI"/>
                <a:cs typeface="Segoe UI"/>
              </a:rPr>
              <a:t>What makes a </a:t>
            </a:r>
            <a:r>
              <a:rPr sz="1677" b="1" i="1" spc="13" dirty="0">
                <a:latin typeface="Segoe UI"/>
                <a:cs typeface="Segoe UI"/>
              </a:rPr>
              <a:t>Review</a:t>
            </a:r>
            <a:r>
              <a:rPr sz="1677" b="1" i="1" spc="-75" dirty="0">
                <a:latin typeface="Segoe UI"/>
                <a:cs typeface="Segoe UI"/>
              </a:rPr>
              <a:t> </a:t>
            </a:r>
            <a:r>
              <a:rPr lang="en-US" sz="1677" b="1" i="1" spc="13" dirty="0">
                <a:latin typeface="Segoe UI"/>
                <a:cs typeface="Segoe UI"/>
              </a:rPr>
              <a:t>H</a:t>
            </a:r>
            <a:r>
              <a:rPr sz="1677" b="1" i="1" spc="13" dirty="0">
                <a:latin typeface="Segoe UI"/>
                <a:cs typeface="Segoe UI"/>
              </a:rPr>
              <a:t>elpful?</a:t>
            </a:r>
            <a:endParaRPr sz="1677" dirty="0">
              <a:latin typeface="Segoe UI"/>
              <a:cs typeface="Segoe UI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DE2FA4B-6622-44BA-8EB2-B61E55A6A597}"/>
              </a:ext>
            </a:extLst>
          </p:cNvPr>
          <p:cNvGrpSpPr/>
          <p:nvPr/>
        </p:nvGrpSpPr>
        <p:grpSpPr>
          <a:xfrm>
            <a:off x="3267355" y="1202006"/>
            <a:ext cx="3291412" cy="2566715"/>
            <a:chOff x="3520899" y="1353684"/>
            <a:chExt cx="3034403" cy="2317978"/>
          </a:xfrm>
        </p:grpSpPr>
        <p:sp>
          <p:nvSpPr>
            <p:cNvPr id="308" name="object 308"/>
            <p:cNvSpPr txBox="1"/>
            <p:nvPr/>
          </p:nvSpPr>
          <p:spPr>
            <a:xfrm>
              <a:off x="5052164" y="3474213"/>
              <a:ext cx="393326" cy="197449"/>
            </a:xfrm>
            <a:prstGeom prst="rect">
              <a:avLst/>
            </a:prstGeom>
          </p:spPr>
          <p:txBody>
            <a:bodyPr vert="horz" wrap="square" lIns="0" tIns="27454" rIns="0" bIns="0" rtlCol="0">
              <a:spAutoFit/>
            </a:bodyPr>
            <a:lstStyle/>
            <a:p>
              <a:pPr algn="ctr">
                <a:spcBef>
                  <a:spcPts val="194"/>
                </a:spcBef>
              </a:pPr>
              <a:r>
                <a:rPr sz="1103" spc="49" dirty="0">
                  <a:solidFill>
                    <a:srgbClr val="252423"/>
                  </a:solidFill>
                  <a:latin typeface="Arial Narrow"/>
                  <a:cs typeface="Arial Narrow"/>
                </a:rPr>
                <a:t>Rating</a:t>
              </a:r>
              <a:endParaRPr sz="1103" dirty="0">
                <a:latin typeface="Arial Narrow"/>
                <a:cs typeface="Arial Narrow"/>
              </a:endParaRPr>
            </a:p>
          </p:txBody>
        </p:sp>
        <p:sp>
          <p:nvSpPr>
            <p:cNvPr id="309" name="object 309"/>
            <p:cNvSpPr txBox="1"/>
            <p:nvPr/>
          </p:nvSpPr>
          <p:spPr>
            <a:xfrm>
              <a:off x="3520899" y="2038107"/>
              <a:ext cx="153888" cy="1027019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1204"/>
                </a:lnSpc>
              </a:pPr>
              <a:r>
                <a:rPr sz="1147" spc="26" dirty="0">
                  <a:solidFill>
                    <a:srgbClr val="252423"/>
                  </a:solidFill>
                  <a:latin typeface="Arial Narrow"/>
                  <a:cs typeface="Arial Narrow"/>
                </a:rPr>
                <a:t>Count </a:t>
              </a:r>
              <a:r>
                <a:rPr sz="1147" spc="35" dirty="0">
                  <a:solidFill>
                    <a:srgbClr val="252423"/>
                  </a:solidFill>
                  <a:latin typeface="Arial Narrow"/>
                  <a:cs typeface="Arial Narrow"/>
                </a:rPr>
                <a:t>of</a:t>
              </a:r>
              <a:r>
                <a:rPr sz="1147" spc="-84" dirty="0">
                  <a:solidFill>
                    <a:srgbClr val="252423"/>
                  </a:solidFill>
                  <a:latin typeface="Arial Narrow"/>
                  <a:cs typeface="Arial Narrow"/>
                </a:rPr>
                <a:t> </a:t>
              </a:r>
              <a:r>
                <a:rPr sz="1147" spc="44" dirty="0">
                  <a:solidFill>
                    <a:srgbClr val="252423"/>
                  </a:solidFill>
                  <a:latin typeface="Arial Narrow"/>
                  <a:cs typeface="Arial Narrow"/>
                </a:rPr>
                <a:t>Reviews</a:t>
              </a:r>
              <a:endParaRPr sz="1147" dirty="0">
                <a:latin typeface="Arial Narrow"/>
                <a:cs typeface="Arial Narrow"/>
              </a:endParaRPr>
            </a:p>
          </p:txBody>
        </p:sp>
        <p:sp>
          <p:nvSpPr>
            <p:cNvPr id="324" name="object 324"/>
            <p:cNvSpPr/>
            <p:nvPr/>
          </p:nvSpPr>
          <p:spPr>
            <a:xfrm>
              <a:off x="4333792" y="1647664"/>
              <a:ext cx="96866" cy="92417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5" name="object 325"/>
            <p:cNvSpPr/>
            <p:nvPr/>
          </p:nvSpPr>
          <p:spPr>
            <a:xfrm>
              <a:off x="5064812" y="1647664"/>
              <a:ext cx="89416" cy="92417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6" name="object 326"/>
            <p:cNvSpPr txBox="1"/>
            <p:nvPr/>
          </p:nvSpPr>
          <p:spPr>
            <a:xfrm>
              <a:off x="3993661" y="1353684"/>
              <a:ext cx="2497799" cy="460915"/>
            </a:xfrm>
            <a:prstGeom prst="rect">
              <a:avLst/>
            </a:prstGeom>
          </p:spPr>
          <p:txBody>
            <a:bodyPr vert="horz" wrap="square" lIns="0" tIns="11766" rIns="0" bIns="0" rtlCol="0">
              <a:spAutoFit/>
            </a:bodyPr>
            <a:lstStyle/>
            <a:p>
              <a:pPr marL="11206">
                <a:spcBef>
                  <a:spcPts val="93"/>
                </a:spcBef>
              </a:pPr>
              <a:r>
                <a:rPr sz="1324" b="1" spc="71" dirty="0">
                  <a:solidFill>
                    <a:srgbClr val="252423"/>
                  </a:solidFill>
                  <a:latin typeface="Arial Narrow"/>
                  <a:cs typeface="Arial Narrow"/>
                </a:rPr>
                <a:t>Number </a:t>
              </a:r>
              <a:r>
                <a:rPr sz="1324" b="1" spc="49" dirty="0">
                  <a:solidFill>
                    <a:srgbClr val="252423"/>
                  </a:solidFill>
                  <a:latin typeface="Arial Narrow"/>
                  <a:cs typeface="Arial Narrow"/>
                </a:rPr>
                <a:t>of </a:t>
              </a:r>
              <a:r>
                <a:rPr sz="1324" b="1" spc="57" dirty="0">
                  <a:solidFill>
                    <a:srgbClr val="252423"/>
                  </a:solidFill>
                  <a:latin typeface="Arial Narrow"/>
                  <a:cs typeface="Arial Narrow"/>
                </a:rPr>
                <a:t>Reviews </a:t>
              </a:r>
              <a:r>
                <a:rPr sz="1324" b="1" spc="71" dirty="0">
                  <a:solidFill>
                    <a:srgbClr val="252423"/>
                  </a:solidFill>
                  <a:latin typeface="Arial Narrow"/>
                  <a:cs typeface="Arial Narrow"/>
                </a:rPr>
                <a:t>per</a:t>
              </a:r>
              <a:r>
                <a:rPr sz="1324" b="1" spc="-172" dirty="0">
                  <a:solidFill>
                    <a:srgbClr val="252423"/>
                  </a:solidFill>
                  <a:latin typeface="Arial Narrow"/>
                  <a:cs typeface="Arial Narrow"/>
                </a:rPr>
                <a:t> </a:t>
              </a:r>
              <a:r>
                <a:rPr sz="1324" b="1" spc="40" dirty="0">
                  <a:solidFill>
                    <a:srgbClr val="252423"/>
                  </a:solidFill>
                  <a:latin typeface="Arial Narrow"/>
                  <a:cs typeface="Arial Narrow"/>
                </a:rPr>
                <a:t>Rating</a:t>
              </a:r>
              <a:endParaRPr sz="1324" b="1" dirty="0">
                <a:latin typeface="Arial Narrow"/>
                <a:cs typeface="Arial Narrow"/>
              </a:endParaRPr>
            </a:p>
            <a:p>
              <a:pPr marL="547997">
                <a:spcBef>
                  <a:spcPts val="799"/>
                </a:spcBef>
                <a:tabLst>
                  <a:tab pos="1278659" algn="l"/>
                </a:tabLst>
              </a:pPr>
              <a:r>
                <a:rPr sz="927" spc="9" dirty="0">
                  <a:solidFill>
                    <a:srgbClr val="605D5C"/>
                  </a:solidFill>
                  <a:latin typeface="Segoe UI"/>
                  <a:cs typeface="Segoe UI"/>
                </a:rPr>
                <a:t>Not Useful	Useful</a:t>
              </a:r>
              <a:endParaRPr sz="927" dirty="0">
                <a:latin typeface="Segoe UI"/>
                <a:cs typeface="Segoe UI"/>
              </a:endParaRPr>
            </a:p>
          </p:txBody>
        </p:sp>
        <p:pic>
          <p:nvPicPr>
            <p:cNvPr id="477" name="Picture 47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711736" y="1824944"/>
              <a:ext cx="2843566" cy="1657591"/>
            </a:xfrm>
            <a:prstGeom prst="rect">
              <a:avLst/>
            </a:prstGeom>
          </p:spPr>
        </p:pic>
      </p:grpSp>
      <p:sp>
        <p:nvSpPr>
          <p:cNvPr id="478" name="Rounded Rectangle 477"/>
          <p:cNvSpPr/>
          <p:nvPr/>
        </p:nvSpPr>
        <p:spPr>
          <a:xfrm>
            <a:off x="368476" y="1919639"/>
            <a:ext cx="2651760" cy="1058706"/>
          </a:xfrm>
          <a:prstGeom prst="roundRect">
            <a:avLst/>
          </a:prstGeom>
          <a:solidFill>
            <a:srgbClr val="FFB618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erage Word Cou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seful reviews: 18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useful reviews: 52</a:t>
            </a: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98F5A9D-D227-4583-B87A-A1448B30007F}"/>
              </a:ext>
            </a:extLst>
          </p:cNvPr>
          <p:cNvGrpSpPr/>
          <p:nvPr/>
        </p:nvGrpSpPr>
        <p:grpSpPr>
          <a:xfrm>
            <a:off x="4210149" y="177907"/>
            <a:ext cx="2373835" cy="651351"/>
            <a:chOff x="9138521" y="167673"/>
            <a:chExt cx="2373835" cy="651351"/>
          </a:xfrm>
        </p:grpSpPr>
        <p:sp>
          <p:nvSpPr>
            <p:cNvPr id="152" name="object 2">
              <a:extLst>
                <a:ext uri="{FF2B5EF4-FFF2-40B4-BE49-F238E27FC236}">
                  <a16:creationId xmlns:a16="http://schemas.microsoft.com/office/drawing/2014/main" id="{96F79770-77DF-4868-9AE7-3BCD94F00E2D}"/>
                </a:ext>
              </a:extLst>
            </p:cNvPr>
            <p:cNvSpPr txBox="1"/>
            <p:nvPr/>
          </p:nvSpPr>
          <p:spPr>
            <a:xfrm>
              <a:off x="9138521" y="167673"/>
              <a:ext cx="1553301" cy="228455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lang="en-US" sz="1400" b="1" dirty="0">
                  <a:solidFill>
                    <a:srgbClr val="252423"/>
                  </a:solidFill>
                  <a:cs typeface="Arial Black"/>
                </a:rPr>
                <a:t>Review Category</a:t>
              </a:r>
            </a:p>
          </p:txBody>
        </p: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CC843838-8489-4BD2-94AF-0EAF943DD794}"/>
                </a:ext>
              </a:extLst>
            </p:cNvPr>
            <p:cNvGrpSpPr/>
            <p:nvPr/>
          </p:nvGrpSpPr>
          <p:grpSpPr>
            <a:xfrm>
              <a:off x="9147770" y="420493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160" name="Rectangle: Rounded Corners 159">
                <a:extLst>
                  <a:ext uri="{FF2B5EF4-FFF2-40B4-BE49-F238E27FC236}">
                    <a16:creationId xmlns:a16="http://schemas.microsoft.com/office/drawing/2014/main" id="{E8D492D3-C29D-4F9F-92F6-9D066603C199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1" name="Rectangle: Rounded Corners 4">
                <a:extLst>
                  <a:ext uri="{FF2B5EF4-FFF2-40B4-BE49-F238E27FC236}">
                    <a16:creationId xmlns:a16="http://schemas.microsoft.com/office/drawing/2014/main" id="{511D7415-AACB-4936-A9DF-3F366D3CB50B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grp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Books</a:t>
                </a:r>
              </a:p>
            </p:txBody>
          </p:sp>
        </p:grpSp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67E445BB-77C5-4AA3-B9FF-209C2FB3FDF4}"/>
                </a:ext>
              </a:extLst>
            </p:cNvPr>
            <p:cNvGrpSpPr/>
            <p:nvPr/>
          </p:nvGrpSpPr>
          <p:grpSpPr>
            <a:xfrm>
              <a:off x="9946109" y="423737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158" name="Rectangle: Rounded Corners 157">
                <a:extLst>
                  <a:ext uri="{FF2B5EF4-FFF2-40B4-BE49-F238E27FC236}">
                    <a16:creationId xmlns:a16="http://schemas.microsoft.com/office/drawing/2014/main" id="{319C1F6B-4A6F-46BF-8E04-AABC4F7F41C6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9" name="Rectangle: Rounded Corners 4">
                <a:extLst>
                  <a:ext uri="{FF2B5EF4-FFF2-40B4-BE49-F238E27FC236}">
                    <a16:creationId xmlns:a16="http://schemas.microsoft.com/office/drawing/2014/main" id="{FE152550-AFE2-4257-8C16-963798EA7F7F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grp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Home &amp; Kitchen</a:t>
                </a:r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C099253A-F493-44E4-A3AB-5A80BE956994}"/>
                </a:ext>
              </a:extLst>
            </p:cNvPr>
            <p:cNvGrpSpPr/>
            <p:nvPr/>
          </p:nvGrpSpPr>
          <p:grpSpPr>
            <a:xfrm>
              <a:off x="10744260" y="427942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156" name="Rectangle: Rounded Corners 155">
                <a:extLst>
                  <a:ext uri="{FF2B5EF4-FFF2-40B4-BE49-F238E27FC236}">
                    <a16:creationId xmlns:a16="http://schemas.microsoft.com/office/drawing/2014/main" id="{7F1BF725-9AB0-4E43-94DC-5AC91C156AA6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7" name="Rectangle: Rounded Corners 4">
                <a:extLst>
                  <a:ext uri="{FF2B5EF4-FFF2-40B4-BE49-F238E27FC236}">
                    <a16:creationId xmlns:a16="http://schemas.microsoft.com/office/drawing/2014/main" id="{809D5E83-CD6E-4B62-AD5E-14172918E97F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grp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Video games</a:t>
                </a:r>
              </a:p>
            </p:txBody>
          </p:sp>
        </p:grpSp>
      </p:grpSp>
      <p:pic>
        <p:nvPicPr>
          <p:cNvPr id="5" name="Picture 2" descr="See the source image">
            <a:extLst>
              <a:ext uri="{FF2B5EF4-FFF2-40B4-BE49-F238E27FC236}">
                <a16:creationId xmlns:a16="http://schemas.microsoft.com/office/drawing/2014/main" id="{35982587-D98E-4E38-B6D2-6AC8528C93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2326" y="6368743"/>
            <a:ext cx="1620969" cy="52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3E4E23-4F02-4196-BB52-B1170E7D1B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4731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4;p24">
            <a:extLst>
              <a:ext uri="{FF2B5EF4-FFF2-40B4-BE49-F238E27FC236}">
                <a16:creationId xmlns:a16="http://schemas.microsoft.com/office/drawing/2014/main" id="{6D720DCE-DADA-4513-AEF8-ED2CEEE5B144}"/>
              </a:ext>
            </a:extLst>
          </p:cNvPr>
          <p:cNvSpPr/>
          <p:nvPr/>
        </p:nvSpPr>
        <p:spPr>
          <a:xfrm rot="5400000">
            <a:off x="5841948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BF08B8-0E4B-45E3-B535-E1E8EF6801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199" y="376389"/>
            <a:ext cx="3028751" cy="47942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MODELLING JOURNEY</a:t>
            </a:r>
          </a:p>
        </p:txBody>
      </p:sp>
      <p:cxnSp>
        <p:nvCxnSpPr>
          <p:cNvPr id="5" name="Google Shape;1480;p34">
            <a:extLst>
              <a:ext uri="{FF2B5EF4-FFF2-40B4-BE49-F238E27FC236}">
                <a16:creationId xmlns:a16="http://schemas.microsoft.com/office/drawing/2014/main" id="{14EFF2B7-7D92-43F7-A19E-0251EDFF2496}"/>
              </a:ext>
            </a:extLst>
          </p:cNvPr>
          <p:cNvCxnSpPr>
            <a:cxnSpLocks/>
          </p:cNvCxnSpPr>
          <p:nvPr/>
        </p:nvCxnSpPr>
        <p:spPr>
          <a:xfrm>
            <a:off x="359900" y="598413"/>
            <a:ext cx="114505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" name="Google Shape;1480;p34">
            <a:extLst>
              <a:ext uri="{FF2B5EF4-FFF2-40B4-BE49-F238E27FC236}">
                <a16:creationId xmlns:a16="http://schemas.microsoft.com/office/drawing/2014/main" id="{5155CBDE-CC77-49F0-B728-8D53A1568E3A}"/>
              </a:ext>
            </a:extLst>
          </p:cNvPr>
          <p:cNvCxnSpPr>
            <a:cxnSpLocks/>
          </p:cNvCxnSpPr>
          <p:nvPr/>
        </p:nvCxnSpPr>
        <p:spPr>
          <a:xfrm flipV="1">
            <a:off x="4467225" y="540965"/>
            <a:ext cx="7439025" cy="57448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Picture 2" descr="See the source image">
            <a:extLst>
              <a:ext uri="{FF2B5EF4-FFF2-40B4-BE49-F238E27FC236}">
                <a16:creationId xmlns:a16="http://schemas.microsoft.com/office/drawing/2014/main" id="{304CED2F-CE68-4842-8857-4140CC12DA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520" y="6288162"/>
            <a:ext cx="1766940" cy="569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F156C309-9A6B-4E25-A501-BE8CC9C6E23D}"/>
              </a:ext>
            </a:extLst>
          </p:cNvPr>
          <p:cNvGrpSpPr/>
          <p:nvPr/>
        </p:nvGrpSpPr>
        <p:grpSpPr>
          <a:xfrm>
            <a:off x="2745283" y="2349045"/>
            <a:ext cx="2863356" cy="4031449"/>
            <a:chOff x="2745283" y="2349045"/>
            <a:chExt cx="2863356" cy="4031449"/>
          </a:xfrm>
        </p:grpSpPr>
        <p:sp>
          <p:nvSpPr>
            <p:cNvPr id="23" name="Shape">
              <a:extLst>
                <a:ext uri="{FF2B5EF4-FFF2-40B4-BE49-F238E27FC236}">
                  <a16:creationId xmlns:a16="http://schemas.microsoft.com/office/drawing/2014/main" id="{75E5AFB2-506F-445C-B91B-AADF83E3442C}"/>
                </a:ext>
              </a:extLst>
            </p:cNvPr>
            <p:cNvSpPr/>
            <p:nvPr/>
          </p:nvSpPr>
          <p:spPr>
            <a:xfrm>
              <a:off x="3769091" y="2349045"/>
              <a:ext cx="1839548" cy="262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21" h="21600" extrusionOk="0">
                  <a:moveTo>
                    <a:pt x="0" y="0"/>
                  </a:moveTo>
                  <a:lnTo>
                    <a:pt x="6872" y="0"/>
                  </a:lnTo>
                  <a:lnTo>
                    <a:pt x="20884" y="9907"/>
                  </a:lnTo>
                  <a:cubicBezTo>
                    <a:pt x="21600" y="10414"/>
                    <a:pt x="21600" y="11238"/>
                    <a:pt x="20884" y="11744"/>
                  </a:cubicBezTo>
                  <a:lnTo>
                    <a:pt x="6945" y="21600"/>
                  </a:lnTo>
                  <a:lnTo>
                    <a:pt x="73" y="21600"/>
                  </a:lnTo>
                  <a:lnTo>
                    <a:pt x="14011" y="11744"/>
                  </a:lnTo>
                  <a:cubicBezTo>
                    <a:pt x="14728" y="11238"/>
                    <a:pt x="14728" y="10414"/>
                    <a:pt x="14011" y="990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sz="2800" dirty="0"/>
            </a:p>
          </p:txBody>
        </p:sp>
        <p:sp>
          <p:nvSpPr>
            <p:cNvPr id="24" name="Shape">
              <a:extLst>
                <a:ext uri="{FF2B5EF4-FFF2-40B4-BE49-F238E27FC236}">
                  <a16:creationId xmlns:a16="http://schemas.microsoft.com/office/drawing/2014/main" id="{9E53F67A-2E6C-4F2A-A614-731560BC33EC}"/>
                </a:ext>
              </a:extLst>
            </p:cNvPr>
            <p:cNvSpPr/>
            <p:nvPr/>
          </p:nvSpPr>
          <p:spPr>
            <a:xfrm>
              <a:off x="3409755" y="4579333"/>
              <a:ext cx="957181" cy="3930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8847" y="0"/>
                  </a:lnTo>
                  <a:lnTo>
                    <a:pt x="17153" y="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algn="ctr"/>
              <a:r>
                <a:rPr lang="fr-CA" b="1" dirty="0">
                  <a:solidFill>
                    <a:schemeClr val="bg1"/>
                  </a:solidFill>
                </a:rPr>
                <a:t>02</a:t>
              </a:r>
              <a:endParaRPr b="1" dirty="0">
                <a:solidFill>
                  <a:schemeClr val="bg1"/>
                </a:solidFill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EAFB417-7D12-4428-8660-D0CEBAAA8DA7}"/>
                </a:ext>
              </a:extLst>
            </p:cNvPr>
            <p:cNvGrpSpPr/>
            <p:nvPr/>
          </p:nvGrpSpPr>
          <p:grpSpPr>
            <a:xfrm>
              <a:off x="2745283" y="5182376"/>
              <a:ext cx="2365731" cy="1198118"/>
              <a:chOff x="332935" y="2669770"/>
              <a:chExt cx="3304825" cy="1361394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F9EA206E-6FC2-432D-9B02-1E4611EA41E0}"/>
                  </a:ext>
                </a:extLst>
              </p:cNvPr>
              <p:cNvSpPr txBox="1"/>
              <p:nvPr/>
            </p:nvSpPr>
            <p:spPr>
              <a:xfrm>
                <a:off x="332936" y="2669770"/>
                <a:ext cx="2926081" cy="419664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r>
                  <a:rPr lang="en-US" b="1" noProof="1"/>
                  <a:t>Sampling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66D1D1C0-48F9-487A-BC20-634FB29E8B81}"/>
                  </a:ext>
                </a:extLst>
              </p:cNvPr>
              <p:cNvSpPr txBox="1"/>
              <p:nvPr/>
            </p:nvSpPr>
            <p:spPr>
              <a:xfrm>
                <a:off x="332935" y="3086921"/>
                <a:ext cx="3304825" cy="944243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Random undersampling</a:t>
                </a:r>
              </a:p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Stratified undersampling</a:t>
                </a:r>
              </a:p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Classweight column</a:t>
                </a:r>
              </a:p>
            </p:txBody>
          </p: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0E6EADED-8FAF-4432-BA51-3A668516FCA3}"/>
              </a:ext>
            </a:extLst>
          </p:cNvPr>
          <p:cNvGrpSpPr/>
          <p:nvPr/>
        </p:nvGrpSpPr>
        <p:grpSpPr>
          <a:xfrm>
            <a:off x="5899765" y="2349043"/>
            <a:ext cx="2655823" cy="4425655"/>
            <a:chOff x="5899765" y="2349043"/>
            <a:chExt cx="2655823" cy="4425655"/>
          </a:xfrm>
        </p:grpSpPr>
        <p:sp>
          <p:nvSpPr>
            <p:cNvPr id="19" name="Shape">
              <a:extLst>
                <a:ext uri="{FF2B5EF4-FFF2-40B4-BE49-F238E27FC236}">
                  <a16:creationId xmlns:a16="http://schemas.microsoft.com/office/drawing/2014/main" id="{E7F5A2CB-8DFE-4498-AF7F-C6B2072E7E52}"/>
                </a:ext>
              </a:extLst>
            </p:cNvPr>
            <p:cNvSpPr/>
            <p:nvPr/>
          </p:nvSpPr>
          <p:spPr>
            <a:xfrm>
              <a:off x="6542489" y="2349043"/>
              <a:ext cx="1839548" cy="262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21" h="21600" extrusionOk="0">
                  <a:moveTo>
                    <a:pt x="0" y="0"/>
                  </a:moveTo>
                  <a:lnTo>
                    <a:pt x="6872" y="0"/>
                  </a:lnTo>
                  <a:lnTo>
                    <a:pt x="20884" y="9907"/>
                  </a:lnTo>
                  <a:cubicBezTo>
                    <a:pt x="21600" y="10414"/>
                    <a:pt x="21600" y="11238"/>
                    <a:pt x="20884" y="11744"/>
                  </a:cubicBezTo>
                  <a:lnTo>
                    <a:pt x="6945" y="21600"/>
                  </a:lnTo>
                  <a:lnTo>
                    <a:pt x="73" y="21600"/>
                  </a:lnTo>
                  <a:lnTo>
                    <a:pt x="14011" y="11744"/>
                  </a:lnTo>
                  <a:cubicBezTo>
                    <a:pt x="14728" y="11238"/>
                    <a:pt x="14728" y="10414"/>
                    <a:pt x="14011" y="990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sz="2800" dirty="0"/>
            </a:p>
          </p:txBody>
        </p:sp>
        <p:sp>
          <p:nvSpPr>
            <p:cNvPr id="20" name="Shape">
              <a:extLst>
                <a:ext uri="{FF2B5EF4-FFF2-40B4-BE49-F238E27FC236}">
                  <a16:creationId xmlns:a16="http://schemas.microsoft.com/office/drawing/2014/main" id="{80E6A7E2-3CF2-400C-AAA0-7476D2C3A7D8}"/>
                </a:ext>
              </a:extLst>
            </p:cNvPr>
            <p:cNvSpPr/>
            <p:nvPr/>
          </p:nvSpPr>
          <p:spPr>
            <a:xfrm>
              <a:off x="6179768" y="4579331"/>
              <a:ext cx="957181" cy="3930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8847" y="0"/>
                  </a:lnTo>
                  <a:lnTo>
                    <a:pt x="17176" y="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algn="ctr"/>
              <a:r>
                <a:rPr lang="fr-CA" b="1" dirty="0">
                  <a:solidFill>
                    <a:schemeClr val="bg1"/>
                  </a:solidFill>
                </a:rPr>
                <a:t>04</a:t>
              </a:r>
              <a:endParaRPr b="1" dirty="0">
                <a:solidFill>
                  <a:schemeClr val="bg1"/>
                </a:solidFill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5418E4C1-FD42-462D-BC99-3274F3F379A3}"/>
                </a:ext>
              </a:extLst>
            </p:cNvPr>
            <p:cNvGrpSpPr/>
            <p:nvPr/>
          </p:nvGrpSpPr>
          <p:grpSpPr>
            <a:xfrm>
              <a:off x="5899765" y="5084135"/>
              <a:ext cx="2655823" cy="1690563"/>
              <a:chOff x="332936" y="2669768"/>
              <a:chExt cx="2975111" cy="1920949"/>
            </a:xfrm>
          </p:grpSpPr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5407A9F8-8DDB-465B-98DC-A23E8EDF00ED}"/>
                  </a:ext>
                </a:extLst>
              </p:cNvPr>
              <p:cNvSpPr txBox="1"/>
              <p:nvPr/>
            </p:nvSpPr>
            <p:spPr>
              <a:xfrm>
                <a:off x="332936" y="2669768"/>
                <a:ext cx="2926081" cy="419664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r>
                  <a:rPr lang="en-US" b="1" noProof="1"/>
                  <a:t>Training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E2A3BE6E-4187-4643-86D0-AACBA1B7DA4E}"/>
                  </a:ext>
                </a:extLst>
              </p:cNvPr>
              <p:cNvSpPr txBox="1"/>
              <p:nvPr/>
            </p:nvSpPr>
            <p:spPr>
              <a:xfrm>
                <a:off x="332936" y="3086923"/>
                <a:ext cx="2975111" cy="1503794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Logistic Regression</a:t>
                </a:r>
              </a:p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Gradient Boosting Trees</a:t>
                </a:r>
              </a:p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Support Vector Classifier</a:t>
                </a:r>
              </a:p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Random Forest</a:t>
                </a:r>
              </a:p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Naïve Bayes</a:t>
                </a:r>
              </a:p>
            </p:txBody>
          </p: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F705458-C3B1-4487-8F9F-86CC11CEF76F}"/>
              </a:ext>
            </a:extLst>
          </p:cNvPr>
          <p:cNvGrpSpPr/>
          <p:nvPr/>
        </p:nvGrpSpPr>
        <p:grpSpPr>
          <a:xfrm>
            <a:off x="8574953" y="4600333"/>
            <a:ext cx="3352278" cy="1917884"/>
            <a:chOff x="8574953" y="4600333"/>
            <a:chExt cx="3352278" cy="1917884"/>
          </a:xfrm>
        </p:grpSpPr>
        <p:sp>
          <p:nvSpPr>
            <p:cNvPr id="16" name="Shape">
              <a:extLst>
                <a:ext uri="{FF2B5EF4-FFF2-40B4-BE49-F238E27FC236}">
                  <a16:creationId xmlns:a16="http://schemas.microsoft.com/office/drawing/2014/main" id="{AB4A3DE9-4214-4730-A3A9-991D43B59240}"/>
                </a:ext>
              </a:extLst>
            </p:cNvPr>
            <p:cNvSpPr/>
            <p:nvPr/>
          </p:nvSpPr>
          <p:spPr>
            <a:xfrm>
              <a:off x="8574953" y="4600333"/>
              <a:ext cx="957181" cy="3930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8871" y="0"/>
                  </a:lnTo>
                  <a:lnTo>
                    <a:pt x="17176" y="0"/>
                  </a:lnTo>
                  <a:cubicBezTo>
                    <a:pt x="19623" y="0"/>
                    <a:pt x="21600" y="4813"/>
                    <a:pt x="21600" y="10771"/>
                  </a:cubicBezTo>
                  <a:lnTo>
                    <a:pt x="21600" y="10771"/>
                  </a:lnTo>
                  <a:cubicBezTo>
                    <a:pt x="21600" y="16730"/>
                    <a:pt x="19624" y="21543"/>
                    <a:pt x="17176" y="21543"/>
                  </a:cubicBezTo>
                  <a:lnTo>
                    <a:pt x="0" y="21543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algn="ctr"/>
              <a:r>
                <a:rPr lang="fr-CA" b="1" dirty="0">
                  <a:solidFill>
                    <a:schemeClr val="bg1"/>
                  </a:solidFill>
                </a:rPr>
                <a:t>06</a:t>
              </a:r>
              <a:endParaRPr b="1" dirty="0">
                <a:solidFill>
                  <a:schemeClr val="bg1"/>
                </a:solidFill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1F71F4C-E020-4582-9E9F-172A9293B9E3}"/>
                </a:ext>
              </a:extLst>
            </p:cNvPr>
            <p:cNvGrpSpPr/>
            <p:nvPr/>
          </p:nvGrpSpPr>
          <p:grpSpPr>
            <a:xfrm>
              <a:off x="9141141" y="4796878"/>
              <a:ext cx="2786090" cy="1721339"/>
              <a:chOff x="332936" y="2355022"/>
              <a:chExt cx="4012903" cy="1955917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7FFB5F78-7954-4576-9B86-B940AF80FD10}"/>
                  </a:ext>
                </a:extLst>
              </p:cNvPr>
              <p:cNvSpPr txBox="1"/>
              <p:nvPr/>
            </p:nvSpPr>
            <p:spPr>
              <a:xfrm>
                <a:off x="332936" y="2355022"/>
                <a:ext cx="3333040" cy="734410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r>
                  <a:rPr lang="en-US" b="1" noProof="1"/>
                  <a:t>Prediction on test 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DEE01452-ABEB-4477-AC9E-D044156E3729}"/>
                  </a:ext>
                </a:extLst>
              </p:cNvPr>
              <p:cNvSpPr txBox="1"/>
              <p:nvPr/>
            </p:nvSpPr>
            <p:spPr>
              <a:xfrm>
                <a:off x="332936" y="3086921"/>
                <a:ext cx="4012903" cy="1224018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Run same pipeline on test.</a:t>
                </a:r>
              </a:p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Run same LDA model on test</a:t>
                </a:r>
              </a:p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Submission to Kaggle</a:t>
                </a:r>
              </a:p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Repeat!!!</a:t>
                </a:r>
              </a:p>
            </p:txBody>
          </p:sp>
        </p:grp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E5E1F8D-38EA-4E23-889A-3B832CF46C83}"/>
              </a:ext>
            </a:extLst>
          </p:cNvPr>
          <p:cNvGrpSpPr/>
          <p:nvPr/>
        </p:nvGrpSpPr>
        <p:grpSpPr>
          <a:xfrm>
            <a:off x="465791" y="1195039"/>
            <a:ext cx="3776664" cy="3777390"/>
            <a:chOff x="465791" y="1195039"/>
            <a:chExt cx="3776664" cy="3777390"/>
          </a:xfrm>
        </p:grpSpPr>
        <p:sp>
          <p:nvSpPr>
            <p:cNvPr id="25" name="Shape">
              <a:extLst>
                <a:ext uri="{FF2B5EF4-FFF2-40B4-BE49-F238E27FC236}">
                  <a16:creationId xmlns:a16="http://schemas.microsoft.com/office/drawing/2014/main" id="{C5968A3E-A23A-4439-BEB2-0BB326CAF894}"/>
                </a:ext>
              </a:extLst>
            </p:cNvPr>
            <p:cNvSpPr/>
            <p:nvPr/>
          </p:nvSpPr>
          <p:spPr>
            <a:xfrm>
              <a:off x="2412068" y="2349048"/>
              <a:ext cx="1830387" cy="262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21" h="21600" extrusionOk="0">
                  <a:moveTo>
                    <a:pt x="0" y="0"/>
                  </a:moveTo>
                  <a:lnTo>
                    <a:pt x="6872" y="0"/>
                  </a:lnTo>
                  <a:lnTo>
                    <a:pt x="20884" y="9907"/>
                  </a:lnTo>
                  <a:cubicBezTo>
                    <a:pt x="21600" y="10414"/>
                    <a:pt x="21600" y="11238"/>
                    <a:pt x="20884" y="11744"/>
                  </a:cubicBezTo>
                  <a:lnTo>
                    <a:pt x="6945" y="21600"/>
                  </a:lnTo>
                  <a:lnTo>
                    <a:pt x="73" y="21600"/>
                  </a:lnTo>
                  <a:lnTo>
                    <a:pt x="14011" y="11744"/>
                  </a:lnTo>
                  <a:cubicBezTo>
                    <a:pt x="14728" y="11238"/>
                    <a:pt x="14728" y="10414"/>
                    <a:pt x="14011" y="990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8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sz="2800" dirty="0"/>
            </a:p>
          </p:txBody>
        </p:sp>
        <p:sp>
          <p:nvSpPr>
            <p:cNvPr id="26" name="Shape">
              <a:extLst>
                <a:ext uri="{FF2B5EF4-FFF2-40B4-BE49-F238E27FC236}">
                  <a16:creationId xmlns:a16="http://schemas.microsoft.com/office/drawing/2014/main" id="{9A689522-E95C-407B-9213-7FC3CAE1EC60}"/>
                </a:ext>
              </a:extLst>
            </p:cNvPr>
            <p:cNvSpPr/>
            <p:nvPr/>
          </p:nvSpPr>
          <p:spPr>
            <a:xfrm>
              <a:off x="2043902" y="2348004"/>
              <a:ext cx="958223" cy="3993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4" extrusionOk="0">
                  <a:moveTo>
                    <a:pt x="0" y="10800"/>
                  </a:moveTo>
                  <a:lnTo>
                    <a:pt x="0" y="10800"/>
                  </a:lnTo>
                  <a:cubicBezTo>
                    <a:pt x="0" y="4837"/>
                    <a:pt x="2021" y="0"/>
                    <a:pt x="4513" y="0"/>
                  </a:cubicBezTo>
                  <a:lnTo>
                    <a:pt x="21600" y="0"/>
                  </a:lnTo>
                  <a:lnTo>
                    <a:pt x="17322" y="21544"/>
                  </a:lnTo>
                  <a:lnTo>
                    <a:pt x="4513" y="21544"/>
                  </a:lnTo>
                  <a:cubicBezTo>
                    <a:pt x="2021" y="21600"/>
                    <a:pt x="0" y="16763"/>
                    <a:pt x="0" y="10800"/>
                  </a:cubicBezTo>
                  <a:close/>
                </a:path>
              </a:pathLst>
            </a:custGeom>
            <a:solidFill>
              <a:srgbClr val="F6BA3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algn="ctr"/>
              <a:r>
                <a:rPr lang="fr-CA" b="1" dirty="0">
                  <a:solidFill>
                    <a:schemeClr val="bg1"/>
                  </a:solidFill>
                </a:rPr>
                <a:t>01</a:t>
              </a:r>
              <a:endParaRPr b="1" dirty="0">
                <a:solidFill>
                  <a:schemeClr val="bg1"/>
                </a:solidFill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D0FBB7D4-5FB5-4E0D-854D-46476A83DECB}"/>
                </a:ext>
              </a:extLst>
            </p:cNvPr>
            <p:cNvGrpSpPr/>
            <p:nvPr/>
          </p:nvGrpSpPr>
          <p:grpSpPr>
            <a:xfrm>
              <a:off x="465791" y="1195039"/>
              <a:ext cx="2235440" cy="1970290"/>
              <a:chOff x="414304" y="1855053"/>
              <a:chExt cx="2926082" cy="2238798"/>
            </a:xfrm>
          </p:grpSpPr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0EC2607E-37F6-4874-A94B-92E8CF37A9F3}"/>
                  </a:ext>
                </a:extLst>
              </p:cNvPr>
              <p:cNvSpPr txBox="1"/>
              <p:nvPr/>
            </p:nvSpPr>
            <p:spPr>
              <a:xfrm>
                <a:off x="414304" y="1855053"/>
                <a:ext cx="2926082" cy="734409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r>
                  <a:rPr lang="en-US" b="1" noProof="1"/>
                  <a:t>Feature Engineering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F33A1626-1164-4EA8-8604-DE421EF25110}"/>
                  </a:ext>
                </a:extLst>
              </p:cNvPr>
              <p:cNvSpPr txBox="1"/>
              <p:nvPr/>
            </p:nvSpPr>
            <p:spPr>
              <a:xfrm>
                <a:off x="414304" y="2590056"/>
                <a:ext cx="2161473" cy="1503795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Vectorization</a:t>
                </a:r>
              </a:p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Text Calculations</a:t>
                </a:r>
              </a:p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Topic Modelling</a:t>
                </a:r>
              </a:p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Features from non-text features</a:t>
                </a:r>
              </a:p>
            </p:txBody>
          </p:sp>
        </p:grp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97F5AA32-6685-4227-8976-AB50848B8AC0}"/>
              </a:ext>
            </a:extLst>
          </p:cNvPr>
          <p:cNvGrpSpPr/>
          <p:nvPr/>
        </p:nvGrpSpPr>
        <p:grpSpPr>
          <a:xfrm>
            <a:off x="4472641" y="1051367"/>
            <a:ext cx="2586236" cy="3931039"/>
            <a:chOff x="4472641" y="1051367"/>
            <a:chExt cx="2586236" cy="3931039"/>
          </a:xfrm>
        </p:grpSpPr>
        <p:sp>
          <p:nvSpPr>
            <p:cNvPr id="21" name="Shape">
              <a:extLst>
                <a:ext uri="{FF2B5EF4-FFF2-40B4-BE49-F238E27FC236}">
                  <a16:creationId xmlns:a16="http://schemas.microsoft.com/office/drawing/2014/main" id="{E7974E02-5923-4B70-90D8-015CFA4DD641}"/>
                </a:ext>
              </a:extLst>
            </p:cNvPr>
            <p:cNvSpPr/>
            <p:nvPr/>
          </p:nvSpPr>
          <p:spPr>
            <a:xfrm>
              <a:off x="5205133" y="2359025"/>
              <a:ext cx="1839548" cy="262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21" h="21600" extrusionOk="0">
                  <a:moveTo>
                    <a:pt x="0" y="0"/>
                  </a:moveTo>
                  <a:lnTo>
                    <a:pt x="6872" y="0"/>
                  </a:lnTo>
                  <a:lnTo>
                    <a:pt x="20884" y="9907"/>
                  </a:lnTo>
                  <a:cubicBezTo>
                    <a:pt x="21600" y="10414"/>
                    <a:pt x="21600" y="11238"/>
                    <a:pt x="20884" y="11744"/>
                  </a:cubicBezTo>
                  <a:lnTo>
                    <a:pt x="6945" y="21600"/>
                  </a:lnTo>
                  <a:lnTo>
                    <a:pt x="73" y="21600"/>
                  </a:lnTo>
                  <a:lnTo>
                    <a:pt x="14011" y="11744"/>
                  </a:lnTo>
                  <a:cubicBezTo>
                    <a:pt x="14728" y="11238"/>
                    <a:pt x="14728" y="10414"/>
                    <a:pt x="14011" y="990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8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sz="2800" dirty="0"/>
            </a:p>
          </p:txBody>
        </p:sp>
        <p:sp>
          <p:nvSpPr>
            <p:cNvPr id="22" name="Shape">
              <a:extLst>
                <a:ext uri="{FF2B5EF4-FFF2-40B4-BE49-F238E27FC236}">
                  <a16:creationId xmlns:a16="http://schemas.microsoft.com/office/drawing/2014/main" id="{A0206EF2-EE72-4119-9070-831B2C45B62B}"/>
                </a:ext>
              </a:extLst>
            </p:cNvPr>
            <p:cNvSpPr/>
            <p:nvPr/>
          </p:nvSpPr>
          <p:spPr>
            <a:xfrm>
              <a:off x="4832406" y="2357979"/>
              <a:ext cx="958223" cy="3993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002" y="21600"/>
                  </a:moveTo>
                  <a:lnTo>
                    <a:pt x="0" y="0"/>
                  </a:lnTo>
                  <a:lnTo>
                    <a:pt x="21600" y="0"/>
                  </a:lnTo>
                  <a:lnTo>
                    <a:pt x="17299" y="21600"/>
                  </a:lnTo>
                  <a:close/>
                </a:path>
              </a:pathLst>
            </a:custGeom>
            <a:solidFill>
              <a:srgbClr val="F6BA3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algn="ctr"/>
              <a:r>
                <a:rPr lang="fr-CA" b="1" dirty="0">
                  <a:solidFill>
                    <a:schemeClr val="bg1"/>
                  </a:solidFill>
                </a:rPr>
                <a:t>03</a:t>
              </a:r>
              <a:endParaRPr b="1" dirty="0">
                <a:solidFill>
                  <a:schemeClr val="bg1"/>
                </a:solidFill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92EB072B-1DDC-4402-97CD-F9E982A3EA8A}"/>
                </a:ext>
              </a:extLst>
            </p:cNvPr>
            <p:cNvGrpSpPr/>
            <p:nvPr/>
          </p:nvGrpSpPr>
          <p:grpSpPr>
            <a:xfrm>
              <a:off x="4472641" y="1051367"/>
              <a:ext cx="2586236" cy="1228900"/>
              <a:chOff x="332936" y="2355016"/>
              <a:chExt cx="4408689" cy="1396374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DB358D22-8D87-4CE7-B04B-3957FE80F623}"/>
                  </a:ext>
                </a:extLst>
              </p:cNvPr>
              <p:cNvSpPr txBox="1"/>
              <p:nvPr/>
            </p:nvSpPr>
            <p:spPr>
              <a:xfrm>
                <a:off x="332936" y="2355016"/>
                <a:ext cx="2926081" cy="734413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r>
                  <a:rPr lang="en-US" b="1" noProof="1"/>
                  <a:t>Feature Selection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22B21E56-433A-448F-9748-F8CEDBBC699B}"/>
                  </a:ext>
                </a:extLst>
              </p:cNvPr>
              <p:cNvSpPr txBox="1"/>
              <p:nvPr/>
            </p:nvSpPr>
            <p:spPr>
              <a:xfrm>
                <a:off x="332936" y="3086922"/>
                <a:ext cx="4408689" cy="664468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Different vector assembler for each model</a:t>
                </a:r>
              </a:p>
            </p:txBody>
          </p: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E23F1F4-A110-4974-BFE3-1C1C3285CC37}"/>
              </a:ext>
            </a:extLst>
          </p:cNvPr>
          <p:cNvGrpSpPr/>
          <p:nvPr/>
        </p:nvGrpSpPr>
        <p:grpSpPr>
          <a:xfrm>
            <a:off x="7613596" y="1329577"/>
            <a:ext cx="4822919" cy="3667586"/>
            <a:chOff x="7613596" y="1329577"/>
            <a:chExt cx="4822919" cy="3667586"/>
          </a:xfrm>
        </p:grpSpPr>
        <p:sp>
          <p:nvSpPr>
            <p:cNvPr id="17" name="Shape">
              <a:extLst>
                <a:ext uri="{FF2B5EF4-FFF2-40B4-BE49-F238E27FC236}">
                  <a16:creationId xmlns:a16="http://schemas.microsoft.com/office/drawing/2014/main" id="{385C9A8F-527E-40CF-9B99-7C1A8F7527AE}"/>
                </a:ext>
              </a:extLst>
            </p:cNvPr>
            <p:cNvSpPr/>
            <p:nvPr/>
          </p:nvSpPr>
          <p:spPr>
            <a:xfrm>
              <a:off x="7978531" y="2373782"/>
              <a:ext cx="1839548" cy="262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21" h="21600" extrusionOk="0">
                  <a:moveTo>
                    <a:pt x="0" y="0"/>
                  </a:moveTo>
                  <a:lnTo>
                    <a:pt x="6872" y="0"/>
                  </a:lnTo>
                  <a:lnTo>
                    <a:pt x="20884" y="9907"/>
                  </a:lnTo>
                  <a:cubicBezTo>
                    <a:pt x="21600" y="10414"/>
                    <a:pt x="21600" y="11238"/>
                    <a:pt x="20884" y="11744"/>
                  </a:cubicBezTo>
                  <a:lnTo>
                    <a:pt x="6945" y="21600"/>
                  </a:lnTo>
                  <a:lnTo>
                    <a:pt x="73" y="21600"/>
                  </a:lnTo>
                  <a:lnTo>
                    <a:pt x="14011" y="11744"/>
                  </a:lnTo>
                  <a:cubicBezTo>
                    <a:pt x="14728" y="11238"/>
                    <a:pt x="14728" y="10414"/>
                    <a:pt x="14011" y="990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8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</a:defRPr>
              </a:pPr>
              <a:endParaRPr sz="2800" dirty="0"/>
            </a:p>
          </p:txBody>
        </p:sp>
        <p:sp>
          <p:nvSpPr>
            <p:cNvPr id="18" name="Shape">
              <a:extLst>
                <a:ext uri="{FF2B5EF4-FFF2-40B4-BE49-F238E27FC236}">
                  <a16:creationId xmlns:a16="http://schemas.microsoft.com/office/drawing/2014/main" id="{D1F46257-611E-4E80-9550-978487C8E7CA}"/>
                </a:ext>
              </a:extLst>
            </p:cNvPr>
            <p:cNvSpPr/>
            <p:nvPr/>
          </p:nvSpPr>
          <p:spPr>
            <a:xfrm>
              <a:off x="7613596" y="2372736"/>
              <a:ext cx="958225" cy="3993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025" y="21600"/>
                  </a:moveTo>
                  <a:lnTo>
                    <a:pt x="0" y="0"/>
                  </a:lnTo>
                  <a:lnTo>
                    <a:pt x="21600" y="0"/>
                  </a:lnTo>
                  <a:lnTo>
                    <a:pt x="17322" y="21600"/>
                  </a:lnTo>
                  <a:close/>
                </a:path>
              </a:pathLst>
            </a:custGeom>
            <a:solidFill>
              <a:srgbClr val="F6BA3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algn="ctr"/>
              <a:r>
                <a:rPr lang="fr-CA" b="1" dirty="0">
                  <a:solidFill>
                    <a:schemeClr val="bg1"/>
                  </a:solidFill>
                </a:rPr>
                <a:t>05</a:t>
              </a:r>
              <a:endParaRPr b="1" dirty="0">
                <a:solidFill>
                  <a:schemeClr val="bg1"/>
                </a:solidFill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08F0468C-C79D-4DA7-811D-6A9461FF0D6F}"/>
                </a:ext>
              </a:extLst>
            </p:cNvPr>
            <p:cNvGrpSpPr/>
            <p:nvPr/>
          </p:nvGrpSpPr>
          <p:grpSpPr>
            <a:xfrm>
              <a:off x="8898305" y="1329577"/>
              <a:ext cx="3538210" cy="1662565"/>
              <a:chOff x="1970629" y="2735600"/>
              <a:chExt cx="5045920" cy="1889135"/>
            </a:xfrm>
          </p:grpSpPr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B434A5DF-9384-406B-80E4-1B6E375ADBA4}"/>
                  </a:ext>
                </a:extLst>
              </p:cNvPr>
              <p:cNvSpPr txBox="1"/>
              <p:nvPr/>
            </p:nvSpPr>
            <p:spPr>
              <a:xfrm>
                <a:off x="1970629" y="2735600"/>
                <a:ext cx="5045920" cy="734411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r>
                  <a:rPr lang="en-US" b="1" noProof="1"/>
                  <a:t>Hyperparameter tuning &amp; performance evaluation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D0798579-574B-4D8B-8B05-6569E0EABB83}"/>
                  </a:ext>
                </a:extLst>
              </p:cNvPr>
              <p:cNvSpPr txBox="1"/>
              <p:nvPr/>
            </p:nvSpPr>
            <p:spPr>
              <a:xfrm>
                <a:off x="2025465" y="3470660"/>
                <a:ext cx="4642376" cy="1154075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Smoothening factor, depth &amp; number of Instances per node, etc</a:t>
                </a:r>
              </a:p>
              <a:p>
                <a:pPr marL="171446" indent="-171446">
                  <a:buFont typeface="Arial" panose="020B0604020202020204" pitchFamily="34" charset="0"/>
                  <a:buChar char="•"/>
                </a:pPr>
                <a:r>
                  <a:rPr lang="en-US" sz="1600" noProof="1"/>
                  <a:t>AUC and accuracy for evaluation</a:t>
                </a:r>
              </a:p>
              <a:p>
                <a:endParaRPr lang="en-US" sz="1200" noProof="1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98FBFF-FE6D-4251-A0EB-50A47409E3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500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0923CAA0-2DC9-4C89-8EA0-E57059AFD8E7}"/>
              </a:ext>
            </a:extLst>
          </p:cNvPr>
          <p:cNvGrpSpPr/>
          <p:nvPr/>
        </p:nvGrpSpPr>
        <p:grpSpPr>
          <a:xfrm>
            <a:off x="2646947" y="1671970"/>
            <a:ext cx="6294346" cy="4653786"/>
            <a:chOff x="2646947" y="1671970"/>
            <a:chExt cx="6294346" cy="4653786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31BE4878-F877-4F58-A926-FB566E2F53A1}"/>
                </a:ext>
              </a:extLst>
            </p:cNvPr>
            <p:cNvSpPr/>
            <p:nvPr/>
          </p:nvSpPr>
          <p:spPr>
            <a:xfrm>
              <a:off x="2646947" y="1676413"/>
              <a:ext cx="6294346" cy="4649343"/>
            </a:xfrm>
            <a:custGeom>
              <a:avLst/>
              <a:gdLst>
                <a:gd name="connsiteX0" fmla="*/ 3285389 w 7725969"/>
                <a:gd name="connsiteY0" fmla="*/ 0 h 5336276"/>
                <a:gd name="connsiteX1" fmla="*/ 7725969 w 7725969"/>
                <a:gd name="connsiteY1" fmla="*/ 5336276 h 5336276"/>
                <a:gd name="connsiteX2" fmla="*/ 869121 w 7725969"/>
                <a:gd name="connsiteY2" fmla="*/ 5336276 h 5336276"/>
                <a:gd name="connsiteX3" fmla="*/ 0 w 7725969"/>
                <a:gd name="connsiteY3" fmla="*/ 4291846 h 5336276"/>
                <a:gd name="connsiteX4" fmla="*/ 3285389 w 7725969"/>
                <a:gd name="connsiteY4" fmla="*/ 4291846 h 533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25969" h="5336276">
                  <a:moveTo>
                    <a:pt x="3285389" y="0"/>
                  </a:moveTo>
                  <a:lnTo>
                    <a:pt x="7725969" y="5336276"/>
                  </a:lnTo>
                  <a:lnTo>
                    <a:pt x="869121" y="5336276"/>
                  </a:lnTo>
                  <a:lnTo>
                    <a:pt x="0" y="4291846"/>
                  </a:lnTo>
                  <a:lnTo>
                    <a:pt x="3285389" y="429184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35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8A4E9E5-46FB-4E78-AF66-8101416F9126}"/>
                </a:ext>
              </a:extLst>
            </p:cNvPr>
            <p:cNvSpPr/>
            <p:nvPr/>
          </p:nvSpPr>
          <p:spPr>
            <a:xfrm>
              <a:off x="2665776" y="1671970"/>
              <a:ext cx="2649685" cy="373352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05740" tIns="1097280" rIns="205740" rtlCol="0" anchor="t"/>
            <a:lstStyle/>
            <a:p>
              <a:pPr marL="285750" indent="-28575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500" noProof="1">
                  <a:solidFill>
                    <a:schemeClr val="tx1"/>
                  </a:solidFill>
                </a:rPr>
                <a:t>Close to 262K features after vectorization</a:t>
              </a:r>
            </a:p>
            <a:p>
              <a:pPr marL="285750" indent="-28575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500" noProof="1">
                  <a:solidFill>
                    <a:schemeClr val="tx1"/>
                  </a:solidFill>
                </a:rPr>
                <a:t>Topic distribution dense vector</a:t>
              </a:r>
            </a:p>
            <a:p>
              <a:pPr marL="285750" indent="-28575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500" noProof="1">
                  <a:solidFill>
                    <a:schemeClr val="tx1"/>
                  </a:solidFill>
                </a:rPr>
                <a:t>Imbalance dataset</a:t>
              </a:r>
            </a:p>
            <a:p>
              <a:pPr marL="285750" indent="-28575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500" noProof="1">
                  <a:solidFill>
                    <a:schemeClr val="tx1"/>
                  </a:solidFill>
                </a:rPr>
                <a:t>Algorithms take long time to run</a:t>
              </a:r>
            </a:p>
            <a:p>
              <a:pPr marL="285750" indent="-28575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endParaRPr lang="en-US" sz="1500" noProof="1">
                <a:solidFill>
                  <a:schemeClr val="tx1"/>
                </a:solidFill>
              </a:endParaRPr>
            </a:p>
            <a:p>
              <a:pPr marL="285750" indent="-28575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endParaRPr lang="en-US" sz="1500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9004231-1F31-4E3C-B5D4-D3A53FFF2486}"/>
                </a:ext>
              </a:extLst>
            </p:cNvPr>
            <p:cNvSpPr/>
            <p:nvPr/>
          </p:nvSpPr>
          <p:spPr>
            <a:xfrm>
              <a:off x="2665776" y="5399851"/>
              <a:ext cx="3384853" cy="917184"/>
            </a:xfrm>
            <a:custGeom>
              <a:avLst/>
              <a:gdLst>
                <a:gd name="connsiteX0" fmla="*/ 3283086 w 4159977"/>
                <a:gd name="connsiteY0" fmla="*/ 0 h 1054434"/>
                <a:gd name="connsiteX1" fmla="*/ 4159977 w 4159977"/>
                <a:gd name="connsiteY1" fmla="*/ 1054434 h 1054434"/>
                <a:gd name="connsiteX2" fmla="*/ 868260 w 4159977"/>
                <a:gd name="connsiteY2" fmla="*/ 1054434 h 1054434"/>
                <a:gd name="connsiteX3" fmla="*/ 0 w 4159977"/>
                <a:gd name="connsiteY3" fmla="*/ 10379 h 1054434"/>
                <a:gd name="connsiteX4" fmla="*/ 3283087 w 4159977"/>
                <a:gd name="connsiteY4" fmla="*/ 10379 h 105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9977" h="1054434">
                  <a:moveTo>
                    <a:pt x="3283086" y="0"/>
                  </a:moveTo>
                  <a:lnTo>
                    <a:pt x="4159977" y="1054434"/>
                  </a:lnTo>
                  <a:lnTo>
                    <a:pt x="868260" y="1054434"/>
                  </a:lnTo>
                  <a:lnTo>
                    <a:pt x="0" y="10379"/>
                  </a:lnTo>
                  <a:lnTo>
                    <a:pt x="3283087" y="10379"/>
                  </a:ln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C75C2EE-A47F-439B-A857-B3C8C3FC32F1}"/>
                </a:ext>
              </a:extLst>
            </p:cNvPr>
            <p:cNvSpPr/>
            <p:nvPr/>
          </p:nvSpPr>
          <p:spPr>
            <a:xfrm>
              <a:off x="2881921" y="1894139"/>
              <a:ext cx="2034540" cy="67863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571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2100" b="1" cap="all" dirty="0">
                  <a:solidFill>
                    <a:prstClr val="black"/>
                  </a:solidFill>
                </a:rPr>
                <a:t>Sampling</a:t>
              </a:r>
            </a:p>
            <a:p>
              <a:pPr lvl="0" algn="ctr"/>
              <a:r>
                <a:rPr lang="en-US" sz="2100" b="1" cap="all" dirty="0">
                  <a:solidFill>
                    <a:prstClr val="black"/>
                  </a:solidFill>
                </a:rPr>
                <a:t>Need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ADB786C-2A40-4ECF-A695-2A40DF31DFB6}"/>
              </a:ext>
            </a:extLst>
          </p:cNvPr>
          <p:cNvGrpSpPr/>
          <p:nvPr/>
        </p:nvGrpSpPr>
        <p:grpSpPr>
          <a:xfrm>
            <a:off x="2665997" y="1649731"/>
            <a:ext cx="2649685" cy="3760449"/>
            <a:chOff x="87813" y="2105576"/>
            <a:chExt cx="2466833" cy="373352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23BF999-217E-452C-BF85-B9255B508AB6}"/>
                </a:ext>
              </a:extLst>
            </p:cNvPr>
            <p:cNvSpPr/>
            <p:nvPr/>
          </p:nvSpPr>
          <p:spPr>
            <a:xfrm>
              <a:off x="87813" y="2105576"/>
              <a:ext cx="2466833" cy="3733522"/>
            </a:xfrm>
            <a:prstGeom prst="rect">
              <a:avLst/>
            </a:prstGeom>
            <a:solidFill>
              <a:srgbClr val="FFB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05740" tIns="1097280" rIns="205740" rtlCol="0" anchor="t"/>
            <a:lstStyle/>
            <a:p>
              <a:pPr marL="285750" indent="-28575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500" noProof="1">
                  <a:solidFill>
                    <a:schemeClr val="tx1"/>
                  </a:solidFill>
                </a:rPr>
                <a:t>Random undersampling</a:t>
              </a:r>
            </a:p>
            <a:p>
              <a:pPr marL="285750" indent="-28575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500" noProof="1">
                  <a:solidFill>
                    <a:schemeClr val="tx1"/>
                  </a:solidFill>
                </a:rPr>
                <a:t>Stratified undersampling: by Label and Year</a:t>
              </a:r>
            </a:p>
            <a:p>
              <a:pPr marL="285750" indent="-28575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500" noProof="1">
                  <a:solidFill>
                    <a:schemeClr val="tx1"/>
                  </a:solidFill>
                </a:rPr>
                <a:t>Classweights column</a:t>
              </a:r>
            </a:p>
            <a:p>
              <a:pPr marL="285750" indent="-28575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endParaRPr lang="en-US" sz="1500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9027523-332C-4E9D-9FC4-91E679279389}"/>
                </a:ext>
              </a:extLst>
            </p:cNvPr>
            <p:cNvSpPr/>
            <p:nvPr/>
          </p:nvSpPr>
          <p:spPr>
            <a:xfrm>
              <a:off x="249816" y="2319878"/>
              <a:ext cx="2034540" cy="67863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57150">
              <a:solidFill>
                <a:srgbClr val="FF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2100" b="1" cap="all" dirty="0">
                  <a:solidFill>
                    <a:prstClr val="black"/>
                  </a:solidFill>
                </a:rPr>
                <a:t>Sampling</a:t>
              </a:r>
            </a:p>
            <a:p>
              <a:pPr lvl="0" algn="ctr"/>
              <a:r>
                <a:rPr lang="en-US" sz="2100" b="1" cap="all" dirty="0">
                  <a:solidFill>
                    <a:prstClr val="black"/>
                  </a:solidFill>
                </a:rPr>
                <a:t>solution</a:t>
              </a:r>
            </a:p>
          </p:txBody>
        </p:sp>
      </p:grpSp>
      <p:sp>
        <p:nvSpPr>
          <p:cNvPr id="18" name="Google Shape;124;p24">
            <a:extLst>
              <a:ext uri="{FF2B5EF4-FFF2-40B4-BE49-F238E27FC236}">
                <a16:creationId xmlns:a16="http://schemas.microsoft.com/office/drawing/2014/main" id="{9DE4D6A7-D058-4C2F-8882-E1548EE85111}"/>
              </a:ext>
            </a:extLst>
          </p:cNvPr>
          <p:cNvSpPr/>
          <p:nvPr/>
        </p:nvSpPr>
        <p:spPr>
          <a:xfrm rot="5400000">
            <a:off x="5841949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E4236748-C1A6-4513-8AF2-D8FA54A27D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76074" y="386014"/>
            <a:ext cx="4135456" cy="479424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sz="2400" b="1" dirty="0"/>
              <a:t>SAMPLING &amp; FEATURE SELECTION</a:t>
            </a:r>
          </a:p>
        </p:txBody>
      </p:sp>
      <p:cxnSp>
        <p:nvCxnSpPr>
          <p:cNvPr id="26" name="Google Shape;1480;p34">
            <a:extLst>
              <a:ext uri="{FF2B5EF4-FFF2-40B4-BE49-F238E27FC236}">
                <a16:creationId xmlns:a16="http://schemas.microsoft.com/office/drawing/2014/main" id="{D257841D-A154-4406-A339-A6C6549F87ED}"/>
              </a:ext>
            </a:extLst>
          </p:cNvPr>
          <p:cNvCxnSpPr>
            <a:cxnSpLocks/>
          </p:cNvCxnSpPr>
          <p:nvPr/>
        </p:nvCxnSpPr>
        <p:spPr>
          <a:xfrm>
            <a:off x="359900" y="598413"/>
            <a:ext cx="114505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7" name="Google Shape;1480;p34">
            <a:extLst>
              <a:ext uri="{FF2B5EF4-FFF2-40B4-BE49-F238E27FC236}">
                <a16:creationId xmlns:a16="http://schemas.microsoft.com/office/drawing/2014/main" id="{5CC46808-B1FB-48B5-9CD3-C8CAD50583BB}"/>
              </a:ext>
            </a:extLst>
          </p:cNvPr>
          <p:cNvCxnSpPr>
            <a:cxnSpLocks/>
          </p:cNvCxnSpPr>
          <p:nvPr/>
        </p:nvCxnSpPr>
        <p:spPr>
          <a:xfrm flipV="1">
            <a:off x="5538204" y="540965"/>
            <a:ext cx="6368046" cy="31917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CF4517B-40D4-44E4-80E4-1AB57E9132A7}"/>
              </a:ext>
            </a:extLst>
          </p:cNvPr>
          <p:cNvGrpSpPr/>
          <p:nvPr/>
        </p:nvGrpSpPr>
        <p:grpSpPr>
          <a:xfrm>
            <a:off x="6577679" y="1607675"/>
            <a:ext cx="5549070" cy="4718081"/>
            <a:chOff x="6575032" y="1637913"/>
            <a:chExt cx="5549070" cy="4679122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20C8EE6-6860-44D9-9212-382F8790652F}"/>
                </a:ext>
              </a:extLst>
            </p:cNvPr>
            <p:cNvSpPr/>
            <p:nvPr/>
          </p:nvSpPr>
          <p:spPr>
            <a:xfrm>
              <a:off x="6982841" y="1637913"/>
              <a:ext cx="5141261" cy="4641677"/>
            </a:xfrm>
            <a:custGeom>
              <a:avLst/>
              <a:gdLst>
                <a:gd name="connsiteX0" fmla="*/ 3285389 w 7563171"/>
                <a:gd name="connsiteY0" fmla="*/ 0 h 5336276"/>
                <a:gd name="connsiteX1" fmla="*/ 7563171 w 7563171"/>
                <a:gd name="connsiteY1" fmla="*/ 5140641 h 5336276"/>
                <a:gd name="connsiteX2" fmla="*/ 7563171 w 7563171"/>
                <a:gd name="connsiteY2" fmla="*/ 5336276 h 5336276"/>
                <a:gd name="connsiteX3" fmla="*/ 869121 w 7563171"/>
                <a:gd name="connsiteY3" fmla="*/ 5336276 h 5336276"/>
                <a:gd name="connsiteX4" fmla="*/ 0 w 7563171"/>
                <a:gd name="connsiteY4" fmla="*/ 4291846 h 5336276"/>
                <a:gd name="connsiteX5" fmla="*/ 3285389 w 7563171"/>
                <a:gd name="connsiteY5" fmla="*/ 4291846 h 533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63171" h="5336276">
                  <a:moveTo>
                    <a:pt x="3285389" y="0"/>
                  </a:moveTo>
                  <a:lnTo>
                    <a:pt x="7563171" y="5140641"/>
                  </a:lnTo>
                  <a:lnTo>
                    <a:pt x="7563171" y="5336276"/>
                  </a:lnTo>
                  <a:lnTo>
                    <a:pt x="869121" y="5336276"/>
                  </a:lnTo>
                  <a:lnTo>
                    <a:pt x="0" y="4291846"/>
                  </a:lnTo>
                  <a:lnTo>
                    <a:pt x="3285389" y="429184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350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D9DCD24-053F-46AF-8D70-1D465DCA612A}"/>
                </a:ext>
              </a:extLst>
            </p:cNvPr>
            <p:cNvSpPr/>
            <p:nvPr/>
          </p:nvSpPr>
          <p:spPr>
            <a:xfrm>
              <a:off x="6582854" y="5399851"/>
              <a:ext cx="3395339" cy="917184"/>
            </a:xfrm>
            <a:custGeom>
              <a:avLst/>
              <a:gdLst>
                <a:gd name="connsiteX0" fmla="*/ 3283085 w 4159975"/>
                <a:gd name="connsiteY0" fmla="*/ 0 h 1054434"/>
                <a:gd name="connsiteX1" fmla="*/ 4159975 w 4159975"/>
                <a:gd name="connsiteY1" fmla="*/ 1054434 h 1054434"/>
                <a:gd name="connsiteX2" fmla="*/ 868259 w 4159975"/>
                <a:gd name="connsiteY2" fmla="*/ 1054434 h 1054434"/>
                <a:gd name="connsiteX3" fmla="*/ 0 w 4159975"/>
                <a:gd name="connsiteY3" fmla="*/ 10380 h 1054434"/>
                <a:gd name="connsiteX4" fmla="*/ 3283085 w 4159975"/>
                <a:gd name="connsiteY4" fmla="*/ 10379 h 105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9975" h="1054434">
                  <a:moveTo>
                    <a:pt x="3283085" y="0"/>
                  </a:moveTo>
                  <a:lnTo>
                    <a:pt x="4159975" y="1054434"/>
                  </a:lnTo>
                  <a:lnTo>
                    <a:pt x="868259" y="1054434"/>
                  </a:lnTo>
                  <a:lnTo>
                    <a:pt x="0" y="10380"/>
                  </a:lnTo>
                  <a:lnTo>
                    <a:pt x="3283085" y="10379"/>
                  </a:ln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5B4A30C-32FD-49DF-8311-3CA95A6721E0}"/>
                </a:ext>
              </a:extLst>
            </p:cNvPr>
            <p:cNvSpPr/>
            <p:nvPr/>
          </p:nvSpPr>
          <p:spPr>
            <a:xfrm>
              <a:off x="6575032" y="1671970"/>
              <a:ext cx="2649685" cy="373352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05740" tIns="1097280" rIns="205740" rtlCol="0" anchor="t"/>
            <a:lstStyle/>
            <a:p>
              <a:pPr marL="285750" indent="-28575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500" noProof="1">
                  <a:solidFill>
                    <a:schemeClr val="tx1"/>
                  </a:solidFill>
                </a:rPr>
                <a:t>Algorithms like NB have limitations</a:t>
              </a:r>
            </a:p>
            <a:p>
              <a:pPr marL="285750" indent="-28575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500" noProof="1">
                  <a:solidFill>
                    <a:schemeClr val="tx1"/>
                  </a:solidFill>
                </a:rPr>
                <a:t>Helped in experimenting with different set of features</a:t>
              </a:r>
            </a:p>
            <a:p>
              <a:pPr marL="285750" indent="-28575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endParaRPr lang="en-US" sz="1500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1883578-78E0-4B2A-97E9-F1776B280B03}"/>
                </a:ext>
              </a:extLst>
            </p:cNvPr>
            <p:cNvSpPr/>
            <p:nvPr/>
          </p:nvSpPr>
          <p:spPr>
            <a:xfrm>
              <a:off x="6890427" y="1860477"/>
              <a:ext cx="2034540" cy="67863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571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2100" b="1" cap="all" dirty="0">
                  <a:solidFill>
                    <a:prstClr val="black"/>
                  </a:solidFill>
                </a:rPr>
                <a:t>Feature</a:t>
              </a:r>
            </a:p>
            <a:p>
              <a:pPr lvl="0" algn="ctr"/>
              <a:r>
                <a:rPr lang="en-US" sz="2100" b="1" cap="all" dirty="0">
                  <a:solidFill>
                    <a:prstClr val="black"/>
                  </a:solidFill>
                </a:rPr>
                <a:t>Selection need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504D90F-5936-4FCA-9779-767A7FB1848B}"/>
              </a:ext>
            </a:extLst>
          </p:cNvPr>
          <p:cNvGrpSpPr/>
          <p:nvPr/>
        </p:nvGrpSpPr>
        <p:grpSpPr>
          <a:xfrm>
            <a:off x="6577678" y="1630131"/>
            <a:ext cx="2649685" cy="3760449"/>
            <a:chOff x="9519542" y="1561404"/>
            <a:chExt cx="2649685" cy="3733522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8A5FF5A-1E30-41E4-8939-EC1E4E3E708C}"/>
                </a:ext>
              </a:extLst>
            </p:cNvPr>
            <p:cNvSpPr/>
            <p:nvPr/>
          </p:nvSpPr>
          <p:spPr>
            <a:xfrm>
              <a:off x="9519542" y="1561404"/>
              <a:ext cx="2649685" cy="3733522"/>
            </a:xfrm>
            <a:prstGeom prst="rect">
              <a:avLst/>
            </a:prstGeom>
            <a:solidFill>
              <a:srgbClr val="FFB6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05740" tIns="1097280" rIns="205740" rtlCol="0" anchor="t"/>
            <a:lstStyle/>
            <a:p>
              <a:pPr marL="285750" indent="-285750" algn="just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endParaRPr lang="en-US" sz="1500" noProof="1">
                <a:solidFill>
                  <a:schemeClr val="tx1"/>
                </a:solidFill>
              </a:endParaRPr>
            </a:p>
            <a:p>
              <a:pPr marL="285750" indent="-285750" algn="just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500" noProof="1">
                  <a:solidFill>
                    <a:schemeClr val="tx1"/>
                  </a:solidFill>
                </a:rPr>
                <a:t>Different vectors for different algorithms</a:t>
              </a:r>
            </a:p>
            <a:p>
              <a:pPr marL="285750" indent="-285750" algn="just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500" noProof="1">
                  <a:solidFill>
                    <a:schemeClr val="tx1"/>
                  </a:solidFill>
                </a:rPr>
                <a:t>Variance Importance for feature selection</a:t>
              </a:r>
            </a:p>
            <a:p>
              <a:pPr marL="285750" indent="-285750" algn="just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endParaRPr lang="en-US" sz="1500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0B07177-10B0-41F3-B336-B16E3113FFBD}"/>
                </a:ext>
              </a:extLst>
            </p:cNvPr>
            <p:cNvSpPr/>
            <p:nvPr/>
          </p:nvSpPr>
          <p:spPr>
            <a:xfrm>
              <a:off x="9842109" y="1809368"/>
              <a:ext cx="2034540" cy="9171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57150">
              <a:solidFill>
                <a:srgbClr val="FF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2000" b="1" cap="all" dirty="0">
                  <a:solidFill>
                    <a:prstClr val="black"/>
                  </a:solidFill>
                </a:rPr>
                <a:t>Feature</a:t>
              </a:r>
            </a:p>
            <a:p>
              <a:pPr lvl="0" algn="ctr"/>
              <a:r>
                <a:rPr lang="en-US" sz="2000" b="1" cap="all" dirty="0">
                  <a:solidFill>
                    <a:prstClr val="black"/>
                  </a:solidFill>
                </a:rPr>
                <a:t>Selection SOLUTION</a:t>
              </a:r>
            </a:p>
          </p:txBody>
        </p:sp>
      </p:grpSp>
      <p:pic>
        <p:nvPicPr>
          <p:cNvPr id="15" name="Picture 2" descr="See the source image">
            <a:extLst>
              <a:ext uri="{FF2B5EF4-FFF2-40B4-BE49-F238E27FC236}">
                <a16:creationId xmlns:a16="http://schemas.microsoft.com/office/drawing/2014/main" id="{5F837902-7CAB-4E63-83CF-FE03DEBD91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6019" y="6325756"/>
            <a:ext cx="1620969" cy="52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040C770-4069-46A3-AFF2-50EBAFAD0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6379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55000">
              <a:schemeClr val="bg1">
                <a:tint val="93000"/>
                <a:satMod val="150000"/>
                <a:shade val="98000"/>
                <a:lumMod val="102000"/>
              </a:schemeClr>
            </a:gs>
            <a:gs pos="82000">
              <a:schemeClr val="bg1">
                <a:tint val="98000"/>
                <a:satMod val="130000"/>
                <a:shade val="90000"/>
                <a:lumMod val="103000"/>
              </a:schemeClr>
            </a:gs>
            <a:gs pos="100000">
              <a:schemeClr val="bg1">
                <a:shade val="63000"/>
                <a:satMod val="120000"/>
              </a:schemeClr>
            </a:gs>
          </a:gsLst>
          <a:lin ang="5400000" scaled="0"/>
        </a:gradFill>
        <a:effectLst/>
      </p:bgPr>
    </p:bg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26"/>
          <p:cNvSpPr/>
          <p:nvPr/>
        </p:nvSpPr>
        <p:spPr>
          <a:xfrm rot="-5400000" flipH="1">
            <a:off x="-1277133" y="1277200"/>
            <a:ext cx="6854400" cy="4300000"/>
          </a:xfrm>
          <a:prstGeom prst="rect">
            <a:avLst/>
          </a:prstGeom>
          <a:solidFill>
            <a:srgbClr val="FFB618">
              <a:alpha val="8700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143" name="Google Shape;143;p26"/>
          <p:cNvSpPr txBox="1">
            <a:spLocks noGrp="1"/>
          </p:cNvSpPr>
          <p:nvPr>
            <p:ph type="subTitle" idx="7"/>
          </p:nvPr>
        </p:nvSpPr>
        <p:spPr>
          <a:xfrm>
            <a:off x="4756827" y="2786383"/>
            <a:ext cx="3641050" cy="763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0" indent="0"/>
            <a:r>
              <a:rPr lang="es" sz="1500" dirty="0"/>
              <a:t>Reviewer Habits</a:t>
            </a:r>
          </a:p>
          <a:p>
            <a:pPr marL="0" indent="0"/>
            <a:r>
              <a:rPr lang="es" sz="1500" dirty="0"/>
              <a:t>Changes in habits over time</a:t>
            </a:r>
          </a:p>
          <a:p>
            <a:pPr marL="0" indent="0"/>
            <a:r>
              <a:rPr lang="es" sz="1500" dirty="0"/>
              <a:t>What makes a review hepful</a:t>
            </a:r>
          </a:p>
          <a:p>
            <a:pPr marL="0" indent="0"/>
            <a:endParaRPr lang="es" sz="1500" dirty="0"/>
          </a:p>
        </p:txBody>
      </p:sp>
      <p:sp>
        <p:nvSpPr>
          <p:cNvPr id="144" name="Google Shape;144;p26"/>
          <p:cNvSpPr txBox="1">
            <a:spLocks noGrp="1"/>
          </p:cNvSpPr>
          <p:nvPr>
            <p:ph type="ctrTitle" idx="6"/>
          </p:nvPr>
        </p:nvSpPr>
        <p:spPr>
          <a:xfrm>
            <a:off x="4721147" y="2206350"/>
            <a:ext cx="30024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s" sz="1800" b="1" dirty="0"/>
              <a:t>EXPLANATORY DATA ANALYSIS</a:t>
            </a:r>
            <a:endParaRPr sz="1800" b="1" dirty="0"/>
          </a:p>
        </p:txBody>
      </p:sp>
      <p:sp>
        <p:nvSpPr>
          <p:cNvPr id="145" name="Google Shape;145;p26"/>
          <p:cNvSpPr txBox="1">
            <a:spLocks noGrp="1"/>
          </p:cNvSpPr>
          <p:nvPr>
            <p:ph type="title" idx="8"/>
          </p:nvPr>
        </p:nvSpPr>
        <p:spPr>
          <a:xfrm>
            <a:off x="2739506" y="2483561"/>
            <a:ext cx="20980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s" dirty="0">
                <a:solidFill>
                  <a:schemeClr val="lt1"/>
                </a:solidFill>
              </a:rPr>
              <a:t>03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46" name="Google Shape;146;p26"/>
          <p:cNvSpPr txBox="1">
            <a:spLocks noGrp="1"/>
          </p:cNvSpPr>
          <p:nvPr>
            <p:ph type="ctrTitle"/>
          </p:nvPr>
        </p:nvSpPr>
        <p:spPr>
          <a:xfrm>
            <a:off x="4683620" y="-61182"/>
            <a:ext cx="30024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n-US" sz="1800" b="1" dirty="0"/>
              <a:t>INTRODUCTION</a:t>
            </a:r>
            <a:endParaRPr sz="1800" b="1" dirty="0"/>
          </a:p>
        </p:txBody>
      </p:sp>
      <p:sp>
        <p:nvSpPr>
          <p:cNvPr id="147" name="Google Shape;147;p26"/>
          <p:cNvSpPr txBox="1">
            <a:spLocks noGrp="1"/>
          </p:cNvSpPr>
          <p:nvPr>
            <p:ph type="subTitle" idx="1"/>
          </p:nvPr>
        </p:nvSpPr>
        <p:spPr>
          <a:xfrm>
            <a:off x="4710066" y="497983"/>
            <a:ext cx="3963489" cy="763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0" indent="0"/>
            <a:r>
              <a:rPr lang="es" sz="1500" dirty="0"/>
              <a:t>Problem Overview and Business Implication</a:t>
            </a:r>
            <a:endParaRPr sz="1500" dirty="0"/>
          </a:p>
        </p:txBody>
      </p:sp>
      <p:sp>
        <p:nvSpPr>
          <p:cNvPr id="148" name="Google Shape;148;p26"/>
          <p:cNvSpPr txBox="1">
            <a:spLocks noGrp="1"/>
          </p:cNvSpPr>
          <p:nvPr>
            <p:ph type="title" idx="2"/>
          </p:nvPr>
        </p:nvSpPr>
        <p:spPr>
          <a:xfrm>
            <a:off x="2739506" y="250580"/>
            <a:ext cx="2318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s" dirty="0">
                <a:solidFill>
                  <a:schemeClr val="lt1"/>
                </a:solidFill>
              </a:rPr>
              <a:t>01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49" name="Google Shape;149;p26"/>
          <p:cNvSpPr txBox="1">
            <a:spLocks noGrp="1"/>
          </p:cNvSpPr>
          <p:nvPr>
            <p:ph type="ctrTitle" idx="3"/>
          </p:nvPr>
        </p:nvSpPr>
        <p:spPr>
          <a:xfrm>
            <a:off x="4713680" y="838503"/>
            <a:ext cx="30024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s" sz="1800" b="1" dirty="0"/>
              <a:t>DATA PREPARATION</a:t>
            </a:r>
            <a:endParaRPr sz="1800" b="1" dirty="0"/>
          </a:p>
        </p:txBody>
      </p:sp>
      <p:sp>
        <p:nvSpPr>
          <p:cNvPr id="151" name="Google Shape;151;p26"/>
          <p:cNvSpPr txBox="1">
            <a:spLocks noGrp="1"/>
          </p:cNvSpPr>
          <p:nvPr>
            <p:ph type="title" idx="5"/>
          </p:nvPr>
        </p:nvSpPr>
        <p:spPr>
          <a:xfrm>
            <a:off x="2739506" y="1292962"/>
            <a:ext cx="21536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s" dirty="0">
                <a:solidFill>
                  <a:schemeClr val="lt1"/>
                </a:solidFill>
              </a:rPr>
              <a:t>02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52" name="Google Shape;152;p26"/>
          <p:cNvSpPr txBox="1">
            <a:spLocks noGrp="1"/>
          </p:cNvSpPr>
          <p:nvPr>
            <p:ph type="ctrTitle" idx="13"/>
          </p:nvPr>
        </p:nvSpPr>
        <p:spPr>
          <a:xfrm>
            <a:off x="4721147" y="3482223"/>
            <a:ext cx="3002400" cy="832602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s" sz="1800" b="1" dirty="0"/>
              <a:t>MODELLING</a:t>
            </a:r>
            <a:endParaRPr sz="1800" b="1" dirty="0"/>
          </a:p>
        </p:txBody>
      </p:sp>
      <p:sp>
        <p:nvSpPr>
          <p:cNvPr id="153" name="Google Shape;153;p26"/>
          <p:cNvSpPr txBox="1">
            <a:spLocks noGrp="1"/>
          </p:cNvSpPr>
          <p:nvPr>
            <p:ph type="subTitle" idx="14"/>
          </p:nvPr>
        </p:nvSpPr>
        <p:spPr>
          <a:xfrm>
            <a:off x="4729406" y="4055056"/>
            <a:ext cx="2542000" cy="763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0" indent="0"/>
            <a:r>
              <a:rPr lang="es" sz="1500" dirty="0"/>
              <a:t>Modelling technique, journey</a:t>
            </a:r>
          </a:p>
          <a:p>
            <a:pPr marL="0" indent="0"/>
            <a:r>
              <a:rPr lang="es" sz="1500" dirty="0"/>
              <a:t>Performance matrix</a:t>
            </a:r>
            <a:endParaRPr sz="1500" dirty="0"/>
          </a:p>
        </p:txBody>
      </p:sp>
      <p:sp>
        <p:nvSpPr>
          <p:cNvPr id="154" name="Google Shape;154;p26"/>
          <p:cNvSpPr txBox="1">
            <a:spLocks noGrp="1"/>
          </p:cNvSpPr>
          <p:nvPr>
            <p:ph type="title" idx="15"/>
          </p:nvPr>
        </p:nvSpPr>
        <p:spPr>
          <a:xfrm>
            <a:off x="2739506" y="3719010"/>
            <a:ext cx="20980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s" dirty="0">
                <a:solidFill>
                  <a:schemeClr val="lt1"/>
                </a:solidFill>
              </a:rPr>
              <a:t>04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55" name="Google Shape;155;p26"/>
          <p:cNvSpPr txBox="1">
            <a:spLocks noGrp="1"/>
          </p:cNvSpPr>
          <p:nvPr>
            <p:ph type="ctrTitle" idx="16"/>
          </p:nvPr>
        </p:nvSpPr>
        <p:spPr>
          <a:xfrm>
            <a:off x="4713680" y="4629542"/>
            <a:ext cx="30024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s" sz="1800" b="1" dirty="0"/>
              <a:t>COST IMPLICATION</a:t>
            </a:r>
            <a:endParaRPr sz="1800" b="1" dirty="0"/>
          </a:p>
        </p:txBody>
      </p:sp>
      <p:sp>
        <p:nvSpPr>
          <p:cNvPr id="156" name="Google Shape;156;p26"/>
          <p:cNvSpPr txBox="1">
            <a:spLocks noGrp="1"/>
          </p:cNvSpPr>
          <p:nvPr>
            <p:ph type="subTitle" idx="17"/>
          </p:nvPr>
        </p:nvSpPr>
        <p:spPr>
          <a:xfrm>
            <a:off x="4726378" y="5167707"/>
            <a:ext cx="2542000" cy="763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0" indent="0"/>
            <a:r>
              <a:rPr lang="es" sz="1500" dirty="0"/>
              <a:t>Project cost</a:t>
            </a:r>
          </a:p>
          <a:p>
            <a:pPr marL="0" indent="0"/>
            <a:r>
              <a:rPr lang="es" sz="1500" dirty="0"/>
              <a:t>Runtime comparision</a:t>
            </a:r>
            <a:endParaRPr sz="1500" dirty="0"/>
          </a:p>
        </p:txBody>
      </p:sp>
      <p:sp>
        <p:nvSpPr>
          <p:cNvPr id="157" name="Google Shape;157;p26"/>
          <p:cNvSpPr txBox="1">
            <a:spLocks noGrp="1"/>
          </p:cNvSpPr>
          <p:nvPr>
            <p:ph type="title" idx="18"/>
          </p:nvPr>
        </p:nvSpPr>
        <p:spPr>
          <a:xfrm>
            <a:off x="2739506" y="4906374"/>
            <a:ext cx="20980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s" dirty="0">
                <a:solidFill>
                  <a:schemeClr val="lt1"/>
                </a:solidFill>
              </a:rPr>
              <a:t>05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41" name="Google Shape;141;p26"/>
          <p:cNvSpPr txBox="1">
            <a:spLocks noGrp="1"/>
          </p:cNvSpPr>
          <p:nvPr>
            <p:ph type="ctrTitle" idx="9"/>
          </p:nvPr>
        </p:nvSpPr>
        <p:spPr>
          <a:xfrm rot="5400000">
            <a:off x="8899689" y="2609738"/>
            <a:ext cx="5099073" cy="6500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s" b="1" dirty="0"/>
              <a:t>TABLE OF CONTENTS</a:t>
            </a:r>
            <a:endParaRPr b="1" dirty="0"/>
          </a:p>
        </p:txBody>
      </p:sp>
      <p:sp>
        <p:nvSpPr>
          <p:cNvPr id="22" name="Google Shape;156;p26">
            <a:extLst>
              <a:ext uri="{FF2B5EF4-FFF2-40B4-BE49-F238E27FC236}">
                <a16:creationId xmlns:a16="http://schemas.microsoft.com/office/drawing/2014/main" id="{EA121C8B-BA23-477A-ADAA-6AF3885B60B2}"/>
              </a:ext>
            </a:extLst>
          </p:cNvPr>
          <p:cNvSpPr txBox="1">
            <a:spLocks/>
          </p:cNvSpPr>
          <p:nvPr/>
        </p:nvSpPr>
        <p:spPr>
          <a:xfrm>
            <a:off x="4756827" y="5994097"/>
            <a:ext cx="2542000" cy="763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>
            <a:lvl1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800" b="1" dirty="0">
                <a:latin typeface="Calibri Light (Headings)"/>
              </a:rPr>
              <a:t>CONCLUSION</a:t>
            </a:r>
          </a:p>
        </p:txBody>
      </p:sp>
      <p:sp>
        <p:nvSpPr>
          <p:cNvPr id="23" name="Google Shape;157;p26">
            <a:extLst>
              <a:ext uri="{FF2B5EF4-FFF2-40B4-BE49-F238E27FC236}">
                <a16:creationId xmlns:a16="http://schemas.microsoft.com/office/drawing/2014/main" id="{05A7F1F2-C65B-4B6D-8EB8-148BCBF4EF76}"/>
              </a:ext>
            </a:extLst>
          </p:cNvPr>
          <p:cNvSpPr txBox="1">
            <a:spLocks/>
          </p:cNvSpPr>
          <p:nvPr/>
        </p:nvSpPr>
        <p:spPr>
          <a:xfrm>
            <a:off x="2747050" y="5953295"/>
            <a:ext cx="20980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s" dirty="0">
                <a:solidFill>
                  <a:schemeClr val="lt1"/>
                </a:solidFill>
              </a:rPr>
              <a:t>06</a:t>
            </a:r>
          </a:p>
        </p:txBody>
      </p:sp>
      <p:sp>
        <p:nvSpPr>
          <p:cNvPr id="32" name="Google Shape;147;p26">
            <a:extLst>
              <a:ext uri="{FF2B5EF4-FFF2-40B4-BE49-F238E27FC236}">
                <a16:creationId xmlns:a16="http://schemas.microsoft.com/office/drawing/2014/main" id="{8C402F1F-DCF9-4F31-B7BF-2AABE150BE5B}"/>
              </a:ext>
            </a:extLst>
          </p:cNvPr>
          <p:cNvSpPr txBox="1">
            <a:spLocks/>
          </p:cNvSpPr>
          <p:nvPr/>
        </p:nvSpPr>
        <p:spPr>
          <a:xfrm>
            <a:off x="4710066" y="1422456"/>
            <a:ext cx="3963489" cy="763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>
            <a:lvl1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500" dirty="0"/>
              <a:t>Data structure</a:t>
            </a:r>
          </a:p>
          <a:p>
            <a:pPr marL="0" indent="0"/>
            <a:r>
              <a:rPr lang="en-US" sz="1500" dirty="0"/>
              <a:t>Data Cleaning</a:t>
            </a:r>
          </a:p>
          <a:p>
            <a:pPr marL="0" indent="0"/>
            <a:r>
              <a:rPr lang="en-US" sz="1500" dirty="0"/>
              <a:t>Feature Extractor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4;p24">
            <a:extLst>
              <a:ext uri="{FF2B5EF4-FFF2-40B4-BE49-F238E27FC236}">
                <a16:creationId xmlns:a16="http://schemas.microsoft.com/office/drawing/2014/main" id="{6D720DCE-DADA-4513-AEF8-ED2CEEE5B144}"/>
              </a:ext>
            </a:extLst>
          </p:cNvPr>
          <p:cNvSpPr/>
          <p:nvPr/>
        </p:nvSpPr>
        <p:spPr>
          <a:xfrm rot="5400000">
            <a:off x="5841950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BF08B8-0E4B-45E3-B535-E1E8EF6801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37573" y="386014"/>
            <a:ext cx="3221054" cy="44092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SELECTED ALGORITHMS</a:t>
            </a:r>
          </a:p>
        </p:txBody>
      </p:sp>
      <p:cxnSp>
        <p:nvCxnSpPr>
          <p:cNvPr id="5" name="Google Shape;1480;p34">
            <a:extLst>
              <a:ext uri="{FF2B5EF4-FFF2-40B4-BE49-F238E27FC236}">
                <a16:creationId xmlns:a16="http://schemas.microsoft.com/office/drawing/2014/main" id="{14EFF2B7-7D92-43F7-A19E-0251EDFF2496}"/>
              </a:ext>
            </a:extLst>
          </p:cNvPr>
          <p:cNvCxnSpPr>
            <a:cxnSpLocks/>
          </p:cNvCxnSpPr>
          <p:nvPr/>
        </p:nvCxnSpPr>
        <p:spPr>
          <a:xfrm>
            <a:off x="359900" y="598413"/>
            <a:ext cx="1092008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" name="Google Shape;1480;p34">
            <a:extLst>
              <a:ext uri="{FF2B5EF4-FFF2-40B4-BE49-F238E27FC236}">
                <a16:creationId xmlns:a16="http://schemas.microsoft.com/office/drawing/2014/main" id="{5155CBDE-CC77-49F0-B728-8D53A1568E3A}"/>
              </a:ext>
            </a:extLst>
          </p:cNvPr>
          <p:cNvCxnSpPr>
            <a:cxnSpLocks/>
          </p:cNvCxnSpPr>
          <p:nvPr/>
        </p:nvCxnSpPr>
        <p:spPr>
          <a:xfrm flipV="1">
            <a:off x="4572002" y="569839"/>
            <a:ext cx="7334248" cy="28574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Picture 2" descr="See the source image">
            <a:extLst>
              <a:ext uri="{FF2B5EF4-FFF2-40B4-BE49-F238E27FC236}">
                <a16:creationId xmlns:a16="http://schemas.microsoft.com/office/drawing/2014/main" id="{3A089679-83BD-46E6-B856-699CBFE20E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6995" y="6316737"/>
            <a:ext cx="1766940" cy="569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2" name="Group 91">
            <a:extLst>
              <a:ext uri="{FF2B5EF4-FFF2-40B4-BE49-F238E27FC236}">
                <a16:creationId xmlns:a16="http://schemas.microsoft.com/office/drawing/2014/main" id="{9535A92D-911B-444A-8E99-79080F0ABDD7}"/>
              </a:ext>
            </a:extLst>
          </p:cNvPr>
          <p:cNvGrpSpPr/>
          <p:nvPr/>
        </p:nvGrpSpPr>
        <p:grpSpPr>
          <a:xfrm>
            <a:off x="257211" y="2958252"/>
            <a:ext cx="2073217" cy="2564613"/>
            <a:chOff x="133386" y="2903458"/>
            <a:chExt cx="2073217" cy="256461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2C6C625-1B67-40A0-B1B8-0CA481B49137}"/>
                </a:ext>
              </a:extLst>
            </p:cNvPr>
            <p:cNvSpPr/>
            <p:nvPr/>
          </p:nvSpPr>
          <p:spPr>
            <a:xfrm>
              <a:off x="318766" y="2903458"/>
              <a:ext cx="1133143" cy="716677"/>
            </a:xfrm>
            <a:prstGeom prst="rect">
              <a:avLst/>
            </a:prstGeom>
            <a:solidFill>
              <a:srgbClr val="FFD85B"/>
            </a:solidFill>
            <a:ln>
              <a:solidFill>
                <a:srgbClr val="FFCC2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Training Data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135F481-C64A-470E-B880-7A0399AEFCDB}"/>
                </a:ext>
              </a:extLst>
            </p:cNvPr>
            <p:cNvSpPr/>
            <p:nvPr/>
          </p:nvSpPr>
          <p:spPr>
            <a:xfrm>
              <a:off x="318766" y="3681819"/>
              <a:ext cx="1133142" cy="716677"/>
            </a:xfrm>
            <a:prstGeom prst="rect">
              <a:avLst/>
            </a:prstGeom>
            <a:solidFill>
              <a:srgbClr val="FFD85B"/>
            </a:solidFill>
            <a:ln>
              <a:solidFill>
                <a:srgbClr val="FFCC2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Training label</a:t>
              </a:r>
            </a:p>
          </p:txBody>
        </p:sp>
        <p:sp>
          <p:nvSpPr>
            <p:cNvPr id="10" name="Right Brace 9">
              <a:extLst>
                <a:ext uri="{FF2B5EF4-FFF2-40B4-BE49-F238E27FC236}">
                  <a16:creationId xmlns:a16="http://schemas.microsoft.com/office/drawing/2014/main" id="{9DB18B5E-B95B-4A28-8EA8-DAD37E7A2302}"/>
                </a:ext>
              </a:extLst>
            </p:cNvPr>
            <p:cNvSpPr/>
            <p:nvPr/>
          </p:nvSpPr>
          <p:spPr>
            <a:xfrm rot="5400000">
              <a:off x="763860" y="3969042"/>
              <a:ext cx="247951" cy="1282152"/>
            </a:xfrm>
            <a:prstGeom prst="rightBrace">
              <a:avLst>
                <a:gd name="adj1" fmla="val 8333"/>
                <a:gd name="adj2" fmla="val 53698"/>
              </a:avLst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F6B765E-27D1-4ED8-81AC-0C307133DFA5}"/>
                </a:ext>
              </a:extLst>
            </p:cNvPr>
            <p:cNvSpPr txBox="1"/>
            <p:nvPr/>
          </p:nvSpPr>
          <p:spPr>
            <a:xfrm>
              <a:off x="133386" y="4821740"/>
              <a:ext cx="1455243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Selected features</a:t>
              </a:r>
            </a:p>
          </p:txBody>
        </p:sp>
        <p:cxnSp>
          <p:nvCxnSpPr>
            <p:cNvPr id="17" name="Connector: Elbow 16">
              <a:extLst>
                <a:ext uri="{FF2B5EF4-FFF2-40B4-BE49-F238E27FC236}">
                  <a16:creationId xmlns:a16="http://schemas.microsoft.com/office/drawing/2014/main" id="{D0C8AC2F-BCAE-4080-9386-20CECB1A1D76}"/>
                </a:ext>
              </a:extLst>
            </p:cNvPr>
            <p:cNvCxnSpPr>
              <a:cxnSpLocks/>
            </p:cNvCxnSpPr>
            <p:nvPr/>
          </p:nvCxnSpPr>
          <p:spPr>
            <a:xfrm>
              <a:off x="1451909" y="3261796"/>
              <a:ext cx="754694" cy="358339"/>
            </a:xfrm>
            <a:prstGeom prst="bentConnector3">
              <a:avLst>
                <a:gd name="adj1" fmla="val 27043"/>
              </a:avLst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Connector: Elbow 22">
              <a:extLst>
                <a:ext uri="{FF2B5EF4-FFF2-40B4-BE49-F238E27FC236}">
                  <a16:creationId xmlns:a16="http://schemas.microsoft.com/office/drawing/2014/main" id="{48480BFF-447C-44BE-8F3D-86D3119DABC3}"/>
                </a:ext>
              </a:extLst>
            </p:cNvPr>
            <p:cNvCxnSpPr>
              <a:cxnSpLocks/>
              <a:stCxn id="8" idx="3"/>
            </p:cNvCxnSpPr>
            <p:nvPr/>
          </p:nvCxnSpPr>
          <p:spPr>
            <a:xfrm flipV="1">
              <a:off x="1451908" y="3620135"/>
              <a:ext cx="754695" cy="420023"/>
            </a:xfrm>
            <a:prstGeom prst="bentConnector3">
              <a:avLst>
                <a:gd name="adj1" fmla="val 27043"/>
              </a:avLst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81CEDD06-8920-444B-A90A-07B25D3BA584}"/>
              </a:ext>
            </a:extLst>
          </p:cNvPr>
          <p:cNvGrpSpPr/>
          <p:nvPr/>
        </p:nvGrpSpPr>
        <p:grpSpPr>
          <a:xfrm>
            <a:off x="2202811" y="942949"/>
            <a:ext cx="2677015" cy="5813633"/>
            <a:chOff x="2090576" y="901492"/>
            <a:chExt cx="2677015" cy="5813633"/>
          </a:xfrm>
        </p:grpSpPr>
        <p:sp>
          <p:nvSpPr>
            <p:cNvPr id="38" name="Google Shape;124;p24">
              <a:extLst>
                <a:ext uri="{FF2B5EF4-FFF2-40B4-BE49-F238E27FC236}">
                  <a16:creationId xmlns:a16="http://schemas.microsoft.com/office/drawing/2014/main" id="{880FF8B7-69EB-40A1-B720-91318964AC22}"/>
                </a:ext>
              </a:extLst>
            </p:cNvPr>
            <p:cNvSpPr/>
            <p:nvPr/>
          </p:nvSpPr>
          <p:spPr>
            <a:xfrm>
              <a:off x="2446552" y="1691665"/>
              <a:ext cx="1965065" cy="71667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Logistic Regression</a:t>
              </a:r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40" name="Google Shape;124;p24">
              <a:extLst>
                <a:ext uri="{FF2B5EF4-FFF2-40B4-BE49-F238E27FC236}">
                  <a16:creationId xmlns:a16="http://schemas.microsoft.com/office/drawing/2014/main" id="{91EAE352-7E23-4826-8064-3A71C28301F4}"/>
                </a:ext>
              </a:extLst>
            </p:cNvPr>
            <p:cNvSpPr/>
            <p:nvPr/>
          </p:nvSpPr>
          <p:spPr>
            <a:xfrm>
              <a:off x="2446552" y="2726716"/>
              <a:ext cx="1965065" cy="71667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2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andom Forest</a:t>
              </a:r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42" name="Google Shape;124;p24">
              <a:extLst>
                <a:ext uri="{FF2B5EF4-FFF2-40B4-BE49-F238E27FC236}">
                  <a16:creationId xmlns:a16="http://schemas.microsoft.com/office/drawing/2014/main" id="{41D7359A-B30E-4B77-A78E-68979E5C048C}"/>
                </a:ext>
              </a:extLst>
            </p:cNvPr>
            <p:cNvSpPr/>
            <p:nvPr/>
          </p:nvSpPr>
          <p:spPr>
            <a:xfrm>
              <a:off x="2446552" y="3756293"/>
              <a:ext cx="1965065" cy="71667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2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Gradient Boosting Tree</a:t>
              </a:r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44" name="Google Shape;124;p24">
              <a:extLst>
                <a:ext uri="{FF2B5EF4-FFF2-40B4-BE49-F238E27FC236}">
                  <a16:creationId xmlns:a16="http://schemas.microsoft.com/office/drawing/2014/main" id="{7C356638-F25B-478E-9981-CD3AB50DB100}"/>
                </a:ext>
              </a:extLst>
            </p:cNvPr>
            <p:cNvSpPr/>
            <p:nvPr/>
          </p:nvSpPr>
          <p:spPr>
            <a:xfrm>
              <a:off x="2446552" y="4785870"/>
              <a:ext cx="1965065" cy="71667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2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Naïve Bayes</a:t>
              </a:r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47" name="Google Shape;124;p24">
              <a:extLst>
                <a:ext uri="{FF2B5EF4-FFF2-40B4-BE49-F238E27FC236}">
                  <a16:creationId xmlns:a16="http://schemas.microsoft.com/office/drawing/2014/main" id="{ACD92343-B37C-4EA1-B39B-B4AB44FC355F}"/>
                </a:ext>
              </a:extLst>
            </p:cNvPr>
            <p:cNvSpPr/>
            <p:nvPr/>
          </p:nvSpPr>
          <p:spPr>
            <a:xfrm>
              <a:off x="2446552" y="5815447"/>
              <a:ext cx="1965065" cy="71667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2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Support Vector Machine</a:t>
              </a:r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8E0CC09-C012-4CB5-A8D8-43D642485261}"/>
                </a:ext>
              </a:extLst>
            </p:cNvPr>
            <p:cNvSpPr txBox="1"/>
            <p:nvPr/>
          </p:nvSpPr>
          <p:spPr>
            <a:xfrm>
              <a:off x="2090576" y="901492"/>
              <a:ext cx="2677015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Classification </a:t>
              </a:r>
            </a:p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algorithms</a:t>
              </a:r>
            </a:p>
          </p:txBody>
        </p:sp>
        <p:sp>
          <p:nvSpPr>
            <p:cNvPr id="54" name="Left Bracket 53">
              <a:extLst>
                <a:ext uri="{FF2B5EF4-FFF2-40B4-BE49-F238E27FC236}">
                  <a16:creationId xmlns:a16="http://schemas.microsoft.com/office/drawing/2014/main" id="{0F5C0EA5-BDC1-4DFD-95DC-4ACF3CDF2C01}"/>
                </a:ext>
              </a:extLst>
            </p:cNvPr>
            <p:cNvSpPr/>
            <p:nvPr/>
          </p:nvSpPr>
          <p:spPr>
            <a:xfrm>
              <a:off x="2284516" y="1032401"/>
              <a:ext cx="104276" cy="5682724"/>
            </a:xfrm>
            <a:prstGeom prst="leftBracket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0E54A635-2D60-4370-B8AC-8EFE7F0EF796}"/>
              </a:ext>
            </a:extLst>
          </p:cNvPr>
          <p:cNvGrpSpPr/>
          <p:nvPr/>
        </p:nvGrpSpPr>
        <p:grpSpPr>
          <a:xfrm>
            <a:off x="4523852" y="1187871"/>
            <a:ext cx="2688605" cy="5027371"/>
            <a:chOff x="4400027" y="1200454"/>
            <a:chExt cx="2688605" cy="5027371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9C41B10C-1779-4662-A67A-A7DF70072160}"/>
                </a:ext>
              </a:extLst>
            </p:cNvPr>
            <p:cNvSpPr txBox="1"/>
            <p:nvPr/>
          </p:nvSpPr>
          <p:spPr>
            <a:xfrm>
              <a:off x="4411617" y="1200454"/>
              <a:ext cx="267701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Baseline model</a:t>
              </a:r>
            </a:p>
          </p:txBody>
        </p:sp>
        <p:sp>
          <p:nvSpPr>
            <p:cNvPr id="60" name="Google Shape;124;p24">
              <a:extLst>
                <a:ext uri="{FF2B5EF4-FFF2-40B4-BE49-F238E27FC236}">
                  <a16:creationId xmlns:a16="http://schemas.microsoft.com/office/drawing/2014/main" id="{CA2E6C2A-1BA8-4E1B-81BE-A3DF91DDE0D9}"/>
                </a:ext>
              </a:extLst>
            </p:cNvPr>
            <p:cNvSpPr/>
            <p:nvPr/>
          </p:nvSpPr>
          <p:spPr>
            <a:xfrm>
              <a:off x="4811412" y="3126581"/>
              <a:ext cx="1965065" cy="133929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tx2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/>
                <a:t>Class Weigh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/>
                <a:t>Default hyperparameters</a:t>
              </a:r>
            </a:p>
          </p:txBody>
        </p: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22BD8E94-A580-4F81-BAB2-DFC2027856EB}"/>
                </a:ext>
              </a:extLst>
            </p:cNvPr>
            <p:cNvCxnSpPr>
              <a:cxnSpLocks/>
              <a:stCxn id="38" idx="3"/>
              <a:endCxn id="60" idx="1"/>
            </p:cNvCxnSpPr>
            <p:nvPr/>
          </p:nvCxnSpPr>
          <p:spPr>
            <a:xfrm>
              <a:off x="4400027" y="2104043"/>
              <a:ext cx="411385" cy="1692184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8" name="Straight Arrow Connector 77">
              <a:extLst>
                <a:ext uri="{FF2B5EF4-FFF2-40B4-BE49-F238E27FC236}">
                  <a16:creationId xmlns:a16="http://schemas.microsoft.com/office/drawing/2014/main" id="{E062E2AD-8133-4639-9BD0-AED4F817227B}"/>
                </a:ext>
              </a:extLst>
            </p:cNvPr>
            <p:cNvCxnSpPr>
              <a:cxnSpLocks/>
              <a:stCxn id="40" idx="3"/>
              <a:endCxn id="60" idx="1"/>
            </p:cNvCxnSpPr>
            <p:nvPr/>
          </p:nvCxnSpPr>
          <p:spPr>
            <a:xfrm>
              <a:off x="4400027" y="3139094"/>
              <a:ext cx="411385" cy="65713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0EE0ADD2-420F-444B-AD5A-1492E570068B}"/>
                </a:ext>
              </a:extLst>
            </p:cNvPr>
            <p:cNvCxnSpPr>
              <a:cxnSpLocks/>
              <a:stCxn id="42" idx="3"/>
              <a:endCxn id="60" idx="1"/>
            </p:cNvCxnSpPr>
            <p:nvPr/>
          </p:nvCxnSpPr>
          <p:spPr>
            <a:xfrm flipV="1">
              <a:off x="4400027" y="3796227"/>
              <a:ext cx="411385" cy="372444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5732F03C-7B07-418F-84B4-0F2EE8518595}"/>
                </a:ext>
              </a:extLst>
            </p:cNvPr>
            <p:cNvCxnSpPr>
              <a:cxnSpLocks/>
              <a:stCxn id="44" idx="3"/>
              <a:endCxn id="60" idx="1"/>
            </p:cNvCxnSpPr>
            <p:nvPr/>
          </p:nvCxnSpPr>
          <p:spPr>
            <a:xfrm flipV="1">
              <a:off x="4400027" y="3796227"/>
              <a:ext cx="411385" cy="1402021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75927CB1-0E4E-4484-A091-5D06B41F4C55}"/>
                </a:ext>
              </a:extLst>
            </p:cNvPr>
            <p:cNvCxnSpPr>
              <a:cxnSpLocks/>
              <a:stCxn id="47" idx="3"/>
              <a:endCxn id="60" idx="1"/>
            </p:cNvCxnSpPr>
            <p:nvPr/>
          </p:nvCxnSpPr>
          <p:spPr>
            <a:xfrm flipV="1">
              <a:off x="4400027" y="3796227"/>
              <a:ext cx="411385" cy="2431598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36EF5ECC-EB9A-4D8D-B2E2-848B8A75AB20}"/>
              </a:ext>
            </a:extLst>
          </p:cNvPr>
          <p:cNvGrpSpPr/>
          <p:nvPr/>
        </p:nvGrpSpPr>
        <p:grpSpPr>
          <a:xfrm>
            <a:off x="9348614" y="1217383"/>
            <a:ext cx="2186438" cy="4777855"/>
            <a:chOff x="9215969" y="879534"/>
            <a:chExt cx="2186438" cy="5157889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F90177EC-407C-4BFA-AE1F-0BEBB8A41F9B}"/>
                </a:ext>
              </a:extLst>
            </p:cNvPr>
            <p:cNvSpPr txBox="1"/>
            <p:nvPr/>
          </p:nvSpPr>
          <p:spPr>
            <a:xfrm>
              <a:off x="9215969" y="879534"/>
              <a:ext cx="206768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Hyperparameters tuning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BDF82B28-28D5-4A9E-94ED-AC26652F57E6}"/>
                </a:ext>
              </a:extLst>
            </p:cNvPr>
            <p:cNvSpPr/>
            <p:nvPr/>
          </p:nvSpPr>
          <p:spPr>
            <a:xfrm>
              <a:off x="9215969" y="1652692"/>
              <a:ext cx="2186438" cy="2405270"/>
            </a:xfrm>
            <a:prstGeom prst="rect">
              <a:avLst/>
            </a:prstGeom>
            <a:solidFill>
              <a:srgbClr val="FFD85B"/>
            </a:solidFill>
            <a:ln>
              <a:solidFill>
                <a:srgbClr val="FFCC2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Logistic Regress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tx1"/>
                  </a:solidFill>
                </a:rPr>
                <a:t>Sampled by Yea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tx1"/>
                  </a:solidFill>
                </a:rPr>
                <a:t>Class Weigh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tx1"/>
                  </a:solidFill>
                </a:rPr>
                <a:t>aggregationDepth: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tx1"/>
                  </a:solidFill>
                </a:rPr>
                <a:t>Ridge regulariza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tx1"/>
                  </a:solidFill>
                </a:rPr>
                <a:t>maxIter: 100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500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regParam: 0.01</a:t>
              </a:r>
              <a:endParaRPr lang="en-US" sz="1500" dirty="0">
                <a:solidFill>
                  <a:schemeClr val="tx1"/>
                </a:solidFill>
              </a:endParaRP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D7B701D3-E2C5-42E5-8FED-6743AAD8E8EA}"/>
                </a:ext>
              </a:extLst>
            </p:cNvPr>
            <p:cNvSpPr/>
            <p:nvPr/>
          </p:nvSpPr>
          <p:spPr>
            <a:xfrm>
              <a:off x="9215969" y="4229694"/>
              <a:ext cx="2186438" cy="1807729"/>
            </a:xfrm>
            <a:prstGeom prst="rect">
              <a:avLst/>
            </a:prstGeom>
            <a:solidFill>
              <a:srgbClr val="FFD85B"/>
            </a:solidFill>
            <a:ln>
              <a:solidFill>
                <a:srgbClr val="FFCC2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Gradient Boosting Tre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tx1"/>
                  </a:solidFill>
                </a:rPr>
                <a:t>Sampled by Labe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500" dirty="0" err="1">
                  <a:solidFill>
                    <a:schemeClr val="tx1"/>
                  </a:solidFill>
                </a:rPr>
                <a:t>maxBins</a:t>
              </a:r>
              <a:r>
                <a:rPr lang="en-US" sz="1500" dirty="0">
                  <a:solidFill>
                    <a:schemeClr val="tx1"/>
                  </a:solidFill>
                </a:rPr>
                <a:t>: 60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tx1"/>
                  </a:solidFill>
                </a:rPr>
                <a:t>maxDepth: 6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tx1"/>
                  </a:solidFill>
                </a:rPr>
                <a:t>maxIter: 20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41F2F7A4-4413-4612-85C7-BB33542D4E94}"/>
              </a:ext>
            </a:extLst>
          </p:cNvPr>
          <p:cNvGrpSpPr/>
          <p:nvPr/>
        </p:nvGrpSpPr>
        <p:grpSpPr>
          <a:xfrm>
            <a:off x="7071394" y="3246243"/>
            <a:ext cx="1920471" cy="2828461"/>
            <a:chOff x="6947569" y="3191449"/>
            <a:chExt cx="1920471" cy="2828461"/>
          </a:xfrm>
        </p:grpSpPr>
        <p:sp>
          <p:nvSpPr>
            <p:cNvPr id="83" name="Arrow: Right 82">
              <a:extLst>
                <a:ext uri="{FF2B5EF4-FFF2-40B4-BE49-F238E27FC236}">
                  <a16:creationId xmlns:a16="http://schemas.microsoft.com/office/drawing/2014/main" id="{9ABDEEA7-E3B0-4356-9E96-C3BA2845857F}"/>
                </a:ext>
              </a:extLst>
            </p:cNvPr>
            <p:cNvSpPr/>
            <p:nvPr/>
          </p:nvSpPr>
          <p:spPr>
            <a:xfrm>
              <a:off x="7081184" y="3191449"/>
              <a:ext cx="1786856" cy="1207047"/>
            </a:xfrm>
            <a:prstGeom prst="rightArrow">
              <a:avLst/>
            </a:prstGeom>
            <a:solidFill>
              <a:srgbClr val="FFD85B"/>
            </a:solidFill>
            <a:ln>
              <a:solidFill>
                <a:srgbClr val="FFCC2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ysClr val="windowText" lastClr="000000"/>
                  </a:solidFill>
                </a:rPr>
                <a:t>BEST MODELS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B757049B-1CB4-4EEC-B288-EB095FE0F68A}"/>
                </a:ext>
              </a:extLst>
            </p:cNvPr>
            <p:cNvSpPr txBox="1"/>
            <p:nvPr/>
          </p:nvSpPr>
          <p:spPr>
            <a:xfrm>
              <a:off x="6947569" y="4450250"/>
              <a:ext cx="1920471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Highest metrics on validation se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/>
                <a:t>AUC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/>
                <a:t>Precis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/>
                <a:t>Recal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/>
                <a:t>Prediction values</a:t>
              </a:r>
            </a:p>
          </p:txBody>
        </p:sp>
      </p:grpSp>
      <p:sp>
        <p:nvSpPr>
          <p:cNvPr id="123" name="Slide Number Placeholder 122">
            <a:extLst>
              <a:ext uri="{FF2B5EF4-FFF2-40B4-BE49-F238E27FC236}">
                <a16:creationId xmlns:a16="http://schemas.microsoft.com/office/drawing/2014/main" id="{0CA3C5FC-B6F0-47A8-87C6-F0FEF1790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648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4;p24">
            <a:extLst>
              <a:ext uri="{FF2B5EF4-FFF2-40B4-BE49-F238E27FC236}">
                <a16:creationId xmlns:a16="http://schemas.microsoft.com/office/drawing/2014/main" id="{6D720DCE-DADA-4513-AEF8-ED2CEEE5B144}"/>
              </a:ext>
            </a:extLst>
          </p:cNvPr>
          <p:cNvSpPr/>
          <p:nvPr/>
        </p:nvSpPr>
        <p:spPr>
          <a:xfrm rot="5400000">
            <a:off x="5841950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BF08B8-0E4B-45E3-B535-E1E8EF6801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04951" y="366764"/>
            <a:ext cx="3009298" cy="479424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sz="2400" b="1" dirty="0"/>
              <a:t>PERFORMANCE MATRIX</a:t>
            </a:r>
          </a:p>
        </p:txBody>
      </p:sp>
      <p:cxnSp>
        <p:nvCxnSpPr>
          <p:cNvPr id="5" name="Google Shape;1480;p34">
            <a:extLst>
              <a:ext uri="{FF2B5EF4-FFF2-40B4-BE49-F238E27FC236}">
                <a16:creationId xmlns:a16="http://schemas.microsoft.com/office/drawing/2014/main" id="{14EFF2B7-7D92-43F7-A19E-0251EDFF2496}"/>
              </a:ext>
            </a:extLst>
          </p:cNvPr>
          <p:cNvCxnSpPr>
            <a:cxnSpLocks/>
          </p:cNvCxnSpPr>
          <p:nvPr/>
        </p:nvCxnSpPr>
        <p:spPr>
          <a:xfrm>
            <a:off x="359900" y="598413"/>
            <a:ext cx="114505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" name="Google Shape;1480;p34">
            <a:extLst>
              <a:ext uri="{FF2B5EF4-FFF2-40B4-BE49-F238E27FC236}">
                <a16:creationId xmlns:a16="http://schemas.microsoft.com/office/drawing/2014/main" id="{5155CBDE-CC77-49F0-B728-8D53A1568E3A}"/>
              </a:ext>
            </a:extLst>
          </p:cNvPr>
          <p:cNvCxnSpPr>
            <a:cxnSpLocks/>
          </p:cNvCxnSpPr>
          <p:nvPr/>
        </p:nvCxnSpPr>
        <p:spPr>
          <a:xfrm>
            <a:off x="4514248" y="569838"/>
            <a:ext cx="7392002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11" name="Table 5">
            <a:extLst>
              <a:ext uri="{FF2B5EF4-FFF2-40B4-BE49-F238E27FC236}">
                <a16:creationId xmlns:a16="http://schemas.microsoft.com/office/drawing/2014/main" id="{92297EDE-5AF5-4E82-B3E6-BF9BA3C648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2562326"/>
              </p:ext>
            </p:extLst>
          </p:nvPr>
        </p:nvGraphicFramePr>
        <p:xfrm>
          <a:off x="504825" y="1030012"/>
          <a:ext cx="11276497" cy="5440429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565634">
                  <a:extLst>
                    <a:ext uri="{9D8B030D-6E8A-4147-A177-3AD203B41FA5}">
                      <a16:colId xmlns:a16="http://schemas.microsoft.com/office/drawing/2014/main" val="1779840522"/>
                    </a:ext>
                  </a:extLst>
                </a:gridCol>
                <a:gridCol w="2136808">
                  <a:extLst>
                    <a:ext uri="{9D8B030D-6E8A-4147-A177-3AD203B41FA5}">
                      <a16:colId xmlns:a16="http://schemas.microsoft.com/office/drawing/2014/main" val="2116418042"/>
                    </a:ext>
                  </a:extLst>
                </a:gridCol>
                <a:gridCol w="1414914">
                  <a:extLst>
                    <a:ext uri="{9D8B030D-6E8A-4147-A177-3AD203B41FA5}">
                      <a16:colId xmlns:a16="http://schemas.microsoft.com/office/drawing/2014/main" val="260951907"/>
                    </a:ext>
                  </a:extLst>
                </a:gridCol>
                <a:gridCol w="1299411">
                  <a:extLst>
                    <a:ext uri="{9D8B030D-6E8A-4147-A177-3AD203B41FA5}">
                      <a16:colId xmlns:a16="http://schemas.microsoft.com/office/drawing/2014/main" val="4056635454"/>
                    </a:ext>
                  </a:extLst>
                </a:gridCol>
                <a:gridCol w="1299410">
                  <a:extLst>
                    <a:ext uri="{9D8B030D-6E8A-4147-A177-3AD203B41FA5}">
                      <a16:colId xmlns:a16="http://schemas.microsoft.com/office/drawing/2014/main" val="2577907612"/>
                    </a:ext>
                  </a:extLst>
                </a:gridCol>
                <a:gridCol w="2560320">
                  <a:extLst>
                    <a:ext uri="{9D8B030D-6E8A-4147-A177-3AD203B41FA5}">
                      <a16:colId xmlns:a16="http://schemas.microsoft.com/office/drawing/2014/main" val="3441975266"/>
                    </a:ext>
                  </a:extLst>
                </a:gridCol>
              </a:tblGrid>
              <a:tr h="1029794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MODEL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SAMPLING METH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Vector Assembl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ACCURACY (validation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AUC (prediction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TRAINING TIME (1 being worst, 5 being best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253123"/>
                  </a:ext>
                </a:extLst>
              </a:tr>
              <a:tr h="882580">
                <a:tc>
                  <a:txBody>
                    <a:bodyPr/>
                    <a:lstStyle/>
                    <a:p>
                      <a:r>
                        <a:rPr lang="en-US" b="1" dirty="0"/>
                        <a:t>Logistics Regression</a:t>
                      </a:r>
                    </a:p>
                    <a:p>
                      <a:r>
                        <a:rPr lang="en-US" b="0" dirty="0"/>
                        <a:t>(hyper tuned 3-fold cv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ratified sampling by Ye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8 attribu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8062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6776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5 </a:t>
                      </a:r>
                      <a:r>
                        <a:rPr lang="en-US" sz="1800" b="1" dirty="0"/>
                        <a:t>for baseline model</a:t>
                      </a:r>
                    </a:p>
                    <a:p>
                      <a:pPr algn="ctr"/>
                      <a:r>
                        <a:rPr lang="en-US" sz="2400" b="1" dirty="0"/>
                        <a:t>3</a:t>
                      </a:r>
                      <a:r>
                        <a:rPr lang="en-US" sz="1800" b="1" dirty="0"/>
                        <a:t> for hyper tuned model</a:t>
                      </a:r>
                      <a:endParaRPr lang="en-US" sz="24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8953579"/>
                  </a:ext>
                </a:extLst>
              </a:tr>
              <a:tr h="734076">
                <a:tc>
                  <a:txBody>
                    <a:bodyPr/>
                    <a:lstStyle/>
                    <a:p>
                      <a:r>
                        <a:rPr lang="en-US" b="1" dirty="0"/>
                        <a:t>Random For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tratified sampling by Labe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19 attribu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7317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5623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1240534"/>
                  </a:ext>
                </a:extLst>
              </a:tr>
              <a:tr h="734076">
                <a:tc>
                  <a:txBody>
                    <a:bodyPr/>
                    <a:lstStyle/>
                    <a:p>
                      <a:r>
                        <a:rPr lang="en-US" b="1" dirty="0"/>
                        <a:t>Naïve Bay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ratified sampling by Ye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15 attribu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8512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641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0087864"/>
                  </a:ext>
                </a:extLst>
              </a:tr>
              <a:tr h="734076">
                <a:tc>
                  <a:txBody>
                    <a:bodyPr/>
                    <a:lstStyle/>
                    <a:p>
                      <a:r>
                        <a:rPr lang="en-US" b="1" dirty="0"/>
                        <a:t>Gradient Boosting Tre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/>
                        <a:t>(hyper tuned 3-fold cv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tratified sampling by Labe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19 attribu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802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6529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/>
                        <a:t>3</a:t>
                      </a:r>
                      <a:r>
                        <a:rPr lang="en-US" sz="3200" b="1" dirty="0"/>
                        <a:t> </a:t>
                      </a:r>
                      <a:r>
                        <a:rPr lang="en-US" sz="1800" b="1" dirty="0"/>
                        <a:t>for baseline model</a:t>
                      </a:r>
                    </a:p>
                    <a:p>
                      <a:pPr algn="ctr"/>
                      <a:r>
                        <a:rPr lang="en-US" sz="2400" b="1" dirty="0"/>
                        <a:t>2 </a:t>
                      </a:r>
                      <a:r>
                        <a:rPr lang="en-US" sz="1800" b="1" dirty="0"/>
                        <a:t>for hyper tuned mode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9230702"/>
                  </a:ext>
                </a:extLst>
              </a:tr>
              <a:tr h="1115023">
                <a:tc>
                  <a:txBody>
                    <a:bodyPr/>
                    <a:lstStyle/>
                    <a:p>
                      <a:r>
                        <a:rPr lang="en-US" b="1" dirty="0"/>
                        <a:t>Support Vector Machi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tratified sampling by Ye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18 attribu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814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661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4179019"/>
                  </a:ext>
                </a:extLst>
              </a:tr>
            </a:tbl>
          </a:graphicData>
        </a:graphic>
      </p:graphicFrame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FBE72E7C-0634-4635-BBBC-E4CA56B63BAF}"/>
              </a:ext>
            </a:extLst>
          </p:cNvPr>
          <p:cNvSpPr/>
          <p:nvPr/>
        </p:nvSpPr>
        <p:spPr>
          <a:xfrm>
            <a:off x="308008" y="1961086"/>
            <a:ext cx="11617492" cy="1057893"/>
          </a:xfrm>
          <a:prstGeom prst="roundRect">
            <a:avLst/>
          </a:prstGeom>
          <a:noFill/>
          <a:ln w="38100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2" descr="See the source image">
            <a:extLst>
              <a:ext uri="{FF2B5EF4-FFF2-40B4-BE49-F238E27FC236}">
                <a16:creationId xmlns:a16="http://schemas.microsoft.com/office/drawing/2014/main" id="{567E8E13-5166-464D-AFB3-1AB4AA08E5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4770" y="6368613"/>
            <a:ext cx="1620969" cy="52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268EB637-8ED7-4A8C-ABF1-88C06CE3E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4565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4;p24">
            <a:extLst>
              <a:ext uri="{FF2B5EF4-FFF2-40B4-BE49-F238E27FC236}">
                <a16:creationId xmlns:a16="http://schemas.microsoft.com/office/drawing/2014/main" id="{6D720DCE-DADA-4513-AEF8-ED2CEEE5B144}"/>
              </a:ext>
            </a:extLst>
          </p:cNvPr>
          <p:cNvSpPr/>
          <p:nvPr/>
        </p:nvSpPr>
        <p:spPr>
          <a:xfrm rot="5400000">
            <a:off x="5841947" y="-511981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6BA3B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BF08B8-0E4B-45E3-B535-E1E8EF6801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04950" y="245994"/>
            <a:ext cx="2390775" cy="47942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COST ESTIMATOR</a:t>
            </a:r>
          </a:p>
        </p:txBody>
      </p:sp>
      <p:cxnSp>
        <p:nvCxnSpPr>
          <p:cNvPr id="5" name="Google Shape;1480;p34">
            <a:extLst>
              <a:ext uri="{FF2B5EF4-FFF2-40B4-BE49-F238E27FC236}">
                <a16:creationId xmlns:a16="http://schemas.microsoft.com/office/drawing/2014/main" id="{14EFF2B7-7D92-43F7-A19E-0251EDFF2496}"/>
              </a:ext>
            </a:extLst>
          </p:cNvPr>
          <p:cNvCxnSpPr>
            <a:cxnSpLocks/>
          </p:cNvCxnSpPr>
          <p:nvPr/>
        </p:nvCxnSpPr>
        <p:spPr>
          <a:xfrm>
            <a:off x="359900" y="496893"/>
            <a:ext cx="114505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" name="Google Shape;1480;p34">
            <a:extLst>
              <a:ext uri="{FF2B5EF4-FFF2-40B4-BE49-F238E27FC236}">
                <a16:creationId xmlns:a16="http://schemas.microsoft.com/office/drawing/2014/main" id="{5155CBDE-CC77-49F0-B728-8D53A1568E3A}"/>
              </a:ext>
            </a:extLst>
          </p:cNvPr>
          <p:cNvCxnSpPr>
            <a:cxnSpLocks/>
            <a:stCxn id="4" idx="3"/>
          </p:cNvCxnSpPr>
          <p:nvPr/>
        </p:nvCxnSpPr>
        <p:spPr>
          <a:xfrm flipV="1">
            <a:off x="3895725" y="468318"/>
            <a:ext cx="8010525" cy="17388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E40D22AE-A94D-4636-9562-FB867BA4FF82}"/>
              </a:ext>
            </a:extLst>
          </p:cNvPr>
          <p:cNvGrpSpPr/>
          <p:nvPr/>
        </p:nvGrpSpPr>
        <p:grpSpPr>
          <a:xfrm>
            <a:off x="9240571" y="1486930"/>
            <a:ext cx="2781334" cy="3593609"/>
            <a:chOff x="9267427" y="2733706"/>
            <a:chExt cx="2781334" cy="3593609"/>
          </a:xfrm>
        </p:grpSpPr>
        <p:pic>
          <p:nvPicPr>
            <p:cNvPr id="2050" name="Picture 2" descr="Idea - Free technology icons">
              <a:extLst>
                <a:ext uri="{FF2B5EF4-FFF2-40B4-BE49-F238E27FC236}">
                  <a16:creationId xmlns:a16="http://schemas.microsoft.com/office/drawing/2014/main" id="{9500CD99-AC43-4986-8A92-6DDFB1BAD0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93400" y="2733706"/>
              <a:ext cx="1145836" cy="11458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FF651F2-A3BE-4095-A293-4EE886634048}"/>
                </a:ext>
              </a:extLst>
            </p:cNvPr>
            <p:cNvSpPr txBox="1"/>
            <p:nvPr/>
          </p:nvSpPr>
          <p:spPr>
            <a:xfrm>
              <a:off x="9267427" y="3680437"/>
              <a:ext cx="2781334" cy="26468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200" b="1" dirty="0"/>
                <a:t>Strategy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/>
                <a:t>Cache(). frequently read data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/>
                <a:t>Use PySpark as much as possible, only use UDF when needed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/>
                <a:t>Use Pipeline for pre-processing and M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/>
                <a:t>Set max value for number of additional attributes</a:t>
              </a:r>
            </a:p>
          </p:txBody>
        </p:sp>
      </p:grp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D540F036-A6D4-4923-90EF-D524DD56F7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3359706"/>
              </p:ext>
            </p:extLst>
          </p:nvPr>
        </p:nvGraphicFramePr>
        <p:xfrm>
          <a:off x="501034" y="4775298"/>
          <a:ext cx="8557207" cy="191955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43762">
                  <a:extLst>
                    <a:ext uri="{9D8B030D-6E8A-4147-A177-3AD203B41FA5}">
                      <a16:colId xmlns:a16="http://schemas.microsoft.com/office/drawing/2014/main" val="896019268"/>
                    </a:ext>
                  </a:extLst>
                </a:gridCol>
                <a:gridCol w="1042607">
                  <a:extLst>
                    <a:ext uri="{9D8B030D-6E8A-4147-A177-3AD203B41FA5}">
                      <a16:colId xmlns:a16="http://schemas.microsoft.com/office/drawing/2014/main" val="1480584288"/>
                    </a:ext>
                  </a:extLst>
                </a:gridCol>
                <a:gridCol w="728091">
                  <a:extLst>
                    <a:ext uri="{9D8B030D-6E8A-4147-A177-3AD203B41FA5}">
                      <a16:colId xmlns:a16="http://schemas.microsoft.com/office/drawing/2014/main" val="2371370574"/>
                    </a:ext>
                  </a:extLst>
                </a:gridCol>
                <a:gridCol w="1744980">
                  <a:extLst>
                    <a:ext uri="{9D8B030D-6E8A-4147-A177-3AD203B41FA5}">
                      <a16:colId xmlns:a16="http://schemas.microsoft.com/office/drawing/2014/main" val="2705644565"/>
                    </a:ext>
                  </a:extLst>
                </a:gridCol>
                <a:gridCol w="2232597">
                  <a:extLst>
                    <a:ext uri="{9D8B030D-6E8A-4147-A177-3AD203B41FA5}">
                      <a16:colId xmlns:a16="http://schemas.microsoft.com/office/drawing/2014/main" val="2920984528"/>
                    </a:ext>
                  </a:extLst>
                </a:gridCol>
                <a:gridCol w="1665170">
                  <a:extLst>
                    <a:ext uri="{9D8B030D-6E8A-4147-A177-3AD203B41FA5}">
                      <a16:colId xmlns:a16="http://schemas.microsoft.com/office/drawing/2014/main" val="3497467314"/>
                    </a:ext>
                  </a:extLst>
                </a:gridCol>
              </a:tblGrid>
              <a:tr h="383911">
                <a:tc>
                  <a:txBody>
                    <a:bodyPr/>
                    <a:lstStyle/>
                    <a:p>
                      <a:r>
                        <a:rPr lang="en-US" sz="1600" dirty="0"/>
                        <a:t>Event Type</a:t>
                      </a:r>
                      <a:endParaRPr lang="en-CA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ost Type</a:t>
                      </a:r>
                      <a:endParaRPr lang="en-CA" sz="16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Hours</a:t>
                      </a:r>
                      <a:endParaRPr lang="en-CA" sz="16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Unit Cost ($CAD)</a:t>
                      </a:r>
                      <a:endParaRPr lang="en-CA" sz="16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umulative Cost ($CAD)</a:t>
                      </a:r>
                      <a:endParaRPr lang="en-CA" sz="16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Total Cost ($CAD)</a:t>
                      </a:r>
                      <a:endParaRPr lang="en-CA" sz="16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416142"/>
                  </a:ext>
                </a:extLst>
              </a:tr>
              <a:tr h="383911">
                <a:tc rowSpan="2"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EDA</a:t>
                      </a:r>
                      <a:endParaRPr lang="en-CA" sz="2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loud</a:t>
                      </a:r>
                      <a:endParaRPr lang="en-C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39</a:t>
                      </a:r>
                      <a:endParaRPr lang="en-C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0.366 $USD * 1.33</a:t>
                      </a:r>
                      <a:endParaRPr lang="en-C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$19</a:t>
                      </a:r>
                      <a:endParaRPr lang="en-CA" sz="1600" dirty="0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2400" b="1" dirty="0"/>
                        <a:t>$7,870</a:t>
                      </a:r>
                      <a:endParaRPr lang="en-CA" sz="24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9502005"/>
                  </a:ext>
                </a:extLst>
              </a:tr>
              <a:tr h="383911">
                <a:tc v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nalysis</a:t>
                      </a:r>
                      <a:endParaRPr lang="en-C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5</a:t>
                      </a:r>
                      <a:endParaRPr lang="en-C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25</a:t>
                      </a:r>
                      <a:endParaRPr lang="en-C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$370</a:t>
                      </a:r>
                      <a:endParaRPr lang="en-CA" sz="16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1127943"/>
                  </a:ext>
                </a:extLst>
              </a:tr>
              <a:tr h="383911">
                <a:tc rowSpan="2"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Model</a:t>
                      </a:r>
                      <a:endParaRPr lang="en-CA" sz="2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loud</a:t>
                      </a:r>
                      <a:endParaRPr lang="en-C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320.5</a:t>
                      </a:r>
                      <a:endParaRPr lang="en-C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0.366 $USD * 1.33</a:t>
                      </a:r>
                      <a:endParaRPr lang="en-C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$156</a:t>
                      </a:r>
                      <a:endParaRPr lang="en-CA" sz="16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5219392"/>
                  </a:ext>
                </a:extLst>
              </a:tr>
              <a:tr h="383911">
                <a:tc v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nalysis</a:t>
                      </a:r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93</a:t>
                      </a:r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5</a:t>
                      </a:r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$7,325</a:t>
                      </a:r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7254146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E751D02-0FDF-4D5F-A045-A5DE78C50B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034" y="849314"/>
            <a:ext cx="8526928" cy="3914796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326827-0B6C-4BA9-87C0-EE81EE8E8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089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4;p24">
            <a:extLst>
              <a:ext uri="{FF2B5EF4-FFF2-40B4-BE49-F238E27FC236}">
                <a16:creationId xmlns:a16="http://schemas.microsoft.com/office/drawing/2014/main" id="{6D720DCE-DADA-4513-AEF8-ED2CEEE5B144}"/>
              </a:ext>
            </a:extLst>
          </p:cNvPr>
          <p:cNvSpPr/>
          <p:nvPr/>
        </p:nvSpPr>
        <p:spPr>
          <a:xfrm rot="5400000">
            <a:off x="5841947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BF08B8-0E4B-45E3-B535-E1E8EF6801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04950" y="347514"/>
            <a:ext cx="2390775" cy="47942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CONCLUSION</a:t>
            </a:r>
          </a:p>
        </p:txBody>
      </p:sp>
      <p:cxnSp>
        <p:nvCxnSpPr>
          <p:cNvPr id="5" name="Google Shape;1480;p34">
            <a:extLst>
              <a:ext uri="{FF2B5EF4-FFF2-40B4-BE49-F238E27FC236}">
                <a16:creationId xmlns:a16="http://schemas.microsoft.com/office/drawing/2014/main" id="{14EFF2B7-7D92-43F7-A19E-0251EDFF2496}"/>
              </a:ext>
            </a:extLst>
          </p:cNvPr>
          <p:cNvCxnSpPr>
            <a:cxnSpLocks/>
          </p:cNvCxnSpPr>
          <p:nvPr/>
        </p:nvCxnSpPr>
        <p:spPr>
          <a:xfrm>
            <a:off x="359900" y="598413"/>
            <a:ext cx="114505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" name="Google Shape;1480;p34">
            <a:extLst>
              <a:ext uri="{FF2B5EF4-FFF2-40B4-BE49-F238E27FC236}">
                <a16:creationId xmlns:a16="http://schemas.microsoft.com/office/drawing/2014/main" id="{5155CBDE-CC77-49F0-B728-8D53A1568E3A}"/>
              </a:ext>
            </a:extLst>
          </p:cNvPr>
          <p:cNvCxnSpPr>
            <a:cxnSpLocks/>
          </p:cNvCxnSpPr>
          <p:nvPr/>
        </p:nvCxnSpPr>
        <p:spPr>
          <a:xfrm flipV="1">
            <a:off x="3476625" y="569838"/>
            <a:ext cx="8429625" cy="17388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0AD10BC-877B-498B-9D7E-92DCCF064C47}"/>
              </a:ext>
            </a:extLst>
          </p:cNvPr>
          <p:cNvGrpSpPr/>
          <p:nvPr/>
        </p:nvGrpSpPr>
        <p:grpSpPr>
          <a:xfrm>
            <a:off x="504825" y="894523"/>
            <a:ext cx="11806232" cy="2174954"/>
            <a:chOff x="504825" y="894523"/>
            <a:chExt cx="11806232" cy="217495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346A6BB-277E-4C6E-AD80-CF5255B4FDDB}"/>
                </a:ext>
              </a:extLst>
            </p:cNvPr>
            <p:cNvSpPr txBox="1"/>
            <p:nvPr/>
          </p:nvSpPr>
          <p:spPr>
            <a:xfrm>
              <a:off x="764707" y="894523"/>
              <a:ext cx="11546350" cy="21749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685800" lvl="4">
                <a:lnSpc>
                  <a:spcPct val="100000"/>
                </a:lnSpc>
                <a:spcBef>
                  <a:spcPts val="1000"/>
                </a:spcBef>
              </a:pPr>
              <a:r>
                <a:rPr lang="en-CA" sz="2400" dirty="0"/>
                <a:t>	</a:t>
              </a:r>
              <a:endParaRPr lang="en-US" sz="2000" dirty="0"/>
            </a:p>
            <a:p>
              <a:pPr marL="1143000" lvl="5">
                <a:spcBef>
                  <a:spcPts val="1000"/>
                </a:spcBef>
              </a:pPr>
              <a:r>
                <a:rPr lang="en-US" sz="2200" b="1" dirty="0"/>
                <a:t>Main Objectives</a:t>
              </a:r>
            </a:p>
            <a:p>
              <a:pPr marL="1943100" lvl="6" indent="-342900"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r>
                <a:rPr lang="en-CA" b="1" dirty="0"/>
                <a:t>Understand </a:t>
              </a:r>
              <a:r>
                <a:rPr lang="en-CA" dirty="0"/>
                <a:t>Amazon reviews hence </a:t>
              </a:r>
              <a:r>
                <a:rPr lang="en-CA" b="1" dirty="0"/>
                <a:t>Develop </a:t>
              </a:r>
              <a:r>
                <a:rPr lang="en-CA" dirty="0"/>
                <a:t>a model predicting helpfulness of reviews</a:t>
              </a:r>
              <a:endParaRPr lang="en-US" dirty="0"/>
            </a:p>
            <a:p>
              <a:pPr marL="2400300" lvl="7" indent="-342900"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r>
                <a:rPr lang="en-US" dirty="0"/>
                <a:t>Reviewer Behavior</a:t>
              </a:r>
            </a:p>
            <a:p>
              <a:pPr marL="2400300" lvl="7" indent="-342900"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r>
                <a:rPr lang="en-US" dirty="0"/>
                <a:t>Prediction Accuracy</a:t>
              </a:r>
            </a:p>
          </p:txBody>
        </p:sp>
        <p:pic>
          <p:nvPicPr>
            <p:cNvPr id="3080" name="Picture 8" descr="Free icon download | Target">
              <a:extLst>
                <a:ext uri="{FF2B5EF4-FFF2-40B4-BE49-F238E27FC236}">
                  <a16:creationId xmlns:a16="http://schemas.microsoft.com/office/drawing/2014/main" id="{FBE35CEA-C448-46C0-B4BE-808B0274B0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4825" y="1356187"/>
              <a:ext cx="1072096" cy="10720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2A72F85-F02D-4198-9E14-840E3117D39C}"/>
              </a:ext>
            </a:extLst>
          </p:cNvPr>
          <p:cNvGrpSpPr/>
          <p:nvPr/>
        </p:nvGrpSpPr>
        <p:grpSpPr>
          <a:xfrm>
            <a:off x="583672" y="3107777"/>
            <a:ext cx="6360855" cy="1439921"/>
            <a:chOff x="583672" y="3107777"/>
            <a:chExt cx="6360855" cy="1439921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548EF36-2354-442B-A224-70DF2311FC53}"/>
                </a:ext>
              </a:extLst>
            </p:cNvPr>
            <p:cNvSpPr txBox="1"/>
            <p:nvPr/>
          </p:nvSpPr>
          <p:spPr>
            <a:xfrm>
              <a:off x="846923" y="3275555"/>
              <a:ext cx="6097604" cy="12721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143000" lvl="5">
                <a:spcBef>
                  <a:spcPts val="1000"/>
                </a:spcBef>
              </a:pPr>
              <a:r>
                <a:rPr lang="en-US" sz="2200" b="1" dirty="0"/>
                <a:t>Kaggle Score: 0.67769</a:t>
              </a:r>
            </a:p>
            <a:p>
              <a:pPr marL="1943100" lvl="6" indent="-342900"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r>
                <a:rPr lang="en-US" dirty="0"/>
                <a:t>Rank 4</a:t>
              </a:r>
              <a:r>
                <a:rPr lang="en-US" baseline="30000" dirty="0"/>
                <a:t>th</a:t>
              </a:r>
              <a:r>
                <a:rPr lang="en-US" dirty="0"/>
                <a:t> Place</a:t>
              </a:r>
            </a:p>
            <a:p>
              <a:pPr marL="1943100" lvl="6" indent="-342900"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r>
                <a:rPr lang="en-US" dirty="0"/>
                <a:t>Logistic Regression with hyper tuning</a:t>
              </a:r>
            </a:p>
          </p:txBody>
        </p:sp>
        <p:pic>
          <p:nvPicPr>
            <p:cNvPr id="8" name="Graphic 7" descr="Race Flag">
              <a:extLst>
                <a:ext uri="{FF2B5EF4-FFF2-40B4-BE49-F238E27FC236}">
                  <a16:creationId xmlns:a16="http://schemas.microsoft.com/office/drawing/2014/main" id="{6FEF3678-0E02-4AB8-8E86-16A4BBB5861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83672" y="3107777"/>
              <a:ext cx="1187375" cy="1187375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618C518-8992-4F56-BD64-91AEC08C04EE}"/>
              </a:ext>
            </a:extLst>
          </p:cNvPr>
          <p:cNvGrpSpPr/>
          <p:nvPr/>
        </p:nvGrpSpPr>
        <p:grpSpPr>
          <a:xfrm>
            <a:off x="583672" y="4770299"/>
            <a:ext cx="11641671" cy="1272143"/>
            <a:chOff x="583672" y="4770299"/>
            <a:chExt cx="11641671" cy="1272143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37F0B46-231B-4CAD-86C4-E2EACF0B717D}"/>
                </a:ext>
              </a:extLst>
            </p:cNvPr>
            <p:cNvSpPr txBox="1"/>
            <p:nvPr/>
          </p:nvSpPr>
          <p:spPr>
            <a:xfrm>
              <a:off x="932425" y="4770299"/>
              <a:ext cx="11292918" cy="12721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143000" lvl="5">
                <a:spcBef>
                  <a:spcPts val="1000"/>
                </a:spcBef>
              </a:pPr>
              <a:r>
                <a:rPr lang="en-US" sz="2200" b="1" dirty="0"/>
                <a:t>What Makes Reviews Helpful</a:t>
              </a:r>
            </a:p>
            <a:p>
              <a:pPr marL="1943100" lvl="6" indent="-342900"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r>
                <a:rPr lang="en-US" dirty="0"/>
                <a:t>Majority of </a:t>
              </a:r>
              <a:r>
                <a:rPr lang="en-US" b="1" dirty="0"/>
                <a:t>shorter</a:t>
              </a:r>
              <a:r>
                <a:rPr lang="en-US" dirty="0"/>
                <a:t> reviews, with </a:t>
              </a:r>
              <a:r>
                <a:rPr lang="en-US" b="1" dirty="0"/>
                <a:t>high</a:t>
              </a:r>
              <a:r>
                <a:rPr lang="en-US" dirty="0"/>
                <a:t> ratings are typically </a:t>
              </a:r>
              <a:r>
                <a:rPr lang="en-US" b="1" dirty="0"/>
                <a:t>not</a:t>
              </a:r>
              <a:r>
                <a:rPr lang="en-US" dirty="0"/>
                <a:t> </a:t>
              </a:r>
              <a:r>
                <a:rPr lang="en-US" b="1" dirty="0"/>
                <a:t>helpful</a:t>
              </a:r>
            </a:p>
            <a:p>
              <a:pPr marL="1943100" lvl="6" indent="-342900"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r>
                <a:rPr lang="en-US" dirty="0"/>
                <a:t>Reviews considered </a:t>
              </a:r>
              <a:r>
                <a:rPr lang="en-US" b="1" dirty="0"/>
                <a:t>helpful </a:t>
              </a:r>
              <a:r>
                <a:rPr lang="en-US" dirty="0"/>
                <a:t>typically have </a:t>
              </a:r>
              <a:r>
                <a:rPr lang="en-US" b="1" dirty="0"/>
                <a:t>lower </a:t>
              </a:r>
              <a:r>
                <a:rPr lang="en-US" dirty="0"/>
                <a:t>ratings and </a:t>
              </a:r>
              <a:r>
                <a:rPr lang="en-US" b="1" dirty="0"/>
                <a:t>longer </a:t>
              </a:r>
              <a:r>
                <a:rPr lang="en-US" dirty="0"/>
                <a:t>sentences</a:t>
              </a:r>
            </a:p>
          </p:txBody>
        </p:sp>
        <p:pic>
          <p:nvPicPr>
            <p:cNvPr id="14" name="Graphic 13" descr="Questions">
              <a:extLst>
                <a:ext uri="{FF2B5EF4-FFF2-40B4-BE49-F238E27FC236}">
                  <a16:creationId xmlns:a16="http://schemas.microsoft.com/office/drawing/2014/main" id="{230741A9-DB67-4E04-A865-FE7BE84EE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83672" y="4770299"/>
              <a:ext cx="1187375" cy="1187375"/>
            </a:xfrm>
            <a:prstGeom prst="rect">
              <a:avLst/>
            </a:prstGeom>
          </p:spPr>
        </p:pic>
      </p:grpSp>
      <p:pic>
        <p:nvPicPr>
          <p:cNvPr id="18" name="Picture 2" descr="See the source image">
            <a:extLst>
              <a:ext uri="{FF2B5EF4-FFF2-40B4-BE49-F238E27FC236}">
                <a16:creationId xmlns:a16="http://schemas.microsoft.com/office/drawing/2014/main" id="{14DDA7C5-5015-42DA-AEDE-1435BE8BB5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4770" y="6358988"/>
            <a:ext cx="1620969" cy="52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3484CFE1-2630-4135-85DD-83C4142D9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9737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E889041-1CC2-4D03-AF32-68834DC4942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" t="14839" r="-203" b="5172"/>
          <a:stretch/>
        </p:blipFill>
        <p:spPr>
          <a:xfrm>
            <a:off x="468761" y="354612"/>
            <a:ext cx="8682477" cy="5712449"/>
          </a:xfrm>
          <a:prstGeom prst="rect">
            <a:avLst/>
          </a:prstGeom>
        </p:spPr>
      </p:pic>
      <p:sp>
        <p:nvSpPr>
          <p:cNvPr id="191" name="Google Shape;191;p29"/>
          <p:cNvSpPr/>
          <p:nvPr/>
        </p:nvSpPr>
        <p:spPr>
          <a:xfrm>
            <a:off x="0" y="4676211"/>
            <a:ext cx="9620000" cy="1390850"/>
          </a:xfrm>
          <a:prstGeom prst="rect">
            <a:avLst/>
          </a:prstGeom>
          <a:solidFill>
            <a:srgbClr val="FFB618"/>
          </a:solidFill>
          <a:ln>
            <a:solidFill>
              <a:srgbClr val="FF9900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194" name="Google Shape;194;p29"/>
          <p:cNvSpPr txBox="1">
            <a:spLocks noGrp="1"/>
          </p:cNvSpPr>
          <p:nvPr>
            <p:ph type="ctrTitle" idx="2"/>
          </p:nvPr>
        </p:nvSpPr>
        <p:spPr>
          <a:xfrm>
            <a:off x="1006054" y="4967476"/>
            <a:ext cx="6001138" cy="78927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s" sz="3600" b="1" dirty="0">
                <a:solidFill>
                  <a:schemeClr val="tx1"/>
                </a:solidFill>
                <a:latin typeface="Calibri (Headings)"/>
              </a:rPr>
              <a:t>THANK YOU FOR LISTENING</a:t>
            </a:r>
            <a:endParaRPr sz="3600" b="1" dirty="0">
              <a:solidFill>
                <a:schemeClr val="tx1"/>
              </a:solidFill>
              <a:latin typeface="Calibri (Headings)"/>
            </a:endParaRPr>
          </a:p>
        </p:txBody>
      </p:sp>
      <p:sp>
        <p:nvSpPr>
          <p:cNvPr id="198" name="Google Shape;198;p29"/>
          <p:cNvSpPr/>
          <p:nvPr/>
        </p:nvSpPr>
        <p:spPr>
          <a:xfrm rot="10800000" flipH="1">
            <a:off x="0" y="4390286"/>
            <a:ext cx="9620000" cy="276400"/>
          </a:xfrm>
          <a:prstGeom prst="rect">
            <a:avLst/>
          </a:prstGeom>
          <a:solidFill>
            <a:srgbClr val="FFB618">
              <a:alpha val="61799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14" name="Google Shape;124;p24">
            <a:extLst>
              <a:ext uri="{FF2B5EF4-FFF2-40B4-BE49-F238E27FC236}">
                <a16:creationId xmlns:a16="http://schemas.microsoft.com/office/drawing/2014/main" id="{1B3EF945-ABDB-43DA-B316-E845B17137DA}"/>
              </a:ext>
            </a:extLst>
          </p:cNvPr>
          <p:cNvSpPr/>
          <p:nvPr/>
        </p:nvSpPr>
        <p:spPr>
          <a:xfrm>
            <a:off x="11880732" y="0"/>
            <a:ext cx="301692" cy="6858000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9900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pic>
        <p:nvPicPr>
          <p:cNvPr id="15" name="Picture 2" descr="See the source image">
            <a:extLst>
              <a:ext uri="{FF2B5EF4-FFF2-40B4-BE49-F238E27FC236}">
                <a16:creationId xmlns:a16="http://schemas.microsoft.com/office/drawing/2014/main" id="{58EDD5B2-9A26-43DE-9053-D945007329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5306" y="6162675"/>
            <a:ext cx="2031625" cy="655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1" name="Rectangle 70">
            <a:extLst>
              <a:ext uri="{FF2B5EF4-FFF2-40B4-BE49-F238E27FC236}">
                <a16:creationId xmlns:a16="http://schemas.microsoft.com/office/drawing/2014/main" id="{0671A8AE-40A1-4631-A6B8-581AFF065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8434" name="Picture 2" descr="See the source image">
            <a:extLst>
              <a:ext uri="{FF2B5EF4-FFF2-40B4-BE49-F238E27FC236}">
                <a16:creationId xmlns:a16="http://schemas.microsoft.com/office/drawing/2014/main" id="{7111EA42-D2A4-448D-B65F-DDD4F43F6AA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58" t="9091" r="26857"/>
          <a:stretch/>
        </p:blipFill>
        <p:spPr bwMode="auto">
          <a:xfrm>
            <a:off x="2852791" y="10"/>
            <a:ext cx="9339206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AB58EF07-17C2-48CF-ABB0-EEF1F17CB8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" y="0"/>
            <a:ext cx="9339206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3000">
                <a:schemeClr val="bg1">
                  <a:alpha val="64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C4EB1E-B593-40F3-A0DB-F5EEA0A1B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981" y="1122363"/>
            <a:ext cx="4023360" cy="3204134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 b="1" dirty="0">
                <a:latin typeface="Calibri (Headings)"/>
              </a:rPr>
              <a:t>APPENDICE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CD47D0-3CFD-4E05-8BA5-57E5A2850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7558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AAAEE5B-DED9-4876-96BA-1F1F83A8CB4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311317" y="1170709"/>
            <a:ext cx="5423895" cy="5328591"/>
          </a:xfrm>
          <a:prstGeom prst="rect">
            <a:avLst/>
          </a:prstGeom>
        </p:spPr>
      </p:pic>
      <p:sp>
        <p:nvSpPr>
          <p:cNvPr id="5" name="Google Shape;124;p24">
            <a:extLst>
              <a:ext uri="{FF2B5EF4-FFF2-40B4-BE49-F238E27FC236}">
                <a16:creationId xmlns:a16="http://schemas.microsoft.com/office/drawing/2014/main" id="{2D4D4F8C-E5B7-469C-A7C2-90F92498BC3F}"/>
              </a:ext>
            </a:extLst>
          </p:cNvPr>
          <p:cNvSpPr/>
          <p:nvPr/>
        </p:nvSpPr>
        <p:spPr>
          <a:xfrm rot="5400000">
            <a:off x="5841947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9FBF7161-5A46-4787-86C3-51BE4FC69D4E}"/>
              </a:ext>
            </a:extLst>
          </p:cNvPr>
          <p:cNvSpPr txBox="1">
            <a:spLocks/>
          </p:cNvSpPr>
          <p:nvPr/>
        </p:nvSpPr>
        <p:spPr>
          <a:xfrm>
            <a:off x="1478426" y="430961"/>
            <a:ext cx="4096492" cy="47046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b="1" dirty="0"/>
              <a:t>TOPIC MODELING TRENDS: BOOKS</a:t>
            </a:r>
            <a:endParaRPr lang="en-US" dirty="0"/>
          </a:p>
        </p:txBody>
      </p:sp>
      <p:cxnSp>
        <p:nvCxnSpPr>
          <p:cNvPr id="7" name="Google Shape;1480;p34">
            <a:extLst>
              <a:ext uri="{FF2B5EF4-FFF2-40B4-BE49-F238E27FC236}">
                <a16:creationId xmlns:a16="http://schemas.microsoft.com/office/drawing/2014/main" id="{5A44A7BE-F1FC-4D0C-8CEF-B582053FC5BC}"/>
              </a:ext>
            </a:extLst>
          </p:cNvPr>
          <p:cNvCxnSpPr>
            <a:cxnSpLocks/>
          </p:cNvCxnSpPr>
          <p:nvPr/>
        </p:nvCxnSpPr>
        <p:spPr>
          <a:xfrm flipV="1">
            <a:off x="5352327" y="555679"/>
            <a:ext cx="6481089" cy="24135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8" name="Google Shape;1480;p34">
            <a:extLst>
              <a:ext uri="{FF2B5EF4-FFF2-40B4-BE49-F238E27FC236}">
                <a16:creationId xmlns:a16="http://schemas.microsoft.com/office/drawing/2014/main" id="{DA1D241B-71B8-4444-9CE3-57EC579D4219}"/>
              </a:ext>
            </a:extLst>
          </p:cNvPr>
          <p:cNvCxnSpPr>
            <a:cxnSpLocks/>
          </p:cNvCxnSpPr>
          <p:nvPr/>
        </p:nvCxnSpPr>
        <p:spPr>
          <a:xfrm>
            <a:off x="289894" y="579814"/>
            <a:ext cx="1188532" cy="12568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2" name="Content Placeholder 3">
            <a:extLst>
              <a:ext uri="{FF2B5EF4-FFF2-40B4-BE49-F238E27FC236}">
                <a16:creationId xmlns:a16="http://schemas.microsoft.com/office/drawing/2014/main" id="{3F96698A-B9C9-4E73-9D50-1E6EA55F1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827" y="1172932"/>
            <a:ext cx="5947440" cy="5326368"/>
          </a:xfrm>
          <a:prstGeom prst="rect">
            <a:avLst/>
          </a:prstGeom>
        </p:spPr>
      </p:pic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05E6EBC-F82A-4C71-B01E-35432F691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43054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24;p24">
            <a:extLst>
              <a:ext uri="{FF2B5EF4-FFF2-40B4-BE49-F238E27FC236}">
                <a16:creationId xmlns:a16="http://schemas.microsoft.com/office/drawing/2014/main" id="{2D4D4F8C-E5B7-469C-A7C2-90F92498BC3F}"/>
              </a:ext>
            </a:extLst>
          </p:cNvPr>
          <p:cNvSpPr/>
          <p:nvPr/>
        </p:nvSpPr>
        <p:spPr>
          <a:xfrm rot="5400000">
            <a:off x="5841947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9FBF7161-5A46-4787-86C3-51BE4FC69D4E}"/>
              </a:ext>
            </a:extLst>
          </p:cNvPr>
          <p:cNvSpPr txBox="1">
            <a:spLocks/>
          </p:cNvSpPr>
          <p:nvPr/>
        </p:nvSpPr>
        <p:spPr>
          <a:xfrm>
            <a:off x="1411050" y="450210"/>
            <a:ext cx="4469988" cy="508111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b="1" dirty="0"/>
              <a:t>TOPIC MODELING TRENDS: VIDEO GAMES</a:t>
            </a:r>
            <a:endParaRPr lang="en-US" dirty="0"/>
          </a:p>
        </p:txBody>
      </p:sp>
      <p:cxnSp>
        <p:nvCxnSpPr>
          <p:cNvPr id="7" name="Google Shape;1480;p34">
            <a:extLst>
              <a:ext uri="{FF2B5EF4-FFF2-40B4-BE49-F238E27FC236}">
                <a16:creationId xmlns:a16="http://schemas.microsoft.com/office/drawing/2014/main" id="{5A44A7BE-F1FC-4D0C-8CEF-B582053FC5BC}"/>
              </a:ext>
            </a:extLst>
          </p:cNvPr>
          <p:cNvCxnSpPr>
            <a:cxnSpLocks/>
          </p:cNvCxnSpPr>
          <p:nvPr/>
        </p:nvCxnSpPr>
        <p:spPr>
          <a:xfrm flipV="1">
            <a:off x="5736657" y="572882"/>
            <a:ext cx="6165453" cy="6932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8" name="Google Shape;1480;p34">
            <a:extLst>
              <a:ext uri="{FF2B5EF4-FFF2-40B4-BE49-F238E27FC236}">
                <a16:creationId xmlns:a16="http://schemas.microsoft.com/office/drawing/2014/main" id="{DA1D241B-71B8-4444-9CE3-57EC579D4219}"/>
              </a:ext>
            </a:extLst>
          </p:cNvPr>
          <p:cNvCxnSpPr>
            <a:cxnSpLocks/>
          </p:cNvCxnSpPr>
          <p:nvPr/>
        </p:nvCxnSpPr>
        <p:spPr>
          <a:xfrm>
            <a:off x="289894" y="579814"/>
            <a:ext cx="1188532" cy="12568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4" name="Content Placeholder 3">
            <a:extLst>
              <a:ext uri="{FF2B5EF4-FFF2-40B4-BE49-F238E27FC236}">
                <a16:creationId xmlns:a16="http://schemas.microsoft.com/office/drawing/2014/main" id="{28DC9B3F-6B28-4601-A444-935E4A627EF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506679" y="1126737"/>
            <a:ext cx="5419288" cy="5281054"/>
          </a:xfrm>
          <a:prstGeom prst="rect">
            <a:avLst/>
          </a:prstGeom>
        </p:spPr>
      </p:pic>
      <p:pic>
        <p:nvPicPr>
          <p:cNvPr id="15" name="Content Placeholder 3">
            <a:extLst>
              <a:ext uri="{FF2B5EF4-FFF2-40B4-BE49-F238E27FC236}">
                <a16:creationId xmlns:a16="http://schemas.microsoft.com/office/drawing/2014/main" id="{DAF636DD-75D1-4A7E-BAB2-157411D4BB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827" y="1258120"/>
            <a:ext cx="6001852" cy="5149670"/>
          </a:xfrm>
          <a:prstGeom prst="rect">
            <a:avLst/>
          </a:prstGeom>
        </p:spPr>
      </p:pic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73623E9C-8140-4EB0-A9C4-D52E902027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332084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24;p24">
            <a:extLst>
              <a:ext uri="{FF2B5EF4-FFF2-40B4-BE49-F238E27FC236}">
                <a16:creationId xmlns:a16="http://schemas.microsoft.com/office/drawing/2014/main" id="{E7D70965-12FA-406C-9E3B-16B4A5B70929}"/>
              </a:ext>
            </a:extLst>
          </p:cNvPr>
          <p:cNvSpPr/>
          <p:nvPr/>
        </p:nvSpPr>
        <p:spPr>
          <a:xfrm rot="5400000">
            <a:off x="5841948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9004A395-0DF6-4358-BFE5-89F308125294}"/>
              </a:ext>
            </a:extLst>
          </p:cNvPr>
          <p:cNvSpPr txBox="1">
            <a:spLocks/>
          </p:cNvSpPr>
          <p:nvPr/>
        </p:nvSpPr>
        <p:spPr>
          <a:xfrm>
            <a:off x="1504949" y="347514"/>
            <a:ext cx="4703345" cy="47942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 fontScale="92500" lnSpcReduction="20000"/>
          </a:bodyPr>
          <a:lstStyle>
            <a:lvl1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2400" b="1" dirty="0"/>
              <a:t>Logistic Regression - Hyper tuning stats</a:t>
            </a:r>
          </a:p>
        </p:txBody>
      </p:sp>
      <p:cxnSp>
        <p:nvCxnSpPr>
          <p:cNvPr id="12" name="Google Shape;1480;p34">
            <a:extLst>
              <a:ext uri="{FF2B5EF4-FFF2-40B4-BE49-F238E27FC236}">
                <a16:creationId xmlns:a16="http://schemas.microsoft.com/office/drawing/2014/main" id="{ACEA809D-EBB7-44F4-B102-92DC54F4D0A0}"/>
              </a:ext>
            </a:extLst>
          </p:cNvPr>
          <p:cNvCxnSpPr>
            <a:cxnSpLocks/>
          </p:cNvCxnSpPr>
          <p:nvPr/>
        </p:nvCxnSpPr>
        <p:spPr>
          <a:xfrm>
            <a:off x="359901" y="598413"/>
            <a:ext cx="114505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3" name="Google Shape;1480;p34">
            <a:extLst>
              <a:ext uri="{FF2B5EF4-FFF2-40B4-BE49-F238E27FC236}">
                <a16:creationId xmlns:a16="http://schemas.microsoft.com/office/drawing/2014/main" id="{C1844D4A-772F-4CBF-AC82-B8CA8EDAF464}"/>
              </a:ext>
            </a:extLst>
          </p:cNvPr>
          <p:cNvCxnSpPr>
            <a:cxnSpLocks/>
          </p:cNvCxnSpPr>
          <p:nvPr/>
        </p:nvCxnSpPr>
        <p:spPr>
          <a:xfrm>
            <a:off x="6208294" y="598413"/>
            <a:ext cx="5697956" cy="29177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7" name="Picture 16" descr="A close up of a light&#10;&#10;Description automatically generated">
            <a:extLst>
              <a:ext uri="{FF2B5EF4-FFF2-40B4-BE49-F238E27FC236}">
                <a16:creationId xmlns:a16="http://schemas.microsoft.com/office/drawing/2014/main" id="{41F4643E-2BD2-4221-A965-1118790F8F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459" y="952388"/>
            <a:ext cx="4826816" cy="2893294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9" name="Picture 18" descr="Chart, scatter chart&#10;&#10;Description automatically generated">
            <a:extLst>
              <a:ext uri="{FF2B5EF4-FFF2-40B4-BE49-F238E27FC236}">
                <a16:creationId xmlns:a16="http://schemas.microsoft.com/office/drawing/2014/main" id="{1727E839-C7BC-4E27-B6BE-DEA866A6E5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459" y="3845680"/>
            <a:ext cx="4826816" cy="2893289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23" name="Picture 22" descr="Chart, scatter chart&#10;&#10;Description automatically generated">
            <a:extLst>
              <a:ext uri="{FF2B5EF4-FFF2-40B4-BE49-F238E27FC236}">
                <a16:creationId xmlns:a16="http://schemas.microsoft.com/office/drawing/2014/main" id="{4D25276F-5055-4238-969F-B37BC695D3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6207" y="952393"/>
            <a:ext cx="4826816" cy="2893288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25" name="Picture 24" descr="Chart, scatter chart&#10;&#10;Description automatically generated">
            <a:extLst>
              <a:ext uri="{FF2B5EF4-FFF2-40B4-BE49-F238E27FC236}">
                <a16:creationId xmlns:a16="http://schemas.microsoft.com/office/drawing/2014/main" id="{260D0F90-5700-41AE-9CE0-3372D3EEFB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6207" y="3845680"/>
            <a:ext cx="4826816" cy="2893289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20372826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4;p24">
            <a:extLst>
              <a:ext uri="{FF2B5EF4-FFF2-40B4-BE49-F238E27FC236}">
                <a16:creationId xmlns:a16="http://schemas.microsoft.com/office/drawing/2014/main" id="{056CF0E0-27FD-4CCD-B28D-039B1A878A57}"/>
              </a:ext>
            </a:extLst>
          </p:cNvPr>
          <p:cNvSpPr/>
          <p:nvPr/>
        </p:nvSpPr>
        <p:spPr>
          <a:xfrm rot="5400000">
            <a:off x="5841948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C49F3842-5A6A-413B-9AEC-1C7D1685670E}"/>
              </a:ext>
            </a:extLst>
          </p:cNvPr>
          <p:cNvSpPr txBox="1">
            <a:spLocks/>
          </p:cNvSpPr>
          <p:nvPr/>
        </p:nvSpPr>
        <p:spPr>
          <a:xfrm>
            <a:off x="1504949" y="347514"/>
            <a:ext cx="4703345" cy="47942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 fontScale="92500" lnSpcReduction="20000"/>
          </a:bodyPr>
          <a:lstStyle>
            <a:lvl1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2400" b="1" dirty="0"/>
              <a:t>Logistic Regression - Hyper tuning stats</a:t>
            </a:r>
          </a:p>
        </p:txBody>
      </p:sp>
      <p:cxnSp>
        <p:nvCxnSpPr>
          <p:cNvPr id="4" name="Google Shape;1480;p34">
            <a:extLst>
              <a:ext uri="{FF2B5EF4-FFF2-40B4-BE49-F238E27FC236}">
                <a16:creationId xmlns:a16="http://schemas.microsoft.com/office/drawing/2014/main" id="{12E4D521-CCE3-4B3F-8283-8EFB8C6E83FD}"/>
              </a:ext>
            </a:extLst>
          </p:cNvPr>
          <p:cNvCxnSpPr>
            <a:cxnSpLocks/>
          </p:cNvCxnSpPr>
          <p:nvPr/>
        </p:nvCxnSpPr>
        <p:spPr>
          <a:xfrm>
            <a:off x="359901" y="598413"/>
            <a:ext cx="114505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" name="Google Shape;1480;p34">
            <a:extLst>
              <a:ext uri="{FF2B5EF4-FFF2-40B4-BE49-F238E27FC236}">
                <a16:creationId xmlns:a16="http://schemas.microsoft.com/office/drawing/2014/main" id="{CA819956-05DC-4476-914F-981AC894102C}"/>
              </a:ext>
            </a:extLst>
          </p:cNvPr>
          <p:cNvCxnSpPr>
            <a:cxnSpLocks/>
          </p:cNvCxnSpPr>
          <p:nvPr/>
        </p:nvCxnSpPr>
        <p:spPr>
          <a:xfrm>
            <a:off x="6208294" y="598413"/>
            <a:ext cx="5697956" cy="29177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Picture 6" descr="Chart&#10;&#10;Description automatically generated">
            <a:extLst>
              <a:ext uri="{FF2B5EF4-FFF2-40B4-BE49-F238E27FC236}">
                <a16:creationId xmlns:a16="http://schemas.microsoft.com/office/drawing/2014/main" id="{D9FD6561-FB3A-4C14-A15A-28A66E4ABF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86" y="1152034"/>
            <a:ext cx="9701816" cy="5387139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5552434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4;p24">
            <a:extLst>
              <a:ext uri="{FF2B5EF4-FFF2-40B4-BE49-F238E27FC236}">
                <a16:creationId xmlns:a16="http://schemas.microsoft.com/office/drawing/2014/main" id="{6D720DCE-DADA-4513-AEF8-ED2CEEE5B144}"/>
              </a:ext>
            </a:extLst>
          </p:cNvPr>
          <p:cNvSpPr/>
          <p:nvPr/>
        </p:nvSpPr>
        <p:spPr>
          <a:xfrm rot="5400000">
            <a:off x="5841948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6BA3B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BF08B8-0E4B-45E3-B535-E1E8EF6801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33500" y="377751"/>
            <a:ext cx="2266950" cy="47942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INTRODUCTION</a:t>
            </a:r>
          </a:p>
        </p:txBody>
      </p:sp>
      <p:cxnSp>
        <p:nvCxnSpPr>
          <p:cNvPr id="5" name="Google Shape;1480;p34">
            <a:extLst>
              <a:ext uri="{FF2B5EF4-FFF2-40B4-BE49-F238E27FC236}">
                <a16:creationId xmlns:a16="http://schemas.microsoft.com/office/drawing/2014/main" id="{14EFF2B7-7D92-43F7-A19E-0251EDFF2496}"/>
              </a:ext>
            </a:extLst>
          </p:cNvPr>
          <p:cNvCxnSpPr>
            <a:cxnSpLocks/>
          </p:cNvCxnSpPr>
          <p:nvPr/>
        </p:nvCxnSpPr>
        <p:spPr>
          <a:xfrm>
            <a:off x="359900" y="588588"/>
            <a:ext cx="9736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" name="Google Shape;1480;p34">
            <a:extLst>
              <a:ext uri="{FF2B5EF4-FFF2-40B4-BE49-F238E27FC236}">
                <a16:creationId xmlns:a16="http://schemas.microsoft.com/office/drawing/2014/main" id="{5155CBDE-CC77-49F0-B728-8D53A1568E3A}"/>
              </a:ext>
            </a:extLst>
          </p:cNvPr>
          <p:cNvCxnSpPr>
            <a:cxnSpLocks/>
          </p:cNvCxnSpPr>
          <p:nvPr/>
        </p:nvCxnSpPr>
        <p:spPr>
          <a:xfrm>
            <a:off x="3524250" y="589088"/>
            <a:ext cx="83820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A119E2C-E6D1-48B3-B7BE-4E7221887835}"/>
              </a:ext>
            </a:extLst>
          </p:cNvPr>
          <p:cNvGrpSpPr/>
          <p:nvPr/>
        </p:nvGrpSpPr>
        <p:grpSpPr>
          <a:xfrm>
            <a:off x="6691275" y="3921268"/>
            <a:ext cx="4843497" cy="2078876"/>
            <a:chOff x="228451" y="4889634"/>
            <a:chExt cx="4668272" cy="2078876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A9302037-CCD4-4AD4-9EBF-AE2BFEA0AE24}"/>
                </a:ext>
              </a:extLst>
            </p:cNvPr>
            <p:cNvSpPr txBox="1"/>
            <p:nvPr/>
          </p:nvSpPr>
          <p:spPr>
            <a:xfrm>
              <a:off x="1069948" y="5398850"/>
              <a:ext cx="3826775" cy="1569660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285750" indent="-285750">
                <a:buFont typeface="Arial"/>
                <a:buChar char="•"/>
              </a:pPr>
              <a:r>
                <a:rPr lang="en-US" sz="1600" b="1" i="1" dirty="0">
                  <a:cs typeface="Calibri"/>
                </a:rPr>
                <a:t>Identify Reviewers habits and behaviors: </a:t>
              </a:r>
              <a:r>
                <a:rPr lang="en-US" sz="1600" dirty="0">
                  <a:cs typeface="Calibri"/>
                </a:rPr>
                <a:t>gain insights in terms of reviews’ usefulness</a:t>
              </a:r>
            </a:p>
            <a:p>
              <a:pPr marL="285750" indent="-285750">
                <a:buFont typeface="Arial"/>
                <a:buChar char="•"/>
              </a:pPr>
              <a:endParaRPr lang="en-US" sz="1600" dirty="0">
                <a:cs typeface="Calibri"/>
              </a:endParaRPr>
            </a:p>
            <a:p>
              <a:pPr marL="285750" indent="-285750">
                <a:buFont typeface="Arial"/>
                <a:buChar char="•"/>
              </a:pPr>
              <a:r>
                <a:rPr lang="en-US" sz="1600" dirty="0">
                  <a:cs typeface="Calibri"/>
                </a:rPr>
                <a:t>Build a model that can </a:t>
              </a:r>
              <a:r>
                <a:rPr lang="en-US" sz="1600" b="1" i="1" dirty="0">
                  <a:cs typeface="Calibri"/>
                </a:rPr>
                <a:t>predict the usefulness </a:t>
              </a:r>
              <a:r>
                <a:rPr lang="en-US" sz="1600" dirty="0">
                  <a:cs typeface="Calibri"/>
                </a:rPr>
                <a:t>of any Amazon reviews</a:t>
              </a:r>
              <a:endParaRPr lang="en-US" dirty="0">
                <a:cs typeface="Calibri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4AEF79D-E505-401A-AA53-6B0D95CCB18B}"/>
                </a:ext>
              </a:extLst>
            </p:cNvPr>
            <p:cNvSpPr txBox="1"/>
            <p:nvPr/>
          </p:nvSpPr>
          <p:spPr>
            <a:xfrm>
              <a:off x="1123949" y="4971019"/>
              <a:ext cx="2743200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b="1" dirty="0">
                  <a:cs typeface="Calibri"/>
                </a:rPr>
                <a:t>Project Main Objectives</a:t>
              </a:r>
            </a:p>
          </p:txBody>
        </p:sp>
        <p:pic>
          <p:nvPicPr>
            <p:cNvPr id="17" name="Graphic 17" descr="Bullseye">
              <a:extLst>
                <a:ext uri="{FF2B5EF4-FFF2-40B4-BE49-F238E27FC236}">
                  <a16:creationId xmlns:a16="http://schemas.microsoft.com/office/drawing/2014/main" id="{67DE2F8D-E5C3-4EEB-9183-BD19847D8B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8451" y="4889634"/>
              <a:ext cx="841498" cy="803131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D83546D-D151-4ECA-81A8-F04D47361915}"/>
              </a:ext>
            </a:extLst>
          </p:cNvPr>
          <p:cNvGrpSpPr/>
          <p:nvPr/>
        </p:nvGrpSpPr>
        <p:grpSpPr>
          <a:xfrm>
            <a:off x="504828" y="3921269"/>
            <a:ext cx="5895972" cy="2310816"/>
            <a:chOff x="235686" y="3335674"/>
            <a:chExt cx="5061858" cy="2310816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0DA44C4-0A14-496D-911A-F429A1DC00D2}"/>
                </a:ext>
              </a:extLst>
            </p:cNvPr>
            <p:cNvSpPr txBox="1"/>
            <p:nvPr/>
          </p:nvSpPr>
          <p:spPr>
            <a:xfrm>
              <a:off x="1093057" y="3447019"/>
              <a:ext cx="2743200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b="1" dirty="0">
                  <a:cs typeface="Calibri"/>
                </a:rPr>
                <a:t>Problem to solv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07E4D87-A89F-48C0-A577-57DFF52B0727}"/>
                </a:ext>
              </a:extLst>
            </p:cNvPr>
            <p:cNvSpPr txBox="1"/>
            <p:nvPr/>
          </p:nvSpPr>
          <p:spPr>
            <a:xfrm>
              <a:off x="1074552" y="3830608"/>
              <a:ext cx="4222992" cy="181588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285750" indent="-285750">
                <a:buFont typeface="Arial"/>
                <a:buChar char="•"/>
              </a:pPr>
              <a:r>
                <a:rPr lang="en-US" sz="1600" b="1" i="1" dirty="0">
                  <a:cs typeface="Calibri"/>
                </a:rPr>
                <a:t>Identify usefulness of a review is key to increase customer engagement and satisfaction: </a:t>
              </a:r>
              <a:r>
                <a:rPr lang="en-US" sz="1600" dirty="0">
                  <a:cs typeface="Calibri"/>
                </a:rPr>
                <a:t>Customer reviews are often insightful but are massive and hard to decipher.</a:t>
              </a:r>
              <a:endParaRPr lang="en-US" sz="1600" b="1" i="1" dirty="0">
                <a:cs typeface="Calibri"/>
              </a:endParaRPr>
            </a:p>
            <a:p>
              <a:pPr marL="285750" indent="-285750">
                <a:buFont typeface="Arial"/>
                <a:buChar char="•"/>
              </a:pPr>
              <a:endParaRPr lang="en-US" sz="1600" b="1" i="1" dirty="0">
                <a:cs typeface="Calibri"/>
              </a:endParaRPr>
            </a:p>
            <a:p>
              <a:pPr marL="285750" indent="-285750">
                <a:buFont typeface="Arial"/>
                <a:buChar char="•"/>
              </a:pPr>
              <a:r>
                <a:rPr lang="en-US" sz="1600" b="1" i="1" dirty="0">
                  <a:cs typeface="Calibri"/>
                </a:rPr>
                <a:t>3 Datasets </a:t>
              </a:r>
              <a:r>
                <a:rPr lang="en-US" sz="1600" dirty="0">
                  <a:cs typeface="Calibri"/>
                </a:rPr>
                <a:t>for analysis ~</a:t>
              </a:r>
              <a:r>
                <a:rPr lang="en-US" sz="1600" b="1" dirty="0">
                  <a:cs typeface="Calibri"/>
                </a:rPr>
                <a:t> </a:t>
              </a:r>
              <a:r>
                <a:rPr lang="en-US" sz="1600" b="1" i="1" dirty="0">
                  <a:cs typeface="Calibri"/>
                </a:rPr>
                <a:t>3.4M</a:t>
              </a:r>
              <a:r>
                <a:rPr lang="en-US" sz="1600" dirty="0">
                  <a:cs typeface="Calibri"/>
                </a:rPr>
                <a:t> reviews for </a:t>
              </a:r>
              <a:r>
                <a:rPr lang="en-US" sz="1600" b="1" i="1" dirty="0">
                  <a:cs typeface="Calibri"/>
                </a:rPr>
                <a:t>3 segments</a:t>
              </a:r>
              <a:r>
                <a:rPr lang="en-US" sz="1600" dirty="0">
                  <a:cs typeface="Calibri"/>
                </a:rPr>
                <a:t>: Books, Home &amp; Kitchen and Video Games</a:t>
              </a:r>
            </a:p>
          </p:txBody>
        </p:sp>
        <p:pic>
          <p:nvPicPr>
            <p:cNvPr id="8" name="Graphic 10" descr="Brain in head">
              <a:extLst>
                <a:ext uri="{FF2B5EF4-FFF2-40B4-BE49-F238E27FC236}">
                  <a16:creationId xmlns:a16="http://schemas.microsoft.com/office/drawing/2014/main" id="{D7B04883-1619-4F3D-9A60-2D08E80C270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5686" y="3335674"/>
              <a:ext cx="853512" cy="935585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4FE4BA7-C306-4995-AF25-C46433F742DC}"/>
              </a:ext>
            </a:extLst>
          </p:cNvPr>
          <p:cNvGrpSpPr/>
          <p:nvPr/>
        </p:nvGrpSpPr>
        <p:grpSpPr>
          <a:xfrm>
            <a:off x="1971858" y="1033181"/>
            <a:ext cx="8686616" cy="2692543"/>
            <a:chOff x="1971858" y="1033181"/>
            <a:chExt cx="8686616" cy="269254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64D4490-99A8-4660-B2A4-CAF15294CE66}"/>
                </a:ext>
              </a:extLst>
            </p:cNvPr>
            <p:cNvGrpSpPr/>
            <p:nvPr/>
          </p:nvGrpSpPr>
          <p:grpSpPr>
            <a:xfrm>
              <a:off x="1971858" y="1321872"/>
              <a:ext cx="3257183" cy="2127331"/>
              <a:chOff x="546014" y="1179577"/>
              <a:chExt cx="3171825" cy="2168133"/>
            </a:xfrm>
          </p:grpSpPr>
          <p:pic>
            <p:nvPicPr>
              <p:cNvPr id="6" name="Picture 7" descr="Graphical user interface, application&#10;&#10;Description automatically generated">
                <a:extLst>
                  <a:ext uri="{FF2B5EF4-FFF2-40B4-BE49-F238E27FC236}">
                    <a16:creationId xmlns:a16="http://schemas.microsoft.com/office/drawing/2014/main" id="{DC29BC0F-F0E6-4952-9BE7-3519B0E0D6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46014" y="1179577"/>
                <a:ext cx="3171825" cy="2117083"/>
              </a:xfrm>
              <a:prstGeom prst="rect">
                <a:avLst/>
              </a:prstGeom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D0D8A5A-BA8A-4FF1-86FD-26E9A09AC048}"/>
                  </a:ext>
                </a:extLst>
              </p:cNvPr>
              <p:cNvSpPr txBox="1"/>
              <p:nvPr/>
            </p:nvSpPr>
            <p:spPr>
              <a:xfrm>
                <a:off x="1914525" y="3086100"/>
                <a:ext cx="352425" cy="261610"/>
              </a:xfrm>
              <a:prstGeom prst="rect">
                <a:avLst/>
              </a:prstGeom>
              <a:noFill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rgbClr val="FFC000"/>
                    </a:solidFill>
                  </a:rPr>
                  <a:t>1</a:t>
                </a:r>
                <a:endParaRPr lang="en-US" sz="1100" dirty="0">
                  <a:solidFill>
                    <a:srgbClr val="FFC000"/>
                  </a:solidFill>
                  <a:cs typeface="Calibri"/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F5A46976-3A21-4224-9C5F-72B7D3037DFB}"/>
                </a:ext>
              </a:extLst>
            </p:cNvPr>
            <p:cNvGrpSpPr/>
            <p:nvPr/>
          </p:nvGrpSpPr>
          <p:grpSpPr>
            <a:xfrm>
              <a:off x="6020965" y="1033181"/>
              <a:ext cx="4637509" cy="2692543"/>
              <a:chOff x="6020965" y="1033181"/>
              <a:chExt cx="4637509" cy="2692543"/>
            </a:xfrm>
          </p:grpSpPr>
          <p:pic>
            <p:nvPicPr>
              <p:cNvPr id="21" name="Picture 20" descr="Chart, bar chart&#10;&#10;Description automatically generated">
                <a:extLst>
                  <a:ext uri="{FF2B5EF4-FFF2-40B4-BE49-F238E27FC236}">
                    <a16:creationId xmlns:a16="http://schemas.microsoft.com/office/drawing/2014/main" id="{069985A9-73B7-40FD-A224-3F7816D869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colorTemperature colorTemp="4700"/>
                        </a14:imgEffect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20965" y="1033181"/>
                <a:ext cx="4637509" cy="2692543"/>
              </a:xfrm>
              <a:prstGeom prst="rect">
                <a:avLst/>
              </a:prstGeom>
            </p:spPr>
          </p:pic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03A264AA-FFDA-4AA6-BCD5-EF506BF9AA3A}"/>
                  </a:ext>
                </a:extLst>
              </p:cNvPr>
              <p:cNvSpPr/>
              <p:nvPr/>
            </p:nvSpPr>
            <p:spPr>
              <a:xfrm>
                <a:off x="7715250" y="2305051"/>
                <a:ext cx="1746250" cy="123824"/>
              </a:xfrm>
              <a:prstGeom prst="rect">
                <a:avLst/>
              </a:prstGeom>
              <a:solidFill>
                <a:srgbClr val="FFB618"/>
              </a:solidFill>
              <a:ln>
                <a:solidFill>
                  <a:srgbClr val="FFB61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pic>
        <p:nvPicPr>
          <p:cNvPr id="26" name="Picture 2" descr="See the source image">
            <a:extLst>
              <a:ext uri="{FF2B5EF4-FFF2-40B4-BE49-F238E27FC236}">
                <a16:creationId xmlns:a16="http://schemas.microsoft.com/office/drawing/2014/main" id="{8611BBC5-DF8E-4770-B7DF-9635EAB91E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0212" y="6344782"/>
            <a:ext cx="1620969" cy="52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997F021D-FDA1-487E-A169-B621B0953F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476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24;p24">
            <a:extLst>
              <a:ext uri="{FF2B5EF4-FFF2-40B4-BE49-F238E27FC236}">
                <a16:creationId xmlns:a16="http://schemas.microsoft.com/office/drawing/2014/main" id="{E7D70965-12FA-406C-9E3B-16B4A5B70929}"/>
              </a:ext>
            </a:extLst>
          </p:cNvPr>
          <p:cNvSpPr/>
          <p:nvPr/>
        </p:nvSpPr>
        <p:spPr>
          <a:xfrm rot="5400000">
            <a:off x="5841948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9004A395-0DF6-4358-BFE5-89F308125294}"/>
              </a:ext>
            </a:extLst>
          </p:cNvPr>
          <p:cNvSpPr txBox="1">
            <a:spLocks/>
          </p:cNvSpPr>
          <p:nvPr/>
        </p:nvSpPr>
        <p:spPr>
          <a:xfrm>
            <a:off x="1504949" y="347513"/>
            <a:ext cx="4908551" cy="50811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 fontScale="85000" lnSpcReduction="10000"/>
          </a:bodyPr>
          <a:lstStyle>
            <a:lvl1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2400" b="1" dirty="0"/>
              <a:t>Gradient Boosting Tree - Hyper tuning stats</a:t>
            </a:r>
          </a:p>
        </p:txBody>
      </p:sp>
      <p:cxnSp>
        <p:nvCxnSpPr>
          <p:cNvPr id="12" name="Google Shape;1480;p34">
            <a:extLst>
              <a:ext uri="{FF2B5EF4-FFF2-40B4-BE49-F238E27FC236}">
                <a16:creationId xmlns:a16="http://schemas.microsoft.com/office/drawing/2014/main" id="{ACEA809D-EBB7-44F4-B102-92DC54F4D0A0}"/>
              </a:ext>
            </a:extLst>
          </p:cNvPr>
          <p:cNvCxnSpPr>
            <a:cxnSpLocks/>
          </p:cNvCxnSpPr>
          <p:nvPr/>
        </p:nvCxnSpPr>
        <p:spPr>
          <a:xfrm>
            <a:off x="359901" y="598413"/>
            <a:ext cx="114505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3" name="Google Shape;1480;p34">
            <a:extLst>
              <a:ext uri="{FF2B5EF4-FFF2-40B4-BE49-F238E27FC236}">
                <a16:creationId xmlns:a16="http://schemas.microsoft.com/office/drawing/2014/main" id="{C1844D4A-772F-4CBF-AC82-B8CA8EDAF464}"/>
              </a:ext>
            </a:extLst>
          </p:cNvPr>
          <p:cNvCxnSpPr>
            <a:cxnSpLocks/>
          </p:cNvCxnSpPr>
          <p:nvPr/>
        </p:nvCxnSpPr>
        <p:spPr>
          <a:xfrm>
            <a:off x="6208294" y="598413"/>
            <a:ext cx="5697956" cy="29177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3" name="Picture 2" descr="Chart, scatter chart&#10;&#10;Description automatically generated">
            <a:extLst>
              <a:ext uri="{FF2B5EF4-FFF2-40B4-BE49-F238E27FC236}">
                <a16:creationId xmlns:a16="http://schemas.microsoft.com/office/drawing/2014/main" id="{5228FEBA-E631-446E-986B-18F1C10932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7375" y="3972122"/>
            <a:ext cx="5191850" cy="2692046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5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6721279F-7A42-4A24-9E2E-46DD913A83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231" y="1120148"/>
            <a:ext cx="4703344" cy="2685052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439827BB-F825-4AD7-BB11-86BEF6B1A8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426" y="1091607"/>
            <a:ext cx="4703345" cy="2692046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171818443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24;p24">
            <a:extLst>
              <a:ext uri="{FF2B5EF4-FFF2-40B4-BE49-F238E27FC236}">
                <a16:creationId xmlns:a16="http://schemas.microsoft.com/office/drawing/2014/main" id="{05A3CCD2-D960-418F-8C08-68704486D05E}"/>
              </a:ext>
            </a:extLst>
          </p:cNvPr>
          <p:cNvSpPr/>
          <p:nvPr/>
        </p:nvSpPr>
        <p:spPr>
          <a:xfrm rot="5400000">
            <a:off x="5841948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2B20FAF-62B3-43B9-9C46-BACD09961141}"/>
              </a:ext>
            </a:extLst>
          </p:cNvPr>
          <p:cNvSpPr txBox="1">
            <a:spLocks/>
          </p:cNvSpPr>
          <p:nvPr/>
        </p:nvSpPr>
        <p:spPr>
          <a:xfrm>
            <a:off x="1504949" y="347513"/>
            <a:ext cx="4908551" cy="50811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 fontScale="85000" lnSpcReduction="10000"/>
          </a:bodyPr>
          <a:lstStyle>
            <a:lvl1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2400" b="1" dirty="0"/>
              <a:t>Gradient Boosting Tree - Hyper tuning stats</a:t>
            </a:r>
          </a:p>
        </p:txBody>
      </p:sp>
      <p:cxnSp>
        <p:nvCxnSpPr>
          <p:cNvPr id="12" name="Google Shape;1480;p34">
            <a:extLst>
              <a:ext uri="{FF2B5EF4-FFF2-40B4-BE49-F238E27FC236}">
                <a16:creationId xmlns:a16="http://schemas.microsoft.com/office/drawing/2014/main" id="{9B946E5D-E2F8-429B-A8B5-7F6165EE9563}"/>
              </a:ext>
            </a:extLst>
          </p:cNvPr>
          <p:cNvCxnSpPr>
            <a:cxnSpLocks/>
          </p:cNvCxnSpPr>
          <p:nvPr/>
        </p:nvCxnSpPr>
        <p:spPr>
          <a:xfrm>
            <a:off x="359901" y="598413"/>
            <a:ext cx="114505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3" name="Google Shape;1480;p34">
            <a:extLst>
              <a:ext uri="{FF2B5EF4-FFF2-40B4-BE49-F238E27FC236}">
                <a16:creationId xmlns:a16="http://schemas.microsoft.com/office/drawing/2014/main" id="{CC3EA7FA-B476-4BCA-83B3-AD5950A601B6}"/>
              </a:ext>
            </a:extLst>
          </p:cNvPr>
          <p:cNvCxnSpPr>
            <a:cxnSpLocks/>
          </p:cNvCxnSpPr>
          <p:nvPr/>
        </p:nvCxnSpPr>
        <p:spPr>
          <a:xfrm>
            <a:off x="6208294" y="598413"/>
            <a:ext cx="5697956" cy="29177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5" name="Picture 14" descr="Diagram&#10;&#10;Description automatically generated">
            <a:extLst>
              <a:ext uri="{FF2B5EF4-FFF2-40B4-BE49-F238E27FC236}">
                <a16:creationId xmlns:a16="http://schemas.microsoft.com/office/drawing/2014/main" id="{00DFDA45-054D-41F6-818C-2AE2CCADC7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324" y="1026165"/>
            <a:ext cx="10277476" cy="548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20397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DE8D53A8-D9A1-4EF9-BCD4-03B70801D3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2667659"/>
              </p:ext>
            </p:extLst>
          </p:nvPr>
        </p:nvGraphicFramePr>
        <p:xfrm>
          <a:off x="504827" y="1231463"/>
          <a:ext cx="10877548" cy="5178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Google Shape;124;p24">
            <a:extLst>
              <a:ext uri="{FF2B5EF4-FFF2-40B4-BE49-F238E27FC236}">
                <a16:creationId xmlns:a16="http://schemas.microsoft.com/office/drawing/2014/main" id="{B0AF996E-BFBF-44A1-9E3C-B9B61FD84044}"/>
              </a:ext>
            </a:extLst>
          </p:cNvPr>
          <p:cNvSpPr/>
          <p:nvPr/>
        </p:nvSpPr>
        <p:spPr>
          <a:xfrm rot="5400000">
            <a:off x="5841948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C9722238-3337-49F4-A2EC-DFD3622FDC25}"/>
              </a:ext>
            </a:extLst>
          </p:cNvPr>
          <p:cNvSpPr txBox="1">
            <a:spLocks/>
          </p:cNvSpPr>
          <p:nvPr/>
        </p:nvSpPr>
        <p:spPr>
          <a:xfrm>
            <a:off x="1504949" y="347513"/>
            <a:ext cx="4908551" cy="50811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 fontScale="92500" lnSpcReduction="10000"/>
          </a:bodyPr>
          <a:lstStyle>
            <a:lvl1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2400" b="1" dirty="0"/>
              <a:t>Algorithms training time</a:t>
            </a:r>
          </a:p>
        </p:txBody>
      </p:sp>
      <p:cxnSp>
        <p:nvCxnSpPr>
          <p:cNvPr id="22" name="Google Shape;1480;p34">
            <a:extLst>
              <a:ext uri="{FF2B5EF4-FFF2-40B4-BE49-F238E27FC236}">
                <a16:creationId xmlns:a16="http://schemas.microsoft.com/office/drawing/2014/main" id="{892989A6-782A-4310-BD29-08002E6123F3}"/>
              </a:ext>
            </a:extLst>
          </p:cNvPr>
          <p:cNvCxnSpPr>
            <a:cxnSpLocks/>
          </p:cNvCxnSpPr>
          <p:nvPr/>
        </p:nvCxnSpPr>
        <p:spPr>
          <a:xfrm>
            <a:off x="359901" y="598413"/>
            <a:ext cx="114505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" name="Google Shape;1480;p34">
            <a:extLst>
              <a:ext uri="{FF2B5EF4-FFF2-40B4-BE49-F238E27FC236}">
                <a16:creationId xmlns:a16="http://schemas.microsoft.com/office/drawing/2014/main" id="{35B59CA1-B13B-4287-83AE-0BA6999B8258}"/>
              </a:ext>
            </a:extLst>
          </p:cNvPr>
          <p:cNvCxnSpPr>
            <a:cxnSpLocks/>
          </p:cNvCxnSpPr>
          <p:nvPr/>
        </p:nvCxnSpPr>
        <p:spPr>
          <a:xfrm>
            <a:off x="4505325" y="598413"/>
            <a:ext cx="7419975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92851179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04F6465-DBFA-4F38-BF63-A27F174993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6200" y="5255945"/>
            <a:ext cx="2655665" cy="1283228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34D50D7E-D38D-4D07-8851-D29DAE6CF700}"/>
              </a:ext>
            </a:extLst>
          </p:cNvPr>
          <p:cNvGrpSpPr/>
          <p:nvPr/>
        </p:nvGrpSpPr>
        <p:grpSpPr>
          <a:xfrm>
            <a:off x="1093112" y="1135185"/>
            <a:ext cx="10005775" cy="2566925"/>
            <a:chOff x="1830355" y="1228069"/>
            <a:chExt cx="9792464" cy="2566925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C8EC12A-C2F1-4F1A-BC34-FBDCBD128095}"/>
                </a:ext>
              </a:extLst>
            </p:cNvPr>
            <p:cNvSpPr txBox="1"/>
            <p:nvPr/>
          </p:nvSpPr>
          <p:spPr>
            <a:xfrm>
              <a:off x="4468705" y="1248094"/>
              <a:ext cx="25322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Hours Distribution</a:t>
              </a: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D0C1BA3-97EC-4B6B-9CE4-86A7BA69AEE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00930" y="1324321"/>
              <a:ext cx="4621889" cy="2377789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1963EFD-5712-4881-9874-E0135BC05B1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30355" y="1228069"/>
              <a:ext cx="2744567" cy="2566925"/>
            </a:xfrm>
            <a:prstGeom prst="rect">
              <a:avLst/>
            </a:prstGeom>
          </p:spPr>
        </p:pic>
        <p:sp>
          <p:nvSpPr>
            <p:cNvPr id="11" name="Arrow: Left 10">
              <a:extLst>
                <a:ext uri="{FF2B5EF4-FFF2-40B4-BE49-F238E27FC236}">
                  <a16:creationId xmlns:a16="http://schemas.microsoft.com/office/drawing/2014/main" id="{675347F8-DED8-48AB-8BB4-488E4ECF9E09}"/>
                </a:ext>
              </a:extLst>
            </p:cNvPr>
            <p:cNvSpPr/>
            <p:nvPr/>
          </p:nvSpPr>
          <p:spPr>
            <a:xfrm>
              <a:off x="4574922" y="1785986"/>
              <a:ext cx="1674790" cy="684571"/>
            </a:xfrm>
            <a:prstGeom prst="leftArrow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27EE663-C499-4325-A023-EC4B2D29B22B}"/>
                </a:ext>
              </a:extLst>
            </p:cNvPr>
            <p:cNvSpPr txBox="1"/>
            <p:nvPr/>
          </p:nvSpPr>
          <p:spPr>
            <a:xfrm>
              <a:off x="4901268" y="1928216"/>
              <a:ext cx="136698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Event Type</a:t>
              </a:r>
              <a:endParaRPr lang="en-CA" sz="2000" b="1" dirty="0"/>
            </a:p>
          </p:txBody>
        </p:sp>
        <p:sp>
          <p:nvSpPr>
            <p:cNvPr id="15" name="Arrow: Left 14">
              <a:extLst>
                <a:ext uri="{FF2B5EF4-FFF2-40B4-BE49-F238E27FC236}">
                  <a16:creationId xmlns:a16="http://schemas.microsoft.com/office/drawing/2014/main" id="{5A14497B-9540-465F-B43A-4671B7F7832C}"/>
                </a:ext>
              </a:extLst>
            </p:cNvPr>
            <p:cNvSpPr/>
            <p:nvPr/>
          </p:nvSpPr>
          <p:spPr>
            <a:xfrm rot="10800000">
              <a:off x="5198377" y="2590579"/>
              <a:ext cx="1674790" cy="684571"/>
            </a:xfrm>
            <a:prstGeom prst="leftArrow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AA5BA30-C887-49D3-82AD-956318B2E281}"/>
                </a:ext>
              </a:extLst>
            </p:cNvPr>
            <p:cNvSpPr txBox="1"/>
            <p:nvPr/>
          </p:nvSpPr>
          <p:spPr>
            <a:xfrm>
              <a:off x="5305337" y="2732809"/>
              <a:ext cx="127300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Cost Type</a:t>
              </a:r>
              <a:endParaRPr lang="en-CA" sz="2000" b="1" dirty="0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37B5EE06-C22B-4891-A9FB-365DD3F7E09F}"/>
              </a:ext>
            </a:extLst>
          </p:cNvPr>
          <p:cNvSpPr txBox="1"/>
          <p:nvPr/>
        </p:nvSpPr>
        <p:spPr>
          <a:xfrm>
            <a:off x="6885427" y="4265167"/>
            <a:ext cx="34082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loud Computing Pricing and FX Rate</a:t>
            </a:r>
          </a:p>
        </p:txBody>
      </p:sp>
      <p:sp>
        <p:nvSpPr>
          <p:cNvPr id="23" name="Google Shape;124;p24">
            <a:extLst>
              <a:ext uri="{FF2B5EF4-FFF2-40B4-BE49-F238E27FC236}">
                <a16:creationId xmlns:a16="http://schemas.microsoft.com/office/drawing/2014/main" id="{C01DC3B9-02CF-43BB-BF8F-36721D911CD2}"/>
              </a:ext>
            </a:extLst>
          </p:cNvPr>
          <p:cNvSpPr/>
          <p:nvPr/>
        </p:nvSpPr>
        <p:spPr>
          <a:xfrm rot="5400000">
            <a:off x="5841948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A9930188-C6AA-4A02-82A5-B45F35498140}"/>
              </a:ext>
            </a:extLst>
          </p:cNvPr>
          <p:cNvSpPr txBox="1">
            <a:spLocks/>
          </p:cNvSpPr>
          <p:nvPr/>
        </p:nvSpPr>
        <p:spPr>
          <a:xfrm>
            <a:off x="1504950" y="347513"/>
            <a:ext cx="3375058" cy="50811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 fontScale="92500" lnSpcReduction="10000"/>
          </a:bodyPr>
          <a:lstStyle>
            <a:lvl1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2400" b="1" dirty="0"/>
              <a:t>Cost estimator: More data</a:t>
            </a:r>
          </a:p>
        </p:txBody>
      </p:sp>
      <p:cxnSp>
        <p:nvCxnSpPr>
          <p:cNvPr id="25" name="Google Shape;1480;p34">
            <a:extLst>
              <a:ext uri="{FF2B5EF4-FFF2-40B4-BE49-F238E27FC236}">
                <a16:creationId xmlns:a16="http://schemas.microsoft.com/office/drawing/2014/main" id="{B1CE1265-F923-45EA-880D-ABC687B6EDE3}"/>
              </a:ext>
            </a:extLst>
          </p:cNvPr>
          <p:cNvCxnSpPr>
            <a:cxnSpLocks/>
          </p:cNvCxnSpPr>
          <p:nvPr/>
        </p:nvCxnSpPr>
        <p:spPr>
          <a:xfrm>
            <a:off x="359901" y="598413"/>
            <a:ext cx="114505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6" name="Google Shape;1480;p34">
            <a:extLst>
              <a:ext uri="{FF2B5EF4-FFF2-40B4-BE49-F238E27FC236}">
                <a16:creationId xmlns:a16="http://schemas.microsoft.com/office/drawing/2014/main" id="{59E4B697-7DFB-4B09-9D79-E51C74A7AF06}"/>
              </a:ext>
            </a:extLst>
          </p:cNvPr>
          <p:cNvCxnSpPr>
            <a:cxnSpLocks/>
          </p:cNvCxnSpPr>
          <p:nvPr/>
        </p:nvCxnSpPr>
        <p:spPr>
          <a:xfrm>
            <a:off x="4774131" y="598413"/>
            <a:ext cx="7151169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194" name="Picture 2">
            <a:extLst>
              <a:ext uri="{FF2B5EF4-FFF2-40B4-BE49-F238E27FC236}">
                <a16:creationId xmlns:a16="http://schemas.microsoft.com/office/drawing/2014/main" id="{F892AF5F-6431-4C01-8228-74B0AFE389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388" y="4576912"/>
            <a:ext cx="5762625" cy="1933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219524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24;p24">
            <a:extLst>
              <a:ext uri="{FF2B5EF4-FFF2-40B4-BE49-F238E27FC236}">
                <a16:creationId xmlns:a16="http://schemas.microsoft.com/office/drawing/2014/main" id="{11BBD139-C510-4E89-A236-A8D80C310D84}"/>
              </a:ext>
            </a:extLst>
          </p:cNvPr>
          <p:cNvSpPr/>
          <p:nvPr/>
        </p:nvSpPr>
        <p:spPr>
          <a:xfrm rot="5400000">
            <a:off x="5841948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98A7D1DA-5D22-4CBE-85CC-F742A34FE56A}"/>
              </a:ext>
            </a:extLst>
          </p:cNvPr>
          <p:cNvSpPr txBox="1">
            <a:spLocks/>
          </p:cNvSpPr>
          <p:nvPr/>
        </p:nvSpPr>
        <p:spPr>
          <a:xfrm>
            <a:off x="1504950" y="347513"/>
            <a:ext cx="3375058" cy="50811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 fontScale="92500" lnSpcReduction="10000"/>
          </a:bodyPr>
          <a:lstStyle>
            <a:lvl1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None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2400" b="1" dirty="0"/>
              <a:t>Other resources</a:t>
            </a:r>
          </a:p>
        </p:txBody>
      </p:sp>
      <p:cxnSp>
        <p:nvCxnSpPr>
          <p:cNvPr id="13" name="Google Shape;1480;p34">
            <a:extLst>
              <a:ext uri="{FF2B5EF4-FFF2-40B4-BE49-F238E27FC236}">
                <a16:creationId xmlns:a16="http://schemas.microsoft.com/office/drawing/2014/main" id="{FABD1659-A5D5-4C6C-8651-76E492B8B3C0}"/>
              </a:ext>
            </a:extLst>
          </p:cNvPr>
          <p:cNvCxnSpPr>
            <a:cxnSpLocks/>
          </p:cNvCxnSpPr>
          <p:nvPr/>
        </p:nvCxnSpPr>
        <p:spPr>
          <a:xfrm>
            <a:off x="359901" y="598413"/>
            <a:ext cx="114505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4" name="Google Shape;1480;p34">
            <a:extLst>
              <a:ext uri="{FF2B5EF4-FFF2-40B4-BE49-F238E27FC236}">
                <a16:creationId xmlns:a16="http://schemas.microsoft.com/office/drawing/2014/main" id="{41890BC6-B52E-4AF6-93A0-2468BBF5E079}"/>
              </a:ext>
            </a:extLst>
          </p:cNvPr>
          <p:cNvCxnSpPr>
            <a:cxnSpLocks/>
          </p:cNvCxnSpPr>
          <p:nvPr/>
        </p:nvCxnSpPr>
        <p:spPr>
          <a:xfrm>
            <a:off x="3552825" y="598413"/>
            <a:ext cx="8372475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6CD7F92-7B5C-4FCD-AF6C-472664DDE755}"/>
              </a:ext>
            </a:extLst>
          </p:cNvPr>
          <p:cNvGrpSpPr/>
          <p:nvPr/>
        </p:nvGrpSpPr>
        <p:grpSpPr>
          <a:xfrm>
            <a:off x="428624" y="1281376"/>
            <a:ext cx="11258555" cy="1418605"/>
            <a:chOff x="428624" y="1167076"/>
            <a:chExt cx="10734675" cy="141860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030F4C8-7432-4A2B-9960-89DC9260BBBC}"/>
                </a:ext>
              </a:extLst>
            </p:cNvPr>
            <p:cNvSpPr txBox="1"/>
            <p:nvPr/>
          </p:nvSpPr>
          <p:spPr>
            <a:xfrm>
              <a:off x="428624" y="1508463"/>
              <a:ext cx="10734675" cy="10772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i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https://fv.feedvisor.com/rs/656-BMZ-780/images/Feedvisor-Consumer-Survey-2019.pdf?mkt_tok=eyJpIjoiWVdKaVlUazVNRGMyT1daaCIsInQiOiJMQU9TZjVNUmJjTU93Wk5pQjdFTHpoV0REZFdsTk0wSTIrUitKUTJaVHhsa1J2eSszMzJOTkRDdVpIXC9EVVJpU04ydFc0XC93dldBdDhQWkdGY25OR1dwU1wvS3J0c29uUnBUNXJWOW5WOWs1XC94Rm9XaUQ1bFlSK1RMT3Q5UnZIXC9ZIn0%3D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49FA8B-1F6A-42B2-9706-BDBE9B3D020C}"/>
                </a:ext>
              </a:extLst>
            </p:cNvPr>
            <p:cNvSpPr txBox="1"/>
            <p:nvPr/>
          </p:nvSpPr>
          <p:spPr>
            <a:xfrm>
              <a:off x="428624" y="1167076"/>
              <a:ext cx="60693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The 2019 Amazon Consumer Behavior Report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A07916F-AF28-44AA-8BD7-BFE252B8D602}"/>
              </a:ext>
            </a:extLst>
          </p:cNvPr>
          <p:cNvGrpSpPr/>
          <p:nvPr/>
        </p:nvGrpSpPr>
        <p:grpSpPr>
          <a:xfrm>
            <a:off x="449278" y="2924080"/>
            <a:ext cx="10658472" cy="703519"/>
            <a:chOff x="449278" y="2924080"/>
            <a:chExt cx="10658472" cy="703519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533EB5F-49ED-46DD-8338-273C04AF89B0}"/>
                </a:ext>
              </a:extLst>
            </p:cNvPr>
            <p:cNvSpPr txBox="1"/>
            <p:nvPr/>
          </p:nvSpPr>
          <p:spPr>
            <a:xfrm>
              <a:off x="449278" y="3289045"/>
              <a:ext cx="10658472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i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https://retailtouchpoints.com/resources/how-many-products-does-amazon-carry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A7A044C-83B4-40E4-82E6-8B6507C35A49}"/>
                </a:ext>
              </a:extLst>
            </p:cNvPr>
            <p:cNvSpPr txBox="1"/>
            <p:nvPr/>
          </p:nvSpPr>
          <p:spPr>
            <a:xfrm>
              <a:off x="449278" y="2924080"/>
              <a:ext cx="60960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How many products does Amazon carry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C0972DB-2BD6-4699-AF28-C4ED58D6AA37}"/>
              </a:ext>
            </a:extLst>
          </p:cNvPr>
          <p:cNvGrpSpPr/>
          <p:nvPr/>
        </p:nvGrpSpPr>
        <p:grpSpPr>
          <a:xfrm>
            <a:off x="428624" y="3992564"/>
            <a:ext cx="11107752" cy="731406"/>
            <a:chOff x="428624" y="3739609"/>
            <a:chExt cx="11107752" cy="731406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21D44C4-FF41-419A-AF03-CD059B131C65}"/>
                </a:ext>
              </a:extLst>
            </p:cNvPr>
            <p:cNvSpPr txBox="1"/>
            <p:nvPr/>
          </p:nvSpPr>
          <p:spPr>
            <a:xfrm>
              <a:off x="449278" y="4132461"/>
              <a:ext cx="1108709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i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https://www.emarketer.com/content/more-than-half-of-us-households-will-be-amazon-prime-members-in-2019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4C1B818-AEC1-4F21-9894-AEAF2E116750}"/>
                </a:ext>
              </a:extLst>
            </p:cNvPr>
            <p:cNvSpPr txBox="1"/>
            <p:nvPr/>
          </p:nvSpPr>
          <p:spPr>
            <a:xfrm>
              <a:off x="428624" y="3739609"/>
              <a:ext cx="1110775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b="1" i="0" dirty="0"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latin typeface="Linotype Univers W01"/>
                </a:rPr>
                <a:t>More Than Half of US Households Will Be Amazon Prime Members in 2019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8FB9E8BA-DADF-4563-BECF-39C40C37E3BF}"/>
              </a:ext>
            </a:extLst>
          </p:cNvPr>
          <p:cNvSpPr txBox="1"/>
          <p:nvPr/>
        </p:nvSpPr>
        <p:spPr>
          <a:xfrm>
            <a:off x="428624" y="5050571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Linotype Univers W01"/>
              </a:rPr>
              <a:t>Topic Modelling with </a:t>
            </a:r>
            <a:r>
              <a:rPr lang="en-US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Linotype Univers W01"/>
              </a:rPr>
              <a:t>PySpark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Linotype Univers W01"/>
              </a:rPr>
              <a:t> and Spark NLP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90A41E6-6B98-4E8F-A767-D808BC3CBCC7}"/>
              </a:ext>
            </a:extLst>
          </p:cNvPr>
          <p:cNvSpPr txBox="1"/>
          <p:nvPr/>
        </p:nvSpPr>
        <p:spPr>
          <a:xfrm>
            <a:off x="449278" y="5485202"/>
            <a:ext cx="110315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tx1">
                    <a:lumMod val="85000"/>
                    <a:lumOff val="15000"/>
                  </a:schemeClr>
                </a:solidFill>
                <a:hlinkClick r:id="rId2" tooltip="https://medium.com/trustyou-engineering/topic-modelling-with-pyspark-and-spark-nlp-a99d063f1a6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edium.com/trustyou-engineering/topic-modelling-with-pyspark-and-spark-nlp-a99d063f1a6e</a:t>
            </a:r>
            <a:endParaRPr lang="en-US" sz="16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17805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4;p24">
            <a:extLst>
              <a:ext uri="{FF2B5EF4-FFF2-40B4-BE49-F238E27FC236}">
                <a16:creationId xmlns:a16="http://schemas.microsoft.com/office/drawing/2014/main" id="{6D720DCE-DADA-4513-AEF8-ED2CEEE5B144}"/>
              </a:ext>
            </a:extLst>
          </p:cNvPr>
          <p:cNvSpPr/>
          <p:nvPr/>
        </p:nvSpPr>
        <p:spPr>
          <a:xfrm rot="5400000">
            <a:off x="5875334" y="-5090450"/>
            <a:ext cx="441331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BF08B8-0E4B-45E3-B535-E1E8EF6801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14475" y="292856"/>
            <a:ext cx="2990850" cy="479424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sz="2400" b="1" dirty="0"/>
              <a:t>DATA PREPROCESSING</a:t>
            </a:r>
          </a:p>
        </p:txBody>
      </p:sp>
      <p:cxnSp>
        <p:nvCxnSpPr>
          <p:cNvPr id="5" name="Google Shape;1480;p34">
            <a:extLst>
              <a:ext uri="{FF2B5EF4-FFF2-40B4-BE49-F238E27FC236}">
                <a16:creationId xmlns:a16="http://schemas.microsoft.com/office/drawing/2014/main" id="{14EFF2B7-7D92-43F7-A19E-0251EDFF2496}"/>
              </a:ext>
            </a:extLst>
          </p:cNvPr>
          <p:cNvCxnSpPr>
            <a:cxnSpLocks/>
          </p:cNvCxnSpPr>
          <p:nvPr/>
        </p:nvCxnSpPr>
        <p:spPr>
          <a:xfrm>
            <a:off x="359900" y="532568"/>
            <a:ext cx="1154575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" name="Google Shape;1480;p34">
            <a:extLst>
              <a:ext uri="{FF2B5EF4-FFF2-40B4-BE49-F238E27FC236}">
                <a16:creationId xmlns:a16="http://schemas.microsoft.com/office/drawing/2014/main" id="{5155CBDE-CC77-49F0-B728-8D53A1568E3A}"/>
              </a:ext>
            </a:extLst>
          </p:cNvPr>
          <p:cNvCxnSpPr>
            <a:cxnSpLocks/>
          </p:cNvCxnSpPr>
          <p:nvPr/>
        </p:nvCxnSpPr>
        <p:spPr>
          <a:xfrm flipV="1">
            <a:off x="4257676" y="494470"/>
            <a:ext cx="7629524" cy="38098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13" name="Table 14">
            <a:extLst>
              <a:ext uri="{FF2B5EF4-FFF2-40B4-BE49-F238E27FC236}">
                <a16:creationId xmlns:a16="http://schemas.microsoft.com/office/drawing/2014/main" id="{9B77FA97-90A6-4123-BC9C-E2FD86EFD9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5215319"/>
              </p:ext>
            </p:extLst>
          </p:nvPr>
        </p:nvGraphicFramePr>
        <p:xfrm>
          <a:off x="463377" y="1414809"/>
          <a:ext cx="5819736" cy="1894948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875562">
                  <a:extLst>
                    <a:ext uri="{9D8B030D-6E8A-4147-A177-3AD203B41FA5}">
                      <a16:colId xmlns:a16="http://schemas.microsoft.com/office/drawing/2014/main" val="3931917392"/>
                    </a:ext>
                  </a:extLst>
                </a:gridCol>
                <a:gridCol w="901471">
                  <a:extLst>
                    <a:ext uri="{9D8B030D-6E8A-4147-A177-3AD203B41FA5}">
                      <a16:colId xmlns:a16="http://schemas.microsoft.com/office/drawing/2014/main" val="3528768781"/>
                    </a:ext>
                  </a:extLst>
                </a:gridCol>
                <a:gridCol w="1485215">
                  <a:extLst>
                    <a:ext uri="{9D8B030D-6E8A-4147-A177-3AD203B41FA5}">
                      <a16:colId xmlns:a16="http://schemas.microsoft.com/office/drawing/2014/main" val="3389196630"/>
                    </a:ext>
                  </a:extLst>
                </a:gridCol>
                <a:gridCol w="1557488">
                  <a:extLst>
                    <a:ext uri="{9D8B030D-6E8A-4147-A177-3AD203B41FA5}">
                      <a16:colId xmlns:a16="http://schemas.microsoft.com/office/drawing/2014/main" val="291443155"/>
                    </a:ext>
                  </a:extLst>
                </a:gridCol>
              </a:tblGrid>
              <a:tr h="215546">
                <a:tc>
                  <a:txBody>
                    <a:bodyPr/>
                    <a:lstStyle/>
                    <a:p>
                      <a:pPr algn="ctr"/>
                      <a:endParaRPr lang="en-C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Books</a:t>
                      </a:r>
                      <a:endParaRPr lang="en-CA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Home &amp; Kitchen</a:t>
                      </a:r>
                      <a:endParaRPr lang="en-CA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Video Games</a:t>
                      </a:r>
                      <a:endParaRPr lang="en-CA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3219898"/>
                  </a:ext>
                </a:extLst>
              </a:tr>
              <a:tr h="305358"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Record Count</a:t>
                      </a:r>
                      <a:endParaRPr lang="en-CA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999,913</a:t>
                      </a:r>
                      <a:endParaRPr lang="en-CA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1,999,999</a:t>
                      </a:r>
                      <a:endParaRPr lang="en-CA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487,419</a:t>
                      </a:r>
                      <a:endParaRPr lang="en-CA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443874"/>
                  </a:ext>
                </a:extLst>
              </a:tr>
              <a:tr h="386188"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reviewerName Nulls</a:t>
                      </a:r>
                      <a:endParaRPr lang="en-CA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29</a:t>
                      </a:r>
                      <a:endParaRPr lang="en-CA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158</a:t>
                      </a:r>
                      <a:endParaRPr lang="en-CA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72</a:t>
                      </a:r>
                      <a:endParaRPr lang="en-CA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8676074"/>
                  </a:ext>
                </a:extLst>
              </a:tr>
              <a:tr h="305358"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Summary Nulls</a:t>
                      </a:r>
                      <a:endParaRPr lang="en-CA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102</a:t>
                      </a:r>
                      <a:endParaRPr lang="en-CA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208</a:t>
                      </a:r>
                      <a:endParaRPr lang="en-CA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100</a:t>
                      </a:r>
                      <a:endParaRPr lang="en-CA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3531817"/>
                  </a:ext>
                </a:extLst>
              </a:tr>
              <a:tr h="547848"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Duplicate Reviews</a:t>
                      </a:r>
                    </a:p>
                    <a:p>
                      <a:pPr algn="l"/>
                      <a:r>
                        <a:rPr lang="en-US" sz="1500" dirty="0"/>
                        <a:t>(reviewerName, asin)</a:t>
                      </a:r>
                      <a:endParaRPr lang="en-CA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27,278 </a:t>
                      </a:r>
                    </a:p>
                    <a:p>
                      <a:pPr algn="ctr"/>
                      <a:r>
                        <a:rPr lang="en-US" sz="1500" dirty="0"/>
                        <a:t>2.7%</a:t>
                      </a:r>
                      <a:endParaRPr lang="en-CA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245,570</a:t>
                      </a:r>
                    </a:p>
                    <a:p>
                      <a:pPr algn="ctr"/>
                      <a:r>
                        <a:rPr lang="en-US" sz="1500" dirty="0"/>
                        <a:t>12.3%</a:t>
                      </a:r>
                      <a:endParaRPr lang="en-CA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27,851</a:t>
                      </a:r>
                    </a:p>
                    <a:p>
                      <a:pPr algn="ctr"/>
                      <a:r>
                        <a:rPr lang="en-US" sz="1500" dirty="0"/>
                        <a:t>5.7%</a:t>
                      </a:r>
                      <a:endParaRPr lang="en-CA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6455605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13F75CB8-531D-4E4B-B2FA-106C1728FD9B}"/>
              </a:ext>
            </a:extLst>
          </p:cNvPr>
          <p:cNvGrpSpPr/>
          <p:nvPr/>
        </p:nvGrpSpPr>
        <p:grpSpPr>
          <a:xfrm>
            <a:off x="345988" y="895824"/>
            <a:ext cx="4207711" cy="659028"/>
            <a:chOff x="345988" y="1025609"/>
            <a:chExt cx="4207711" cy="659028"/>
          </a:xfrm>
        </p:grpSpPr>
        <p:sp>
          <p:nvSpPr>
            <p:cNvPr id="627" name="TextBox 626">
              <a:extLst>
                <a:ext uri="{FF2B5EF4-FFF2-40B4-BE49-F238E27FC236}">
                  <a16:creationId xmlns:a16="http://schemas.microsoft.com/office/drawing/2014/main" id="{BB01F635-2B31-41B9-9F38-7BA977EA04F4}"/>
                </a:ext>
              </a:extLst>
            </p:cNvPr>
            <p:cNvSpPr txBox="1"/>
            <p:nvPr/>
          </p:nvSpPr>
          <p:spPr>
            <a:xfrm>
              <a:off x="842305" y="1141302"/>
              <a:ext cx="3711394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US" sz="2000" b="1" dirty="0"/>
                <a:t>Initial Data Set Stats</a:t>
              </a:r>
              <a:endParaRPr lang="en-US" sz="2000" b="1" dirty="0">
                <a:cs typeface="Calibri"/>
              </a:endParaRPr>
            </a:p>
          </p:txBody>
        </p:sp>
        <p:sp>
          <p:nvSpPr>
            <p:cNvPr id="735" name="Oval 734">
              <a:extLst>
                <a:ext uri="{FF2B5EF4-FFF2-40B4-BE49-F238E27FC236}">
                  <a16:creationId xmlns:a16="http://schemas.microsoft.com/office/drawing/2014/main" id="{C1DCD980-1C00-420E-9793-9DC7E9EA505B}"/>
                </a:ext>
              </a:extLst>
            </p:cNvPr>
            <p:cNvSpPr/>
            <p:nvPr/>
          </p:nvSpPr>
          <p:spPr>
            <a:xfrm>
              <a:off x="345988" y="1025609"/>
              <a:ext cx="494270" cy="659028"/>
            </a:xfrm>
            <a:prstGeom prst="ellipse">
              <a:avLst/>
            </a:prstGeom>
            <a:solidFill>
              <a:srgbClr val="FFB618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800" b="1" dirty="0">
                  <a:cs typeface="Calibri"/>
                </a:rPr>
                <a:t>1</a:t>
              </a:r>
              <a:endParaRPr lang="en-US" sz="2800" b="1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AB4D3FF-1182-411E-88DD-5B621FE6777B}"/>
              </a:ext>
            </a:extLst>
          </p:cNvPr>
          <p:cNvGrpSpPr/>
          <p:nvPr/>
        </p:nvGrpSpPr>
        <p:grpSpPr>
          <a:xfrm>
            <a:off x="6709718" y="1591960"/>
            <a:ext cx="5166303" cy="4904606"/>
            <a:chOff x="6709718" y="1591960"/>
            <a:chExt cx="5166303" cy="4904606"/>
          </a:xfrm>
        </p:grpSpPr>
        <p:graphicFrame>
          <p:nvGraphicFramePr>
            <p:cNvPr id="2" name="Diagram 1">
              <a:extLst>
                <a:ext uri="{FF2B5EF4-FFF2-40B4-BE49-F238E27FC236}">
                  <a16:creationId xmlns:a16="http://schemas.microsoft.com/office/drawing/2014/main" id="{22CDD198-4510-4E30-85CB-0F5F9F788D7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517179670"/>
                </p:ext>
              </p:extLst>
            </p:nvPr>
          </p:nvGraphicFramePr>
          <p:xfrm>
            <a:off x="6710047" y="2094576"/>
            <a:ext cx="5135859" cy="440199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46543A6B-C32C-418A-9E50-3D45D043F595}"/>
                </a:ext>
              </a:extLst>
            </p:cNvPr>
            <p:cNvSpPr txBox="1"/>
            <p:nvPr/>
          </p:nvSpPr>
          <p:spPr>
            <a:xfrm>
              <a:off x="7777991" y="1721419"/>
              <a:ext cx="4098030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Text Cleaning Process (reviewText)</a:t>
              </a:r>
              <a:endParaRPr lang="en-CA" sz="20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pic>
          <p:nvPicPr>
            <p:cNvPr id="6" name="Graphic 5" descr="Mop and bucket">
              <a:extLst>
                <a:ext uri="{FF2B5EF4-FFF2-40B4-BE49-F238E27FC236}">
                  <a16:creationId xmlns:a16="http://schemas.microsoft.com/office/drawing/2014/main" id="{F2213123-B132-4E54-AA7C-ABE82D080D5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180447" y="1593425"/>
              <a:ext cx="747952" cy="523949"/>
            </a:xfrm>
            <a:prstGeom prst="rect">
              <a:avLst/>
            </a:prstGeom>
          </p:spPr>
        </p:pic>
        <p:sp>
          <p:nvSpPr>
            <p:cNvPr id="787" name="Oval 786">
              <a:extLst>
                <a:ext uri="{FF2B5EF4-FFF2-40B4-BE49-F238E27FC236}">
                  <a16:creationId xmlns:a16="http://schemas.microsoft.com/office/drawing/2014/main" id="{79CE62D5-C373-4A73-ACA8-2C3892633C54}"/>
                </a:ext>
              </a:extLst>
            </p:cNvPr>
            <p:cNvSpPr/>
            <p:nvPr/>
          </p:nvSpPr>
          <p:spPr>
            <a:xfrm>
              <a:off x="6709718" y="1591960"/>
              <a:ext cx="494270" cy="659028"/>
            </a:xfrm>
            <a:prstGeom prst="ellipse">
              <a:avLst/>
            </a:prstGeom>
            <a:solidFill>
              <a:srgbClr val="FFB618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2800" b="1" dirty="0">
                  <a:cs typeface="Calibri"/>
                </a:rPr>
                <a:t>3</a:t>
              </a:r>
              <a:endParaRPr lang="en-US" sz="2800" b="1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EB83A02-62E6-499A-9384-7643F9952F8E}"/>
              </a:ext>
            </a:extLst>
          </p:cNvPr>
          <p:cNvGrpSpPr/>
          <p:nvPr/>
        </p:nvGrpSpPr>
        <p:grpSpPr>
          <a:xfrm>
            <a:off x="0" y="3452090"/>
            <a:ext cx="6601776" cy="3135334"/>
            <a:chOff x="0" y="3452090"/>
            <a:chExt cx="6601776" cy="3135334"/>
          </a:xfrm>
        </p:grpSpPr>
        <p:graphicFrame>
          <p:nvGraphicFramePr>
            <p:cNvPr id="18" name="Diagram 17">
              <a:extLst>
                <a:ext uri="{FF2B5EF4-FFF2-40B4-BE49-F238E27FC236}">
                  <a16:creationId xmlns:a16="http://schemas.microsoft.com/office/drawing/2014/main" id="{43464F20-E287-4F72-9074-DE04FDACC7B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717615301"/>
                </p:ext>
              </p:extLst>
            </p:nvPr>
          </p:nvGraphicFramePr>
          <p:xfrm>
            <a:off x="0" y="4156130"/>
            <a:ext cx="6601776" cy="243129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9" r:lo="rId10" r:qs="rId11" r:cs="rId12"/>
            </a:graphicData>
          </a:graphic>
        </p:graphicFrame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2FF5806-E11B-4DC7-9096-33DC0E95DE2A}"/>
                </a:ext>
              </a:extLst>
            </p:cNvPr>
            <p:cNvGrpSpPr/>
            <p:nvPr/>
          </p:nvGrpSpPr>
          <p:grpSpPr>
            <a:xfrm>
              <a:off x="431712" y="3452090"/>
              <a:ext cx="4220301" cy="659028"/>
              <a:chOff x="345987" y="3426204"/>
              <a:chExt cx="4220301" cy="659028"/>
            </a:xfrm>
          </p:grpSpPr>
          <p:sp>
            <p:nvSpPr>
              <p:cNvPr id="636" name="TextBox 635">
                <a:extLst>
                  <a:ext uri="{FF2B5EF4-FFF2-40B4-BE49-F238E27FC236}">
                    <a16:creationId xmlns:a16="http://schemas.microsoft.com/office/drawing/2014/main" id="{1D113E8D-2B63-4EC2-BDCB-206C3646D670}"/>
                  </a:ext>
                </a:extLst>
              </p:cNvPr>
              <p:cNvSpPr txBox="1"/>
              <p:nvPr/>
            </p:nvSpPr>
            <p:spPr>
              <a:xfrm>
                <a:off x="854894" y="3570884"/>
                <a:ext cx="3711394" cy="40011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r>
                  <a:rPr lang="en-US" sz="2000" b="1" dirty="0">
                    <a:cs typeface="Calibri"/>
                  </a:rPr>
                  <a:t>Feature Selection</a:t>
                </a:r>
              </a:p>
            </p:txBody>
          </p:sp>
          <p:sp>
            <p:nvSpPr>
              <p:cNvPr id="786" name="Oval 785">
                <a:extLst>
                  <a:ext uri="{FF2B5EF4-FFF2-40B4-BE49-F238E27FC236}">
                    <a16:creationId xmlns:a16="http://schemas.microsoft.com/office/drawing/2014/main" id="{E78D4047-B70E-49D1-A14E-1FE9643AD14A}"/>
                  </a:ext>
                </a:extLst>
              </p:cNvPr>
              <p:cNvSpPr/>
              <p:nvPr/>
            </p:nvSpPr>
            <p:spPr>
              <a:xfrm>
                <a:off x="345987" y="3426204"/>
                <a:ext cx="494270" cy="659028"/>
              </a:xfrm>
              <a:prstGeom prst="ellipse">
                <a:avLst/>
              </a:prstGeom>
              <a:solidFill>
                <a:srgbClr val="FFB618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2800" b="1" dirty="0">
                    <a:cs typeface="Calibri"/>
                  </a:rPr>
                  <a:t>2</a:t>
                </a:r>
                <a:endParaRPr lang="en-US" sz="2800" b="1" dirty="0"/>
              </a:p>
            </p:txBody>
          </p:sp>
        </p:grpSp>
      </p:grpSp>
      <p:pic>
        <p:nvPicPr>
          <p:cNvPr id="10" name="Picture 2" descr="See the source image">
            <a:extLst>
              <a:ext uri="{FF2B5EF4-FFF2-40B4-BE49-F238E27FC236}">
                <a16:creationId xmlns:a16="http://schemas.microsoft.com/office/drawing/2014/main" id="{5983DAEF-B50A-40B6-A617-E58E5CFD99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637" y="6382882"/>
            <a:ext cx="1620969" cy="52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F9CDC1E6-5FE4-460C-8AB3-63C7CC9ED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7729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4;p24">
            <a:extLst>
              <a:ext uri="{FF2B5EF4-FFF2-40B4-BE49-F238E27FC236}">
                <a16:creationId xmlns:a16="http://schemas.microsoft.com/office/drawing/2014/main" id="{6D720DCE-DADA-4513-AEF8-ED2CEEE5B144}"/>
              </a:ext>
            </a:extLst>
          </p:cNvPr>
          <p:cNvSpPr/>
          <p:nvPr/>
        </p:nvSpPr>
        <p:spPr>
          <a:xfrm rot="5400000">
            <a:off x="5841947" y="-5018293"/>
            <a:ext cx="508110" cy="11182351"/>
          </a:xfrm>
          <a:prstGeom prst="rect">
            <a:avLst/>
          </a:prstGeom>
          <a:solidFill>
            <a:srgbClr val="FFB618">
              <a:alpha val="86160"/>
            </a:srgbClr>
          </a:solidFill>
          <a:ln>
            <a:solidFill>
              <a:srgbClr val="FFB618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BF08B8-0E4B-45E3-B535-E1E8EF6801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0" y="358701"/>
            <a:ext cx="2990850" cy="479424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sz="2400" b="1" dirty="0"/>
              <a:t>FEATURE ENGINEERING</a:t>
            </a:r>
          </a:p>
        </p:txBody>
      </p:sp>
      <p:cxnSp>
        <p:nvCxnSpPr>
          <p:cNvPr id="5" name="Google Shape;1480;p34">
            <a:extLst>
              <a:ext uri="{FF2B5EF4-FFF2-40B4-BE49-F238E27FC236}">
                <a16:creationId xmlns:a16="http://schemas.microsoft.com/office/drawing/2014/main" id="{14EFF2B7-7D92-43F7-A19E-0251EDFF2496}"/>
              </a:ext>
            </a:extLst>
          </p:cNvPr>
          <p:cNvCxnSpPr>
            <a:cxnSpLocks/>
          </p:cNvCxnSpPr>
          <p:nvPr/>
        </p:nvCxnSpPr>
        <p:spPr>
          <a:xfrm>
            <a:off x="359900" y="598413"/>
            <a:ext cx="1154575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" name="Google Shape;1480;p34">
            <a:extLst>
              <a:ext uri="{FF2B5EF4-FFF2-40B4-BE49-F238E27FC236}">
                <a16:creationId xmlns:a16="http://schemas.microsoft.com/office/drawing/2014/main" id="{5155CBDE-CC77-49F0-B728-8D53A1568E3A}"/>
              </a:ext>
            </a:extLst>
          </p:cNvPr>
          <p:cNvCxnSpPr>
            <a:cxnSpLocks/>
          </p:cNvCxnSpPr>
          <p:nvPr/>
        </p:nvCxnSpPr>
        <p:spPr>
          <a:xfrm flipV="1">
            <a:off x="4408667" y="560315"/>
            <a:ext cx="7478533" cy="12567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2CFA1DA-6461-4BBA-8C94-00D8E6B831D2}"/>
              </a:ext>
            </a:extLst>
          </p:cNvPr>
          <p:cNvGrpSpPr/>
          <p:nvPr/>
        </p:nvGrpSpPr>
        <p:grpSpPr>
          <a:xfrm>
            <a:off x="451877" y="826938"/>
            <a:ext cx="2282545" cy="5824410"/>
            <a:chOff x="233333" y="1059350"/>
            <a:chExt cx="2282545" cy="4099901"/>
          </a:xfrm>
        </p:grpSpPr>
        <p:graphicFrame>
          <p:nvGraphicFramePr>
            <p:cNvPr id="6" name="Diagram 5">
              <a:extLst>
                <a:ext uri="{FF2B5EF4-FFF2-40B4-BE49-F238E27FC236}">
                  <a16:creationId xmlns:a16="http://schemas.microsoft.com/office/drawing/2014/main" id="{835A8F14-6B6B-4864-943E-64B43A4B12B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30631133"/>
                </p:ext>
              </p:extLst>
            </p:nvPr>
          </p:nvGraphicFramePr>
          <p:xfrm>
            <a:off x="233333" y="2064835"/>
            <a:ext cx="2282545" cy="309441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2276630-CAB0-4DFC-910E-680BD36C554A}"/>
                </a:ext>
              </a:extLst>
            </p:cNvPr>
            <p:cNvSpPr txBox="1"/>
            <p:nvPr/>
          </p:nvSpPr>
          <p:spPr>
            <a:xfrm>
              <a:off x="352544" y="1059350"/>
              <a:ext cx="175260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/>
                <a:t>Date Features</a:t>
              </a:r>
              <a:endParaRPr lang="en-CA" sz="2000" b="1" dirty="0"/>
            </a:p>
          </p:txBody>
        </p:sp>
        <p:pic>
          <p:nvPicPr>
            <p:cNvPr id="13" name="Graphic 12" descr="Daily calendar">
              <a:extLst>
                <a:ext uri="{FF2B5EF4-FFF2-40B4-BE49-F238E27FC236}">
                  <a16:creationId xmlns:a16="http://schemas.microsoft.com/office/drawing/2014/main" id="{CCF669C4-7B8E-4CA6-9037-C0EF3F2CF6B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15123" y="1295534"/>
              <a:ext cx="928915" cy="757460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72B2E19-5D1E-4E25-8BB2-DC725E210DBD}"/>
              </a:ext>
            </a:extLst>
          </p:cNvPr>
          <p:cNvGrpSpPr/>
          <p:nvPr/>
        </p:nvGrpSpPr>
        <p:grpSpPr>
          <a:xfrm>
            <a:off x="2919761" y="975399"/>
            <a:ext cx="4573945" cy="5230780"/>
            <a:chOff x="2513901" y="1066905"/>
            <a:chExt cx="4573945" cy="5230780"/>
          </a:xfrm>
        </p:grpSpPr>
        <p:graphicFrame>
          <p:nvGraphicFramePr>
            <p:cNvPr id="14" name="Diagram 13">
              <a:extLst>
                <a:ext uri="{FF2B5EF4-FFF2-40B4-BE49-F238E27FC236}">
                  <a16:creationId xmlns:a16="http://schemas.microsoft.com/office/drawing/2014/main" id="{79148338-ED0B-4B9D-B408-38F4E27685E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662838296"/>
                </p:ext>
              </p:extLst>
            </p:nvPr>
          </p:nvGraphicFramePr>
          <p:xfrm>
            <a:off x="2513901" y="2400309"/>
            <a:ext cx="2173799" cy="321154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9" r:lo="rId10" r:qs="rId11" r:cs="rId12"/>
            </a:graphicData>
          </a:graphic>
        </p:graphicFrame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7019CB2-2B8A-49DC-869B-04007E697551}"/>
                </a:ext>
              </a:extLst>
            </p:cNvPr>
            <p:cNvSpPr txBox="1"/>
            <p:nvPr/>
          </p:nvSpPr>
          <p:spPr>
            <a:xfrm>
              <a:off x="3227015" y="1066905"/>
              <a:ext cx="299085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/>
                <a:t>reviewText calculations</a:t>
              </a:r>
              <a:endParaRPr lang="en-CA" sz="2000" b="1" dirty="0"/>
            </a:p>
          </p:txBody>
        </p:sp>
        <p:pic>
          <p:nvPicPr>
            <p:cNvPr id="17" name="Graphic 16" descr="Mathematics">
              <a:extLst>
                <a:ext uri="{FF2B5EF4-FFF2-40B4-BE49-F238E27FC236}">
                  <a16:creationId xmlns:a16="http://schemas.microsoft.com/office/drawing/2014/main" id="{B87D7F7A-F126-4418-BE72-33EEA021AF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234025" y="1450140"/>
              <a:ext cx="914400" cy="901545"/>
            </a:xfrm>
            <a:prstGeom prst="rect">
              <a:avLst/>
            </a:prstGeom>
          </p:spPr>
        </p:pic>
        <p:graphicFrame>
          <p:nvGraphicFramePr>
            <p:cNvPr id="19" name="Diagram 18">
              <a:extLst>
                <a:ext uri="{FF2B5EF4-FFF2-40B4-BE49-F238E27FC236}">
                  <a16:creationId xmlns:a16="http://schemas.microsoft.com/office/drawing/2014/main" id="{A33AF6AA-A960-47DA-B7C4-9D37C30022E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197765563"/>
                </p:ext>
              </p:extLst>
            </p:nvPr>
          </p:nvGraphicFramePr>
          <p:xfrm>
            <a:off x="4797817" y="2400326"/>
            <a:ext cx="2290029" cy="389735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6" r:lo="rId17" r:qs="rId18" r:cs="rId19"/>
            </a:graphicData>
          </a:graphic>
        </p:graphicFrame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54CF48C-9A70-4C2E-AA2B-B0907F2D1EB3}"/>
              </a:ext>
            </a:extLst>
          </p:cNvPr>
          <p:cNvGrpSpPr/>
          <p:nvPr/>
        </p:nvGrpSpPr>
        <p:grpSpPr>
          <a:xfrm>
            <a:off x="9659498" y="956333"/>
            <a:ext cx="2227702" cy="3820905"/>
            <a:chOff x="9508647" y="1040284"/>
            <a:chExt cx="2227702" cy="382090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A5A9640-0016-4D8F-A00C-23F0946693D5}"/>
                </a:ext>
              </a:extLst>
            </p:cNvPr>
            <p:cNvSpPr txBox="1"/>
            <p:nvPr/>
          </p:nvSpPr>
          <p:spPr>
            <a:xfrm>
              <a:off x="9508647" y="1040284"/>
              <a:ext cx="219817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/>
                <a:t>One Hot Encoding</a:t>
              </a:r>
              <a:endParaRPr lang="en-CA" sz="2000" b="1" dirty="0"/>
            </a:p>
          </p:txBody>
        </p:sp>
        <p:graphicFrame>
          <p:nvGraphicFramePr>
            <p:cNvPr id="23" name="Diagram 22">
              <a:extLst>
                <a:ext uri="{FF2B5EF4-FFF2-40B4-BE49-F238E27FC236}">
                  <a16:creationId xmlns:a16="http://schemas.microsoft.com/office/drawing/2014/main" id="{12C79030-B356-4B80-A77E-3A4A6515DCE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053220604"/>
                </p:ext>
              </p:extLst>
            </p:nvPr>
          </p:nvGraphicFramePr>
          <p:xfrm>
            <a:off x="9562550" y="2390792"/>
            <a:ext cx="2173799" cy="247039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1" r:lo="rId22" r:qs="rId23" r:cs="rId24"/>
            </a:graphicData>
          </a:graphic>
        </p:graphicFrame>
        <p:pic>
          <p:nvPicPr>
            <p:cNvPr id="25" name="Graphic 24" descr="Binary">
              <a:extLst>
                <a:ext uri="{FF2B5EF4-FFF2-40B4-BE49-F238E27FC236}">
                  <a16:creationId xmlns:a16="http://schemas.microsoft.com/office/drawing/2014/main" id="{3A74DB44-7801-412B-88B8-84A7A066E806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10166296" y="1523281"/>
              <a:ext cx="730304" cy="730304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DEDADF6-D5A6-4C5E-A95C-4797FC9921AD}"/>
              </a:ext>
            </a:extLst>
          </p:cNvPr>
          <p:cNvGrpSpPr/>
          <p:nvPr/>
        </p:nvGrpSpPr>
        <p:grpSpPr>
          <a:xfrm>
            <a:off x="7010140" y="956333"/>
            <a:ext cx="2713934" cy="2609482"/>
            <a:chOff x="6702528" y="1040284"/>
            <a:chExt cx="2713934" cy="2609482"/>
          </a:xfrm>
        </p:grpSpPr>
        <p:graphicFrame>
          <p:nvGraphicFramePr>
            <p:cNvPr id="10" name="Diagram 9">
              <a:extLst>
                <a:ext uri="{FF2B5EF4-FFF2-40B4-BE49-F238E27FC236}">
                  <a16:creationId xmlns:a16="http://schemas.microsoft.com/office/drawing/2014/main" id="{FB0D72C3-F4CC-4D64-8CAB-E4F77CD851B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942972559"/>
                </p:ext>
              </p:extLst>
            </p:nvPr>
          </p:nvGraphicFramePr>
          <p:xfrm>
            <a:off x="7373374" y="2400309"/>
            <a:ext cx="1844285" cy="124945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8" r:lo="rId29" r:qs="rId30" r:cs="rId31"/>
            </a:graphicData>
          </a:graphic>
        </p:graphicFrame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E80CD57-D88E-4A7C-B407-176BBCB15C84}"/>
                </a:ext>
              </a:extLst>
            </p:cNvPr>
            <p:cNvSpPr txBox="1"/>
            <p:nvPr/>
          </p:nvSpPr>
          <p:spPr>
            <a:xfrm>
              <a:off x="6702528" y="1040284"/>
              <a:ext cx="271393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/>
                <a:t>summary calculations</a:t>
              </a:r>
              <a:endParaRPr lang="en-CA" sz="2000" b="1" dirty="0"/>
            </a:p>
          </p:txBody>
        </p:sp>
        <p:pic>
          <p:nvPicPr>
            <p:cNvPr id="18" name="Graphic 17" descr="Mathematics">
              <a:extLst>
                <a:ext uri="{FF2B5EF4-FFF2-40B4-BE49-F238E27FC236}">
                  <a16:creationId xmlns:a16="http://schemas.microsoft.com/office/drawing/2014/main" id="{213ACA2B-0F47-49B4-8B35-85E1C28857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812400" y="1431233"/>
              <a:ext cx="914400" cy="914400"/>
            </a:xfrm>
            <a:prstGeom prst="rect">
              <a:avLst/>
            </a:prstGeom>
          </p:spPr>
        </p:pic>
      </p:grp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11BDE633-69C5-40BD-A9B0-88B1D9A4A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070785"/>
            <a:ext cx="2743200" cy="365125"/>
          </a:xfrm>
        </p:spPr>
        <p:txBody>
          <a:bodyPr/>
          <a:lstStyle/>
          <a:p>
            <a:fld id="{875729A4-FE25-4C7A-A98B-1CBE1D27D1F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8542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4;p24">
            <a:extLst>
              <a:ext uri="{FF2B5EF4-FFF2-40B4-BE49-F238E27FC236}">
                <a16:creationId xmlns:a16="http://schemas.microsoft.com/office/drawing/2014/main" id="{6D720DCE-DADA-4513-AEF8-ED2CEEE5B144}"/>
              </a:ext>
            </a:extLst>
          </p:cNvPr>
          <p:cNvSpPr/>
          <p:nvPr/>
        </p:nvSpPr>
        <p:spPr>
          <a:xfrm rot="5400000">
            <a:off x="5841946" y="-5018293"/>
            <a:ext cx="508110" cy="11182351"/>
          </a:xfrm>
          <a:prstGeom prst="rect">
            <a:avLst/>
          </a:prstGeom>
          <a:solidFill>
            <a:srgbClr val="FFC000">
              <a:alpha val="86160"/>
            </a:srgbClr>
          </a:solidFill>
          <a:ln>
            <a:solidFill>
              <a:srgbClr val="F6BA3B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BF08B8-0E4B-45E3-B535-E1E8EF6801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0" y="358701"/>
            <a:ext cx="2990850" cy="47942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TOPIC MODELLING</a:t>
            </a:r>
          </a:p>
        </p:txBody>
      </p:sp>
      <p:cxnSp>
        <p:nvCxnSpPr>
          <p:cNvPr id="5" name="Google Shape;1480;p34">
            <a:extLst>
              <a:ext uri="{FF2B5EF4-FFF2-40B4-BE49-F238E27FC236}">
                <a16:creationId xmlns:a16="http://schemas.microsoft.com/office/drawing/2014/main" id="{14EFF2B7-7D92-43F7-A19E-0251EDFF2496}"/>
              </a:ext>
            </a:extLst>
          </p:cNvPr>
          <p:cNvCxnSpPr>
            <a:cxnSpLocks/>
          </p:cNvCxnSpPr>
          <p:nvPr/>
        </p:nvCxnSpPr>
        <p:spPr>
          <a:xfrm>
            <a:off x="359900" y="598413"/>
            <a:ext cx="1154575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" name="Google Shape;1480;p34">
            <a:extLst>
              <a:ext uri="{FF2B5EF4-FFF2-40B4-BE49-F238E27FC236}">
                <a16:creationId xmlns:a16="http://schemas.microsoft.com/office/drawing/2014/main" id="{5155CBDE-CC77-49F0-B728-8D53A1568E3A}"/>
              </a:ext>
            </a:extLst>
          </p:cNvPr>
          <p:cNvCxnSpPr>
            <a:cxnSpLocks/>
          </p:cNvCxnSpPr>
          <p:nvPr/>
        </p:nvCxnSpPr>
        <p:spPr>
          <a:xfrm flipV="1">
            <a:off x="4257676" y="560315"/>
            <a:ext cx="7629524" cy="38098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776F026-FB5E-4C63-9708-0472203813B8}"/>
              </a:ext>
            </a:extLst>
          </p:cNvPr>
          <p:cNvGrpSpPr/>
          <p:nvPr/>
        </p:nvGrpSpPr>
        <p:grpSpPr>
          <a:xfrm>
            <a:off x="695325" y="933045"/>
            <a:ext cx="2198173" cy="5606128"/>
            <a:chOff x="695325" y="933045"/>
            <a:chExt cx="2198173" cy="5606128"/>
          </a:xfrm>
        </p:grpSpPr>
        <p:graphicFrame>
          <p:nvGraphicFramePr>
            <p:cNvPr id="18" name="Diagram 17">
              <a:extLst>
                <a:ext uri="{FF2B5EF4-FFF2-40B4-BE49-F238E27FC236}">
                  <a16:creationId xmlns:a16="http://schemas.microsoft.com/office/drawing/2014/main" id="{257A4C04-8758-43E8-9006-0CF4E933BB3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284927747"/>
                </p:ext>
              </p:extLst>
            </p:nvPr>
          </p:nvGraphicFramePr>
          <p:xfrm>
            <a:off x="695325" y="1304926"/>
            <a:ext cx="2173799" cy="523424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8507E20-64D2-4173-A9DB-9CB3A82BD031}"/>
                </a:ext>
              </a:extLst>
            </p:cNvPr>
            <p:cNvSpPr txBox="1"/>
            <p:nvPr/>
          </p:nvSpPr>
          <p:spPr>
            <a:xfrm>
              <a:off x="695325" y="933045"/>
              <a:ext cx="21981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BOW &amp; NGRAMS</a:t>
              </a:r>
              <a:endParaRPr lang="en-CA" b="1" dirty="0"/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1D273555-506A-4ABE-8006-E0CA96A95670}"/>
              </a:ext>
            </a:extLst>
          </p:cNvPr>
          <p:cNvSpPr txBox="1"/>
          <p:nvPr/>
        </p:nvSpPr>
        <p:spPr>
          <a:xfrm>
            <a:off x="3019425" y="6014186"/>
            <a:ext cx="3524250" cy="566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CA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99F4DB2-DEB4-4694-8646-6B59816D4291}"/>
              </a:ext>
            </a:extLst>
          </p:cNvPr>
          <p:cNvGrpSpPr/>
          <p:nvPr/>
        </p:nvGrpSpPr>
        <p:grpSpPr>
          <a:xfrm>
            <a:off x="2818439" y="1629374"/>
            <a:ext cx="9022742" cy="4823272"/>
            <a:chOff x="2818439" y="1629374"/>
            <a:chExt cx="9022742" cy="4823272"/>
          </a:xfrm>
        </p:grpSpPr>
        <p:graphicFrame>
          <p:nvGraphicFramePr>
            <p:cNvPr id="2" name="Diagram 1">
              <a:extLst>
                <a:ext uri="{FF2B5EF4-FFF2-40B4-BE49-F238E27FC236}">
                  <a16:creationId xmlns:a16="http://schemas.microsoft.com/office/drawing/2014/main" id="{CF39872C-A7BD-4CC8-9DD5-CC5205CDF47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995819933"/>
                </p:ext>
              </p:extLst>
            </p:nvPr>
          </p:nvGraphicFramePr>
          <p:xfrm>
            <a:off x="4257676" y="2058769"/>
            <a:ext cx="7048501" cy="274482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2BC8CFD-FCB7-4F91-A5F7-8DBFFE865F54}"/>
                </a:ext>
              </a:extLst>
            </p:cNvPr>
            <p:cNvGrpSpPr/>
            <p:nvPr/>
          </p:nvGrpSpPr>
          <p:grpSpPr>
            <a:xfrm>
              <a:off x="2818439" y="1629374"/>
              <a:ext cx="9022742" cy="3780427"/>
              <a:chOff x="2664437" y="1340447"/>
              <a:chExt cx="9022742" cy="4296279"/>
            </a:xfrm>
          </p:grpSpPr>
          <p:sp>
            <p:nvSpPr>
              <p:cNvPr id="3" name="Rectangle: Rounded Corners 2">
                <a:extLst>
                  <a:ext uri="{FF2B5EF4-FFF2-40B4-BE49-F238E27FC236}">
                    <a16:creationId xmlns:a16="http://schemas.microsoft.com/office/drawing/2014/main" id="{BA3E7C3F-7910-4F61-BA25-623F5347E9FB}"/>
                  </a:ext>
                </a:extLst>
              </p:cNvPr>
              <p:cNvSpPr/>
              <p:nvPr/>
            </p:nvSpPr>
            <p:spPr>
              <a:xfrm>
                <a:off x="3509965" y="1340447"/>
                <a:ext cx="8177214" cy="4296279"/>
              </a:xfrm>
              <a:prstGeom prst="roundRect">
                <a:avLst/>
              </a:prstGeom>
              <a:noFill/>
              <a:ln w="28575">
                <a:solidFill>
                  <a:srgbClr val="C0000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42FB0587-AD7D-429F-9677-62E43F406EA9}"/>
                  </a:ext>
                </a:extLst>
              </p:cNvPr>
              <p:cNvSpPr/>
              <p:nvPr/>
            </p:nvSpPr>
            <p:spPr>
              <a:xfrm>
                <a:off x="2715184" y="5304328"/>
                <a:ext cx="924939" cy="112952"/>
              </a:xfrm>
              <a:custGeom>
                <a:avLst/>
                <a:gdLst>
                  <a:gd name="connsiteX0" fmla="*/ 0 w 438150"/>
                  <a:gd name="connsiteY0" fmla="*/ 114891 h 114891"/>
                  <a:gd name="connsiteX1" fmla="*/ 228600 w 438150"/>
                  <a:gd name="connsiteY1" fmla="*/ 591 h 114891"/>
                  <a:gd name="connsiteX2" fmla="*/ 438150 w 438150"/>
                  <a:gd name="connsiteY2" fmla="*/ 67266 h 114891"/>
                  <a:gd name="connsiteX3" fmla="*/ 438150 w 438150"/>
                  <a:gd name="connsiteY3" fmla="*/ 67266 h 1148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50" h="114891">
                    <a:moveTo>
                      <a:pt x="0" y="114891"/>
                    </a:moveTo>
                    <a:cubicBezTo>
                      <a:pt x="77787" y="61709"/>
                      <a:pt x="155575" y="8528"/>
                      <a:pt x="228600" y="591"/>
                    </a:cubicBezTo>
                    <a:cubicBezTo>
                      <a:pt x="301625" y="-7346"/>
                      <a:pt x="438150" y="67266"/>
                      <a:pt x="438150" y="67266"/>
                    </a:cubicBezTo>
                    <a:lnTo>
                      <a:pt x="438150" y="67266"/>
                    </a:lnTo>
                  </a:path>
                </a:pathLst>
              </a:cu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BA514F3C-EA64-4819-B588-39A36ADCD88F}"/>
                  </a:ext>
                </a:extLst>
              </p:cNvPr>
              <p:cNvSpPr/>
              <p:nvPr/>
            </p:nvSpPr>
            <p:spPr>
              <a:xfrm rot="19594303" flipV="1">
                <a:off x="2664437" y="5113351"/>
                <a:ext cx="922640" cy="94322"/>
              </a:xfrm>
              <a:custGeom>
                <a:avLst/>
                <a:gdLst>
                  <a:gd name="connsiteX0" fmla="*/ 0 w 438150"/>
                  <a:gd name="connsiteY0" fmla="*/ 114891 h 114891"/>
                  <a:gd name="connsiteX1" fmla="*/ 228600 w 438150"/>
                  <a:gd name="connsiteY1" fmla="*/ 591 h 114891"/>
                  <a:gd name="connsiteX2" fmla="*/ 438150 w 438150"/>
                  <a:gd name="connsiteY2" fmla="*/ 67266 h 114891"/>
                  <a:gd name="connsiteX3" fmla="*/ 438150 w 438150"/>
                  <a:gd name="connsiteY3" fmla="*/ 67266 h 1148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50" h="114891">
                    <a:moveTo>
                      <a:pt x="0" y="114891"/>
                    </a:moveTo>
                    <a:cubicBezTo>
                      <a:pt x="77787" y="61709"/>
                      <a:pt x="155575" y="8528"/>
                      <a:pt x="228600" y="591"/>
                    </a:cubicBezTo>
                    <a:cubicBezTo>
                      <a:pt x="301625" y="-7346"/>
                      <a:pt x="438150" y="67266"/>
                      <a:pt x="438150" y="67266"/>
                    </a:cubicBezTo>
                    <a:lnTo>
                      <a:pt x="438150" y="67266"/>
                    </a:lnTo>
                  </a:path>
                </a:pathLst>
              </a:cu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32FDC9B8-23C9-4150-B318-006578D347C3}"/>
                </a:ext>
              </a:extLst>
            </p:cNvPr>
            <p:cNvGrpSpPr/>
            <p:nvPr/>
          </p:nvGrpSpPr>
          <p:grpSpPr>
            <a:xfrm>
              <a:off x="5629275" y="5538246"/>
              <a:ext cx="4174156" cy="914400"/>
              <a:chOff x="5629275" y="5538246"/>
              <a:chExt cx="4174156" cy="914400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E9DF6E06-1B53-43FA-AC51-0E636EE8291A}"/>
                  </a:ext>
                </a:extLst>
              </p:cNvPr>
              <p:cNvSpPr txBox="1"/>
              <p:nvPr/>
            </p:nvSpPr>
            <p:spPr>
              <a:xfrm>
                <a:off x="6096000" y="5744339"/>
                <a:ext cx="3707431" cy="4154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100" b="1" dirty="0"/>
                  <a:t>Exploratory Data Analysis</a:t>
                </a:r>
                <a:endParaRPr lang="en-CA" sz="2100" b="1" dirty="0"/>
              </a:p>
            </p:txBody>
          </p:sp>
          <p:pic>
            <p:nvPicPr>
              <p:cNvPr id="27" name="Graphic 26" descr="Illustrator">
                <a:extLst>
                  <a:ext uri="{FF2B5EF4-FFF2-40B4-BE49-F238E27FC236}">
                    <a16:creationId xmlns:a16="http://schemas.microsoft.com/office/drawing/2014/main" id="{19012563-25DA-4879-A669-21587C2909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5629275" y="5538246"/>
                <a:ext cx="914400" cy="914400"/>
              </a:xfrm>
              <a:prstGeom prst="rect">
                <a:avLst/>
              </a:prstGeom>
            </p:spPr>
          </p:pic>
        </p:grpSp>
      </p:grp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E910E875-54A5-46B7-A5D6-717CEA86A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20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bject 34"/>
          <p:cNvSpPr txBox="1"/>
          <p:nvPr/>
        </p:nvSpPr>
        <p:spPr>
          <a:xfrm>
            <a:off x="6994856" y="975692"/>
            <a:ext cx="2163084" cy="227324"/>
          </a:xfrm>
          <a:prstGeom prst="rect">
            <a:avLst/>
          </a:prstGeom>
        </p:spPr>
        <p:txBody>
          <a:bodyPr vert="horz" wrap="square" lIns="0" tIns="11766" rIns="0" bIns="0" rtlCol="0">
            <a:spAutoFit/>
          </a:bodyPr>
          <a:lstStyle/>
          <a:p>
            <a:pPr marL="11206">
              <a:spcBef>
                <a:spcPts val="93"/>
              </a:spcBef>
            </a:pPr>
            <a:r>
              <a:rPr sz="1400" b="1" spc="44" dirty="0">
                <a:solidFill>
                  <a:srgbClr val="252423"/>
                </a:solidFill>
                <a:latin typeface="Arial Narrow"/>
                <a:cs typeface="Arial Narrow"/>
              </a:rPr>
              <a:t>Sentence </a:t>
            </a:r>
            <a:r>
              <a:rPr sz="1400" b="1" spc="40" dirty="0">
                <a:solidFill>
                  <a:srgbClr val="252423"/>
                </a:solidFill>
                <a:latin typeface="Arial Narrow"/>
                <a:cs typeface="Arial Narrow"/>
              </a:rPr>
              <a:t>Count</a:t>
            </a:r>
            <a:r>
              <a:rPr sz="1400" b="1" spc="-71" dirty="0">
                <a:solidFill>
                  <a:srgbClr val="252423"/>
                </a:solidFill>
                <a:latin typeface="Arial Narrow"/>
                <a:cs typeface="Arial Narrow"/>
              </a:rPr>
              <a:t> </a:t>
            </a:r>
            <a:r>
              <a:rPr sz="1400" b="1" spc="62" dirty="0">
                <a:solidFill>
                  <a:srgbClr val="252423"/>
                </a:solidFill>
                <a:latin typeface="Arial Narrow"/>
                <a:cs typeface="Arial Narrow"/>
              </a:rPr>
              <a:t>Distribution</a:t>
            </a:r>
            <a:endParaRPr sz="1400" b="1" dirty="0">
              <a:latin typeface="Arial Narrow"/>
              <a:cs typeface="Arial Narrow"/>
            </a:endParaRPr>
          </a:p>
        </p:txBody>
      </p:sp>
      <p:graphicFrame>
        <p:nvGraphicFramePr>
          <p:cNvPr id="35" name="object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9524974"/>
              </p:ext>
            </p:extLst>
          </p:nvPr>
        </p:nvGraphicFramePr>
        <p:xfrm>
          <a:off x="4748588" y="1595850"/>
          <a:ext cx="568138" cy="186782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81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1533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715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118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532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6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1223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6" name="object 36"/>
          <p:cNvSpPr/>
          <p:nvPr/>
        </p:nvSpPr>
        <p:spPr>
          <a:xfrm>
            <a:off x="5398858" y="3456902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grpSp>
        <p:nvGrpSpPr>
          <p:cNvPr id="626" name="Group 625">
            <a:extLst>
              <a:ext uri="{FF2B5EF4-FFF2-40B4-BE49-F238E27FC236}">
                <a16:creationId xmlns:a16="http://schemas.microsoft.com/office/drawing/2014/main" id="{CA837D5B-4CB4-4CF3-BE63-45BEA3CF7E26}"/>
              </a:ext>
            </a:extLst>
          </p:cNvPr>
          <p:cNvGrpSpPr/>
          <p:nvPr/>
        </p:nvGrpSpPr>
        <p:grpSpPr>
          <a:xfrm>
            <a:off x="5453040" y="1593599"/>
            <a:ext cx="605118" cy="1872839"/>
            <a:chOff x="5453040" y="1593599"/>
            <a:chExt cx="605118" cy="1872839"/>
          </a:xfrm>
        </p:grpSpPr>
        <p:sp>
          <p:nvSpPr>
            <p:cNvPr id="38" name="object 38"/>
            <p:cNvSpPr/>
            <p:nvPr/>
          </p:nvSpPr>
          <p:spPr>
            <a:xfrm>
              <a:off x="5453040" y="3456913"/>
              <a:ext cx="605118" cy="9525"/>
            </a:xfrm>
            <a:custGeom>
              <a:avLst/>
              <a:gdLst/>
              <a:ahLst/>
              <a:cxnLst/>
              <a:rect l="l" t="t" r="r" b="b"/>
              <a:pathLst>
                <a:path w="685800" h="10795">
                  <a:moveTo>
                    <a:pt x="10236" y="0"/>
                  </a:moveTo>
                  <a:lnTo>
                    <a:pt x="0" y="0"/>
                  </a:lnTo>
                  <a:lnTo>
                    <a:pt x="0" y="5105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5105"/>
                  </a:lnTo>
                  <a:lnTo>
                    <a:pt x="10236" y="0"/>
                  </a:lnTo>
                  <a:close/>
                </a:path>
                <a:path w="685800" h="10795">
                  <a:moveTo>
                    <a:pt x="71653" y="5105"/>
                  </a:moveTo>
                  <a:lnTo>
                    <a:pt x="61417" y="5105"/>
                  </a:lnTo>
                  <a:lnTo>
                    <a:pt x="61417" y="10223"/>
                  </a:lnTo>
                  <a:lnTo>
                    <a:pt x="71653" y="10223"/>
                  </a:lnTo>
                  <a:lnTo>
                    <a:pt x="71653" y="5105"/>
                  </a:lnTo>
                  <a:close/>
                </a:path>
                <a:path w="685800" h="10795">
                  <a:moveTo>
                    <a:pt x="133070" y="5105"/>
                  </a:moveTo>
                  <a:lnTo>
                    <a:pt x="122834" y="5105"/>
                  </a:lnTo>
                  <a:lnTo>
                    <a:pt x="122834" y="10223"/>
                  </a:lnTo>
                  <a:lnTo>
                    <a:pt x="133070" y="10223"/>
                  </a:lnTo>
                  <a:lnTo>
                    <a:pt x="133070" y="5105"/>
                  </a:lnTo>
                  <a:close/>
                </a:path>
                <a:path w="685800" h="10795">
                  <a:moveTo>
                    <a:pt x="194475" y="5105"/>
                  </a:moveTo>
                  <a:lnTo>
                    <a:pt x="184238" y="5105"/>
                  </a:lnTo>
                  <a:lnTo>
                    <a:pt x="184238" y="10223"/>
                  </a:lnTo>
                  <a:lnTo>
                    <a:pt x="194475" y="10223"/>
                  </a:lnTo>
                  <a:lnTo>
                    <a:pt x="194475" y="5105"/>
                  </a:lnTo>
                  <a:close/>
                </a:path>
                <a:path w="685800" h="10795">
                  <a:moveTo>
                    <a:pt x="255892" y="5105"/>
                  </a:moveTo>
                  <a:lnTo>
                    <a:pt x="245656" y="5105"/>
                  </a:lnTo>
                  <a:lnTo>
                    <a:pt x="245656" y="10223"/>
                  </a:lnTo>
                  <a:lnTo>
                    <a:pt x="255892" y="10223"/>
                  </a:lnTo>
                  <a:lnTo>
                    <a:pt x="255892" y="5105"/>
                  </a:lnTo>
                  <a:close/>
                </a:path>
                <a:path w="685800" h="10795">
                  <a:moveTo>
                    <a:pt x="317309" y="5105"/>
                  </a:moveTo>
                  <a:lnTo>
                    <a:pt x="307073" y="5105"/>
                  </a:lnTo>
                  <a:lnTo>
                    <a:pt x="307073" y="10223"/>
                  </a:lnTo>
                  <a:lnTo>
                    <a:pt x="317309" y="10223"/>
                  </a:lnTo>
                  <a:lnTo>
                    <a:pt x="317309" y="5105"/>
                  </a:lnTo>
                  <a:close/>
                </a:path>
                <a:path w="685800" h="10795">
                  <a:moveTo>
                    <a:pt x="378726" y="5105"/>
                  </a:moveTo>
                  <a:lnTo>
                    <a:pt x="368490" y="5105"/>
                  </a:lnTo>
                  <a:lnTo>
                    <a:pt x="368490" y="10223"/>
                  </a:lnTo>
                  <a:lnTo>
                    <a:pt x="378726" y="10223"/>
                  </a:lnTo>
                  <a:lnTo>
                    <a:pt x="378726" y="5105"/>
                  </a:lnTo>
                  <a:close/>
                </a:path>
                <a:path w="685800" h="10795">
                  <a:moveTo>
                    <a:pt x="440143" y="5105"/>
                  </a:moveTo>
                  <a:lnTo>
                    <a:pt x="429907" y="5105"/>
                  </a:lnTo>
                  <a:lnTo>
                    <a:pt x="429907" y="10223"/>
                  </a:lnTo>
                  <a:lnTo>
                    <a:pt x="440143" y="10223"/>
                  </a:lnTo>
                  <a:lnTo>
                    <a:pt x="440143" y="5105"/>
                  </a:lnTo>
                  <a:close/>
                </a:path>
                <a:path w="685800" h="10795">
                  <a:moveTo>
                    <a:pt x="501548" y="5105"/>
                  </a:moveTo>
                  <a:lnTo>
                    <a:pt x="491312" y="5105"/>
                  </a:lnTo>
                  <a:lnTo>
                    <a:pt x="491312" y="10223"/>
                  </a:lnTo>
                  <a:lnTo>
                    <a:pt x="501548" y="10223"/>
                  </a:lnTo>
                  <a:lnTo>
                    <a:pt x="501548" y="5105"/>
                  </a:lnTo>
                  <a:close/>
                </a:path>
                <a:path w="685800" h="10795">
                  <a:moveTo>
                    <a:pt x="562965" y="5105"/>
                  </a:moveTo>
                  <a:lnTo>
                    <a:pt x="552729" y="5105"/>
                  </a:lnTo>
                  <a:lnTo>
                    <a:pt x="552729" y="10223"/>
                  </a:lnTo>
                  <a:lnTo>
                    <a:pt x="562965" y="10223"/>
                  </a:lnTo>
                  <a:lnTo>
                    <a:pt x="562965" y="5105"/>
                  </a:lnTo>
                  <a:close/>
                </a:path>
                <a:path w="685800" h="10795">
                  <a:moveTo>
                    <a:pt x="624382" y="5105"/>
                  </a:moveTo>
                  <a:lnTo>
                    <a:pt x="614146" y="5105"/>
                  </a:lnTo>
                  <a:lnTo>
                    <a:pt x="614146" y="10223"/>
                  </a:lnTo>
                  <a:lnTo>
                    <a:pt x="624382" y="10223"/>
                  </a:lnTo>
                  <a:lnTo>
                    <a:pt x="624382" y="5105"/>
                  </a:lnTo>
                  <a:close/>
                </a:path>
                <a:path w="685800" h="10795">
                  <a:moveTo>
                    <a:pt x="685800" y="0"/>
                  </a:moveTo>
                  <a:lnTo>
                    <a:pt x="675563" y="0"/>
                  </a:lnTo>
                  <a:lnTo>
                    <a:pt x="675563" y="10223"/>
                  </a:lnTo>
                  <a:lnTo>
                    <a:pt x="685800" y="10223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" name="object 39"/>
            <p:cNvSpPr/>
            <p:nvPr/>
          </p:nvSpPr>
          <p:spPr>
            <a:xfrm>
              <a:off x="5458667" y="3296265"/>
              <a:ext cx="568139" cy="165287"/>
            </a:xfrm>
            <a:custGeom>
              <a:avLst/>
              <a:gdLst/>
              <a:ahLst/>
              <a:cxnLst/>
              <a:rect l="l" t="t" r="r" b="b"/>
              <a:pathLst>
                <a:path w="643889" h="187325">
                  <a:moveTo>
                    <a:pt x="643803" y="187171"/>
                  </a:moveTo>
                  <a:lnTo>
                    <a:pt x="0" y="187171"/>
                  </a:lnTo>
                  <a:lnTo>
                    <a:pt x="0" y="0"/>
                  </a:lnTo>
                  <a:lnTo>
                    <a:pt x="643803" y="0"/>
                  </a:lnTo>
                  <a:lnTo>
                    <a:pt x="643803" y="187171"/>
                  </a:lnTo>
                  <a:close/>
                </a:path>
              </a:pathLst>
            </a:custGeom>
            <a:solidFill>
              <a:srgbClr val="12239D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" name="object 40"/>
            <p:cNvSpPr/>
            <p:nvPr/>
          </p:nvSpPr>
          <p:spPr>
            <a:xfrm>
              <a:off x="5458667" y="3145583"/>
              <a:ext cx="568139" cy="150719"/>
            </a:xfrm>
            <a:custGeom>
              <a:avLst/>
              <a:gdLst/>
              <a:ahLst/>
              <a:cxnLst/>
              <a:rect l="l" t="t" r="r" b="b"/>
              <a:pathLst>
                <a:path w="643889" h="170814">
                  <a:moveTo>
                    <a:pt x="643803" y="170772"/>
                  </a:moveTo>
                  <a:lnTo>
                    <a:pt x="0" y="170772"/>
                  </a:lnTo>
                  <a:lnTo>
                    <a:pt x="0" y="0"/>
                  </a:lnTo>
                  <a:lnTo>
                    <a:pt x="643803" y="0"/>
                  </a:lnTo>
                  <a:lnTo>
                    <a:pt x="643803" y="170772"/>
                  </a:lnTo>
                  <a:close/>
                </a:path>
              </a:pathLst>
            </a:custGeom>
            <a:solidFill>
              <a:srgbClr val="118CFF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" name="object 41"/>
            <p:cNvSpPr/>
            <p:nvPr/>
          </p:nvSpPr>
          <p:spPr>
            <a:xfrm>
              <a:off x="5453040" y="1593599"/>
              <a:ext cx="605118" cy="1499907"/>
            </a:xfrm>
            <a:custGeom>
              <a:avLst/>
              <a:gdLst/>
              <a:ahLst/>
              <a:cxnLst/>
              <a:rect l="l" t="t" r="r" b="b"/>
              <a:pathLst>
                <a:path w="685800" h="1699895">
                  <a:moveTo>
                    <a:pt x="6375" y="1689404"/>
                  </a:moveTo>
                  <a:lnTo>
                    <a:pt x="0" y="1689404"/>
                  </a:lnTo>
                  <a:lnTo>
                    <a:pt x="0" y="1699628"/>
                  </a:lnTo>
                  <a:lnTo>
                    <a:pt x="6375" y="1699628"/>
                  </a:lnTo>
                  <a:lnTo>
                    <a:pt x="6375" y="1689404"/>
                  </a:lnTo>
                  <a:close/>
                </a:path>
                <a:path w="685800" h="1699895">
                  <a:moveTo>
                    <a:pt x="6375" y="1267053"/>
                  </a:moveTo>
                  <a:lnTo>
                    <a:pt x="0" y="1267053"/>
                  </a:lnTo>
                  <a:lnTo>
                    <a:pt x="0" y="1277277"/>
                  </a:lnTo>
                  <a:lnTo>
                    <a:pt x="6375" y="1277277"/>
                  </a:lnTo>
                  <a:lnTo>
                    <a:pt x="6375" y="1267053"/>
                  </a:lnTo>
                  <a:close/>
                </a:path>
                <a:path w="685800" h="1699895">
                  <a:moveTo>
                    <a:pt x="6375" y="844702"/>
                  </a:moveTo>
                  <a:lnTo>
                    <a:pt x="0" y="844702"/>
                  </a:lnTo>
                  <a:lnTo>
                    <a:pt x="0" y="854925"/>
                  </a:lnTo>
                  <a:lnTo>
                    <a:pt x="6375" y="854925"/>
                  </a:lnTo>
                  <a:lnTo>
                    <a:pt x="6375" y="844702"/>
                  </a:lnTo>
                  <a:close/>
                </a:path>
                <a:path w="685800" h="1699895">
                  <a:moveTo>
                    <a:pt x="6375" y="422351"/>
                  </a:moveTo>
                  <a:lnTo>
                    <a:pt x="0" y="422351"/>
                  </a:lnTo>
                  <a:lnTo>
                    <a:pt x="0" y="432574"/>
                  </a:lnTo>
                  <a:lnTo>
                    <a:pt x="6375" y="432574"/>
                  </a:lnTo>
                  <a:lnTo>
                    <a:pt x="6375" y="422351"/>
                  </a:lnTo>
                  <a:close/>
                </a:path>
                <a:path w="685800" h="1699895">
                  <a:moveTo>
                    <a:pt x="10236" y="0"/>
                  </a:moveTo>
                  <a:lnTo>
                    <a:pt x="0" y="0"/>
                  </a:lnTo>
                  <a:lnTo>
                    <a:pt x="0" y="5118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5118"/>
                  </a:lnTo>
                  <a:lnTo>
                    <a:pt x="10236" y="0"/>
                  </a:lnTo>
                  <a:close/>
                </a:path>
                <a:path w="685800" h="1699895">
                  <a:moveTo>
                    <a:pt x="71653" y="0"/>
                  </a:moveTo>
                  <a:lnTo>
                    <a:pt x="61417" y="0"/>
                  </a:lnTo>
                  <a:lnTo>
                    <a:pt x="61417" y="5118"/>
                  </a:lnTo>
                  <a:lnTo>
                    <a:pt x="71653" y="5118"/>
                  </a:lnTo>
                  <a:lnTo>
                    <a:pt x="71653" y="0"/>
                  </a:lnTo>
                  <a:close/>
                </a:path>
                <a:path w="685800" h="1699895">
                  <a:moveTo>
                    <a:pt x="133070" y="0"/>
                  </a:moveTo>
                  <a:lnTo>
                    <a:pt x="122834" y="0"/>
                  </a:lnTo>
                  <a:lnTo>
                    <a:pt x="122834" y="5118"/>
                  </a:lnTo>
                  <a:lnTo>
                    <a:pt x="133070" y="5118"/>
                  </a:lnTo>
                  <a:lnTo>
                    <a:pt x="133070" y="0"/>
                  </a:lnTo>
                  <a:close/>
                </a:path>
                <a:path w="685800" h="1699895">
                  <a:moveTo>
                    <a:pt x="194475" y="0"/>
                  </a:moveTo>
                  <a:lnTo>
                    <a:pt x="184238" y="0"/>
                  </a:lnTo>
                  <a:lnTo>
                    <a:pt x="184238" y="5118"/>
                  </a:lnTo>
                  <a:lnTo>
                    <a:pt x="194475" y="5118"/>
                  </a:lnTo>
                  <a:lnTo>
                    <a:pt x="194475" y="0"/>
                  </a:lnTo>
                  <a:close/>
                </a:path>
                <a:path w="685800" h="1699895">
                  <a:moveTo>
                    <a:pt x="255892" y="0"/>
                  </a:moveTo>
                  <a:lnTo>
                    <a:pt x="245656" y="0"/>
                  </a:lnTo>
                  <a:lnTo>
                    <a:pt x="245656" y="5118"/>
                  </a:lnTo>
                  <a:lnTo>
                    <a:pt x="255892" y="5118"/>
                  </a:lnTo>
                  <a:lnTo>
                    <a:pt x="255892" y="0"/>
                  </a:lnTo>
                  <a:close/>
                </a:path>
                <a:path w="685800" h="1699895">
                  <a:moveTo>
                    <a:pt x="317309" y="0"/>
                  </a:moveTo>
                  <a:lnTo>
                    <a:pt x="307073" y="0"/>
                  </a:lnTo>
                  <a:lnTo>
                    <a:pt x="307073" y="5118"/>
                  </a:lnTo>
                  <a:lnTo>
                    <a:pt x="317309" y="5118"/>
                  </a:lnTo>
                  <a:lnTo>
                    <a:pt x="317309" y="0"/>
                  </a:lnTo>
                  <a:close/>
                </a:path>
                <a:path w="685800" h="1699895">
                  <a:moveTo>
                    <a:pt x="378726" y="0"/>
                  </a:moveTo>
                  <a:lnTo>
                    <a:pt x="368490" y="0"/>
                  </a:lnTo>
                  <a:lnTo>
                    <a:pt x="368490" y="5118"/>
                  </a:lnTo>
                  <a:lnTo>
                    <a:pt x="378726" y="5118"/>
                  </a:lnTo>
                  <a:lnTo>
                    <a:pt x="378726" y="0"/>
                  </a:lnTo>
                  <a:close/>
                </a:path>
                <a:path w="685800" h="1699895">
                  <a:moveTo>
                    <a:pt x="440143" y="0"/>
                  </a:moveTo>
                  <a:lnTo>
                    <a:pt x="429907" y="0"/>
                  </a:lnTo>
                  <a:lnTo>
                    <a:pt x="429907" y="5118"/>
                  </a:lnTo>
                  <a:lnTo>
                    <a:pt x="440143" y="5118"/>
                  </a:lnTo>
                  <a:lnTo>
                    <a:pt x="440143" y="0"/>
                  </a:lnTo>
                  <a:close/>
                </a:path>
                <a:path w="685800" h="1699895">
                  <a:moveTo>
                    <a:pt x="501548" y="0"/>
                  </a:moveTo>
                  <a:lnTo>
                    <a:pt x="491312" y="0"/>
                  </a:lnTo>
                  <a:lnTo>
                    <a:pt x="491312" y="5118"/>
                  </a:lnTo>
                  <a:lnTo>
                    <a:pt x="501548" y="5118"/>
                  </a:lnTo>
                  <a:lnTo>
                    <a:pt x="501548" y="0"/>
                  </a:lnTo>
                  <a:close/>
                </a:path>
                <a:path w="685800" h="1699895">
                  <a:moveTo>
                    <a:pt x="562965" y="0"/>
                  </a:moveTo>
                  <a:lnTo>
                    <a:pt x="552729" y="0"/>
                  </a:lnTo>
                  <a:lnTo>
                    <a:pt x="552729" y="5118"/>
                  </a:lnTo>
                  <a:lnTo>
                    <a:pt x="562965" y="5118"/>
                  </a:lnTo>
                  <a:lnTo>
                    <a:pt x="562965" y="0"/>
                  </a:lnTo>
                  <a:close/>
                </a:path>
                <a:path w="685800" h="1699895">
                  <a:moveTo>
                    <a:pt x="624382" y="0"/>
                  </a:moveTo>
                  <a:lnTo>
                    <a:pt x="614146" y="0"/>
                  </a:lnTo>
                  <a:lnTo>
                    <a:pt x="614146" y="5118"/>
                  </a:lnTo>
                  <a:lnTo>
                    <a:pt x="624382" y="5118"/>
                  </a:lnTo>
                  <a:lnTo>
                    <a:pt x="624382" y="0"/>
                  </a:lnTo>
                  <a:close/>
                </a:path>
                <a:path w="685800" h="1699895">
                  <a:moveTo>
                    <a:pt x="685800" y="1689404"/>
                  </a:moveTo>
                  <a:lnTo>
                    <a:pt x="675563" y="1689404"/>
                  </a:lnTo>
                  <a:lnTo>
                    <a:pt x="675563" y="1699628"/>
                  </a:lnTo>
                  <a:lnTo>
                    <a:pt x="685800" y="1699628"/>
                  </a:lnTo>
                  <a:lnTo>
                    <a:pt x="685800" y="1689404"/>
                  </a:lnTo>
                  <a:close/>
                </a:path>
                <a:path w="685800" h="1699895">
                  <a:moveTo>
                    <a:pt x="685800" y="1267053"/>
                  </a:moveTo>
                  <a:lnTo>
                    <a:pt x="675563" y="1267053"/>
                  </a:lnTo>
                  <a:lnTo>
                    <a:pt x="675563" y="1277277"/>
                  </a:lnTo>
                  <a:lnTo>
                    <a:pt x="685800" y="1277277"/>
                  </a:lnTo>
                  <a:lnTo>
                    <a:pt x="685800" y="1267053"/>
                  </a:lnTo>
                  <a:close/>
                </a:path>
                <a:path w="685800" h="1699895">
                  <a:moveTo>
                    <a:pt x="685800" y="844702"/>
                  </a:moveTo>
                  <a:lnTo>
                    <a:pt x="675563" y="844702"/>
                  </a:lnTo>
                  <a:lnTo>
                    <a:pt x="675563" y="854925"/>
                  </a:lnTo>
                  <a:lnTo>
                    <a:pt x="685800" y="854925"/>
                  </a:lnTo>
                  <a:lnTo>
                    <a:pt x="685800" y="844702"/>
                  </a:lnTo>
                  <a:close/>
                </a:path>
                <a:path w="685800" h="1699895">
                  <a:moveTo>
                    <a:pt x="685800" y="422351"/>
                  </a:moveTo>
                  <a:lnTo>
                    <a:pt x="675563" y="422351"/>
                  </a:lnTo>
                  <a:lnTo>
                    <a:pt x="675563" y="432574"/>
                  </a:lnTo>
                  <a:lnTo>
                    <a:pt x="685800" y="432574"/>
                  </a:lnTo>
                  <a:lnTo>
                    <a:pt x="685800" y="422351"/>
                  </a:lnTo>
                  <a:close/>
                </a:path>
                <a:path w="685800" h="1699895">
                  <a:moveTo>
                    <a:pt x="685800" y="0"/>
                  </a:moveTo>
                  <a:lnTo>
                    <a:pt x="675563" y="0"/>
                  </a:lnTo>
                  <a:lnTo>
                    <a:pt x="675563" y="10223"/>
                  </a:lnTo>
                  <a:lnTo>
                    <a:pt x="685800" y="10223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" name="object 42"/>
            <p:cNvSpPr/>
            <p:nvPr/>
          </p:nvSpPr>
          <p:spPr>
            <a:xfrm>
              <a:off x="5458667" y="1598106"/>
              <a:ext cx="568139" cy="1547532"/>
            </a:xfrm>
            <a:custGeom>
              <a:avLst/>
              <a:gdLst/>
              <a:ahLst/>
              <a:cxnLst/>
              <a:rect l="l" t="t" r="r" b="b"/>
              <a:pathLst>
                <a:path w="643889" h="1753870">
                  <a:moveTo>
                    <a:pt x="643803" y="1753807"/>
                  </a:moveTo>
                  <a:lnTo>
                    <a:pt x="0" y="1753807"/>
                  </a:lnTo>
                  <a:lnTo>
                    <a:pt x="0" y="0"/>
                  </a:lnTo>
                  <a:lnTo>
                    <a:pt x="643803" y="0"/>
                  </a:lnTo>
                  <a:lnTo>
                    <a:pt x="643803" y="175380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</p:grpSp>
      <p:sp>
        <p:nvSpPr>
          <p:cNvPr id="43" name="object 43"/>
          <p:cNvSpPr/>
          <p:nvPr/>
        </p:nvSpPr>
        <p:spPr>
          <a:xfrm>
            <a:off x="6103317" y="3456902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grpSp>
        <p:nvGrpSpPr>
          <p:cNvPr id="627" name="Group 626">
            <a:extLst>
              <a:ext uri="{FF2B5EF4-FFF2-40B4-BE49-F238E27FC236}">
                <a16:creationId xmlns:a16="http://schemas.microsoft.com/office/drawing/2014/main" id="{EC071306-C29E-4CB0-B0BB-6E4676F20019}"/>
              </a:ext>
            </a:extLst>
          </p:cNvPr>
          <p:cNvGrpSpPr/>
          <p:nvPr/>
        </p:nvGrpSpPr>
        <p:grpSpPr>
          <a:xfrm>
            <a:off x="6157497" y="1593599"/>
            <a:ext cx="605118" cy="1872839"/>
            <a:chOff x="6157497" y="1593599"/>
            <a:chExt cx="605118" cy="1872839"/>
          </a:xfrm>
        </p:grpSpPr>
        <p:sp>
          <p:nvSpPr>
            <p:cNvPr id="45" name="object 45"/>
            <p:cNvSpPr/>
            <p:nvPr/>
          </p:nvSpPr>
          <p:spPr>
            <a:xfrm>
              <a:off x="6157497" y="3456913"/>
              <a:ext cx="605118" cy="9525"/>
            </a:xfrm>
            <a:custGeom>
              <a:avLst/>
              <a:gdLst/>
              <a:ahLst/>
              <a:cxnLst/>
              <a:rect l="l" t="t" r="r" b="b"/>
              <a:pathLst>
                <a:path w="685800" h="10795">
                  <a:moveTo>
                    <a:pt x="10236" y="0"/>
                  </a:moveTo>
                  <a:lnTo>
                    <a:pt x="0" y="0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0"/>
                  </a:lnTo>
                  <a:close/>
                </a:path>
                <a:path w="685800" h="10795">
                  <a:moveTo>
                    <a:pt x="71653" y="5105"/>
                  </a:moveTo>
                  <a:lnTo>
                    <a:pt x="61417" y="5105"/>
                  </a:lnTo>
                  <a:lnTo>
                    <a:pt x="61417" y="10223"/>
                  </a:lnTo>
                  <a:lnTo>
                    <a:pt x="71653" y="10223"/>
                  </a:lnTo>
                  <a:lnTo>
                    <a:pt x="71653" y="5105"/>
                  </a:lnTo>
                  <a:close/>
                </a:path>
                <a:path w="685800" h="10795">
                  <a:moveTo>
                    <a:pt x="133070" y="5105"/>
                  </a:moveTo>
                  <a:lnTo>
                    <a:pt x="122834" y="5105"/>
                  </a:lnTo>
                  <a:lnTo>
                    <a:pt x="122834" y="10223"/>
                  </a:lnTo>
                  <a:lnTo>
                    <a:pt x="133070" y="10223"/>
                  </a:lnTo>
                  <a:lnTo>
                    <a:pt x="133070" y="5105"/>
                  </a:lnTo>
                  <a:close/>
                </a:path>
                <a:path w="685800" h="10795">
                  <a:moveTo>
                    <a:pt x="194475" y="5105"/>
                  </a:moveTo>
                  <a:lnTo>
                    <a:pt x="184251" y="5105"/>
                  </a:lnTo>
                  <a:lnTo>
                    <a:pt x="184251" y="10223"/>
                  </a:lnTo>
                  <a:lnTo>
                    <a:pt x="194475" y="10223"/>
                  </a:lnTo>
                  <a:lnTo>
                    <a:pt x="194475" y="5105"/>
                  </a:lnTo>
                  <a:close/>
                </a:path>
                <a:path w="685800" h="10795">
                  <a:moveTo>
                    <a:pt x="255892" y="5105"/>
                  </a:moveTo>
                  <a:lnTo>
                    <a:pt x="245656" y="5105"/>
                  </a:lnTo>
                  <a:lnTo>
                    <a:pt x="245656" y="10223"/>
                  </a:lnTo>
                  <a:lnTo>
                    <a:pt x="255892" y="10223"/>
                  </a:lnTo>
                  <a:lnTo>
                    <a:pt x="255892" y="5105"/>
                  </a:lnTo>
                  <a:close/>
                </a:path>
                <a:path w="685800" h="10795">
                  <a:moveTo>
                    <a:pt x="317309" y="5105"/>
                  </a:moveTo>
                  <a:lnTo>
                    <a:pt x="307073" y="5105"/>
                  </a:lnTo>
                  <a:lnTo>
                    <a:pt x="307073" y="10223"/>
                  </a:lnTo>
                  <a:lnTo>
                    <a:pt x="317309" y="10223"/>
                  </a:lnTo>
                  <a:lnTo>
                    <a:pt x="317309" y="5105"/>
                  </a:lnTo>
                  <a:close/>
                </a:path>
                <a:path w="685800" h="10795">
                  <a:moveTo>
                    <a:pt x="378726" y="5105"/>
                  </a:moveTo>
                  <a:lnTo>
                    <a:pt x="368490" y="5105"/>
                  </a:lnTo>
                  <a:lnTo>
                    <a:pt x="368490" y="10223"/>
                  </a:lnTo>
                  <a:lnTo>
                    <a:pt x="378726" y="10223"/>
                  </a:lnTo>
                  <a:lnTo>
                    <a:pt x="378726" y="5105"/>
                  </a:lnTo>
                  <a:close/>
                </a:path>
                <a:path w="685800" h="10795">
                  <a:moveTo>
                    <a:pt x="440143" y="5105"/>
                  </a:moveTo>
                  <a:lnTo>
                    <a:pt x="429907" y="5105"/>
                  </a:lnTo>
                  <a:lnTo>
                    <a:pt x="429907" y="10223"/>
                  </a:lnTo>
                  <a:lnTo>
                    <a:pt x="440143" y="10223"/>
                  </a:lnTo>
                  <a:lnTo>
                    <a:pt x="440143" y="5105"/>
                  </a:lnTo>
                  <a:close/>
                </a:path>
                <a:path w="685800" h="10795">
                  <a:moveTo>
                    <a:pt x="501548" y="5105"/>
                  </a:moveTo>
                  <a:lnTo>
                    <a:pt x="491312" y="5105"/>
                  </a:lnTo>
                  <a:lnTo>
                    <a:pt x="491312" y="10223"/>
                  </a:lnTo>
                  <a:lnTo>
                    <a:pt x="501548" y="10223"/>
                  </a:lnTo>
                  <a:lnTo>
                    <a:pt x="501548" y="5105"/>
                  </a:lnTo>
                  <a:close/>
                </a:path>
                <a:path w="685800" h="10795">
                  <a:moveTo>
                    <a:pt x="562965" y="5105"/>
                  </a:moveTo>
                  <a:lnTo>
                    <a:pt x="552729" y="5105"/>
                  </a:lnTo>
                  <a:lnTo>
                    <a:pt x="552729" y="10223"/>
                  </a:lnTo>
                  <a:lnTo>
                    <a:pt x="562965" y="10223"/>
                  </a:lnTo>
                  <a:lnTo>
                    <a:pt x="562965" y="5105"/>
                  </a:lnTo>
                  <a:close/>
                </a:path>
                <a:path w="685800" h="10795">
                  <a:moveTo>
                    <a:pt x="624382" y="5105"/>
                  </a:moveTo>
                  <a:lnTo>
                    <a:pt x="614146" y="5105"/>
                  </a:lnTo>
                  <a:lnTo>
                    <a:pt x="614146" y="10223"/>
                  </a:lnTo>
                  <a:lnTo>
                    <a:pt x="624382" y="10223"/>
                  </a:lnTo>
                  <a:lnTo>
                    <a:pt x="624382" y="5105"/>
                  </a:lnTo>
                  <a:close/>
                </a:path>
                <a:path w="685800" h="10795">
                  <a:moveTo>
                    <a:pt x="685800" y="0"/>
                  </a:moveTo>
                  <a:lnTo>
                    <a:pt x="675563" y="0"/>
                  </a:lnTo>
                  <a:lnTo>
                    <a:pt x="675563" y="10223"/>
                  </a:lnTo>
                  <a:lnTo>
                    <a:pt x="685800" y="10223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6" name="object 46"/>
            <p:cNvSpPr/>
            <p:nvPr/>
          </p:nvSpPr>
          <p:spPr>
            <a:xfrm>
              <a:off x="6168744" y="3247621"/>
              <a:ext cx="568139" cy="214032"/>
            </a:xfrm>
            <a:custGeom>
              <a:avLst/>
              <a:gdLst/>
              <a:ahLst/>
              <a:cxnLst/>
              <a:rect l="l" t="t" r="r" b="b"/>
              <a:pathLst>
                <a:path w="643890" h="242570">
                  <a:moveTo>
                    <a:pt x="643803" y="242300"/>
                  </a:moveTo>
                  <a:lnTo>
                    <a:pt x="0" y="242300"/>
                  </a:lnTo>
                  <a:lnTo>
                    <a:pt x="0" y="0"/>
                  </a:lnTo>
                  <a:lnTo>
                    <a:pt x="643803" y="0"/>
                  </a:lnTo>
                  <a:lnTo>
                    <a:pt x="643803" y="242300"/>
                  </a:lnTo>
                  <a:close/>
                </a:path>
              </a:pathLst>
            </a:custGeom>
            <a:solidFill>
              <a:srgbClr val="12239D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7" name="object 47"/>
            <p:cNvSpPr/>
            <p:nvPr/>
          </p:nvSpPr>
          <p:spPr>
            <a:xfrm>
              <a:off x="6157497" y="3084251"/>
              <a:ext cx="605118" cy="9525"/>
            </a:xfrm>
            <a:custGeom>
              <a:avLst/>
              <a:gdLst/>
              <a:ahLst/>
              <a:cxnLst/>
              <a:rect l="l" t="t" r="r" b="b"/>
              <a:pathLst>
                <a:path w="685800" h="10795">
                  <a:moveTo>
                    <a:pt x="10236" y="0"/>
                  </a:moveTo>
                  <a:lnTo>
                    <a:pt x="0" y="0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0"/>
                  </a:lnTo>
                  <a:close/>
                </a:path>
                <a:path w="685800" h="10795">
                  <a:moveTo>
                    <a:pt x="685800" y="0"/>
                  </a:moveTo>
                  <a:lnTo>
                    <a:pt x="675563" y="0"/>
                  </a:lnTo>
                  <a:lnTo>
                    <a:pt x="675563" y="10223"/>
                  </a:lnTo>
                  <a:lnTo>
                    <a:pt x="685800" y="10223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8" name="object 48"/>
            <p:cNvSpPr/>
            <p:nvPr/>
          </p:nvSpPr>
          <p:spPr>
            <a:xfrm>
              <a:off x="6168744" y="3086606"/>
              <a:ext cx="568139" cy="161365"/>
            </a:xfrm>
            <a:custGeom>
              <a:avLst/>
              <a:gdLst/>
              <a:ahLst/>
              <a:cxnLst/>
              <a:rect l="l" t="t" r="r" b="b"/>
              <a:pathLst>
                <a:path w="643890" h="182879">
                  <a:moveTo>
                    <a:pt x="643803" y="182484"/>
                  </a:moveTo>
                  <a:lnTo>
                    <a:pt x="0" y="182484"/>
                  </a:lnTo>
                  <a:lnTo>
                    <a:pt x="0" y="0"/>
                  </a:lnTo>
                  <a:lnTo>
                    <a:pt x="643803" y="0"/>
                  </a:lnTo>
                  <a:lnTo>
                    <a:pt x="643803" y="182484"/>
                  </a:lnTo>
                  <a:close/>
                </a:path>
              </a:pathLst>
            </a:custGeom>
            <a:solidFill>
              <a:srgbClr val="118CFF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9" name="object 49"/>
            <p:cNvSpPr/>
            <p:nvPr/>
          </p:nvSpPr>
          <p:spPr>
            <a:xfrm>
              <a:off x="6157497" y="1593599"/>
              <a:ext cx="605118" cy="1127312"/>
            </a:xfrm>
            <a:custGeom>
              <a:avLst/>
              <a:gdLst/>
              <a:ahLst/>
              <a:cxnLst/>
              <a:rect l="l" t="t" r="r" b="b"/>
              <a:pathLst>
                <a:path w="685800" h="1277620">
                  <a:moveTo>
                    <a:pt x="10236" y="1267053"/>
                  </a:moveTo>
                  <a:lnTo>
                    <a:pt x="0" y="1267053"/>
                  </a:lnTo>
                  <a:lnTo>
                    <a:pt x="0" y="1277277"/>
                  </a:lnTo>
                  <a:lnTo>
                    <a:pt x="10236" y="1277277"/>
                  </a:lnTo>
                  <a:lnTo>
                    <a:pt x="10236" y="1267053"/>
                  </a:lnTo>
                  <a:close/>
                </a:path>
                <a:path w="685800" h="1277620">
                  <a:moveTo>
                    <a:pt x="10236" y="844702"/>
                  </a:moveTo>
                  <a:lnTo>
                    <a:pt x="0" y="844702"/>
                  </a:lnTo>
                  <a:lnTo>
                    <a:pt x="0" y="854925"/>
                  </a:lnTo>
                  <a:lnTo>
                    <a:pt x="10236" y="854925"/>
                  </a:lnTo>
                  <a:lnTo>
                    <a:pt x="10236" y="844702"/>
                  </a:lnTo>
                  <a:close/>
                </a:path>
                <a:path w="685800" h="1277620">
                  <a:moveTo>
                    <a:pt x="10236" y="422351"/>
                  </a:moveTo>
                  <a:lnTo>
                    <a:pt x="0" y="422351"/>
                  </a:lnTo>
                  <a:lnTo>
                    <a:pt x="0" y="432574"/>
                  </a:lnTo>
                  <a:lnTo>
                    <a:pt x="10236" y="432574"/>
                  </a:lnTo>
                  <a:lnTo>
                    <a:pt x="10236" y="422351"/>
                  </a:lnTo>
                  <a:close/>
                </a:path>
                <a:path w="685800" h="1277620">
                  <a:moveTo>
                    <a:pt x="10236" y="0"/>
                  </a:moveTo>
                  <a:lnTo>
                    <a:pt x="0" y="0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0"/>
                  </a:lnTo>
                  <a:close/>
                </a:path>
                <a:path w="685800" h="1277620">
                  <a:moveTo>
                    <a:pt x="71653" y="0"/>
                  </a:moveTo>
                  <a:lnTo>
                    <a:pt x="61417" y="0"/>
                  </a:lnTo>
                  <a:lnTo>
                    <a:pt x="61417" y="5118"/>
                  </a:lnTo>
                  <a:lnTo>
                    <a:pt x="71653" y="5118"/>
                  </a:lnTo>
                  <a:lnTo>
                    <a:pt x="71653" y="0"/>
                  </a:lnTo>
                  <a:close/>
                </a:path>
                <a:path w="685800" h="1277620">
                  <a:moveTo>
                    <a:pt x="133070" y="0"/>
                  </a:moveTo>
                  <a:lnTo>
                    <a:pt x="122834" y="0"/>
                  </a:lnTo>
                  <a:lnTo>
                    <a:pt x="122834" y="5118"/>
                  </a:lnTo>
                  <a:lnTo>
                    <a:pt x="133070" y="5118"/>
                  </a:lnTo>
                  <a:lnTo>
                    <a:pt x="133070" y="0"/>
                  </a:lnTo>
                  <a:close/>
                </a:path>
                <a:path w="685800" h="1277620">
                  <a:moveTo>
                    <a:pt x="194475" y="0"/>
                  </a:moveTo>
                  <a:lnTo>
                    <a:pt x="184251" y="0"/>
                  </a:lnTo>
                  <a:lnTo>
                    <a:pt x="184251" y="5118"/>
                  </a:lnTo>
                  <a:lnTo>
                    <a:pt x="194475" y="5118"/>
                  </a:lnTo>
                  <a:lnTo>
                    <a:pt x="194475" y="0"/>
                  </a:lnTo>
                  <a:close/>
                </a:path>
                <a:path w="685800" h="1277620">
                  <a:moveTo>
                    <a:pt x="255892" y="0"/>
                  </a:moveTo>
                  <a:lnTo>
                    <a:pt x="245656" y="0"/>
                  </a:lnTo>
                  <a:lnTo>
                    <a:pt x="245656" y="5118"/>
                  </a:lnTo>
                  <a:lnTo>
                    <a:pt x="255892" y="5118"/>
                  </a:lnTo>
                  <a:lnTo>
                    <a:pt x="255892" y="0"/>
                  </a:lnTo>
                  <a:close/>
                </a:path>
                <a:path w="685800" h="1277620">
                  <a:moveTo>
                    <a:pt x="317309" y="0"/>
                  </a:moveTo>
                  <a:lnTo>
                    <a:pt x="307073" y="0"/>
                  </a:lnTo>
                  <a:lnTo>
                    <a:pt x="307073" y="5118"/>
                  </a:lnTo>
                  <a:lnTo>
                    <a:pt x="317309" y="5118"/>
                  </a:lnTo>
                  <a:lnTo>
                    <a:pt x="317309" y="0"/>
                  </a:lnTo>
                  <a:close/>
                </a:path>
                <a:path w="685800" h="1277620">
                  <a:moveTo>
                    <a:pt x="378726" y="0"/>
                  </a:moveTo>
                  <a:lnTo>
                    <a:pt x="368490" y="0"/>
                  </a:lnTo>
                  <a:lnTo>
                    <a:pt x="368490" y="5118"/>
                  </a:lnTo>
                  <a:lnTo>
                    <a:pt x="378726" y="5118"/>
                  </a:lnTo>
                  <a:lnTo>
                    <a:pt x="378726" y="0"/>
                  </a:lnTo>
                  <a:close/>
                </a:path>
                <a:path w="685800" h="1277620">
                  <a:moveTo>
                    <a:pt x="440143" y="0"/>
                  </a:moveTo>
                  <a:lnTo>
                    <a:pt x="429907" y="0"/>
                  </a:lnTo>
                  <a:lnTo>
                    <a:pt x="429907" y="5118"/>
                  </a:lnTo>
                  <a:lnTo>
                    <a:pt x="440143" y="5118"/>
                  </a:lnTo>
                  <a:lnTo>
                    <a:pt x="440143" y="0"/>
                  </a:lnTo>
                  <a:close/>
                </a:path>
                <a:path w="685800" h="1277620">
                  <a:moveTo>
                    <a:pt x="501548" y="0"/>
                  </a:moveTo>
                  <a:lnTo>
                    <a:pt x="491312" y="0"/>
                  </a:lnTo>
                  <a:lnTo>
                    <a:pt x="491312" y="5118"/>
                  </a:lnTo>
                  <a:lnTo>
                    <a:pt x="501548" y="5118"/>
                  </a:lnTo>
                  <a:lnTo>
                    <a:pt x="501548" y="0"/>
                  </a:lnTo>
                  <a:close/>
                </a:path>
                <a:path w="685800" h="1277620">
                  <a:moveTo>
                    <a:pt x="562965" y="0"/>
                  </a:moveTo>
                  <a:lnTo>
                    <a:pt x="552729" y="0"/>
                  </a:lnTo>
                  <a:lnTo>
                    <a:pt x="552729" y="5118"/>
                  </a:lnTo>
                  <a:lnTo>
                    <a:pt x="562965" y="5118"/>
                  </a:lnTo>
                  <a:lnTo>
                    <a:pt x="562965" y="0"/>
                  </a:lnTo>
                  <a:close/>
                </a:path>
                <a:path w="685800" h="1277620">
                  <a:moveTo>
                    <a:pt x="624382" y="0"/>
                  </a:moveTo>
                  <a:lnTo>
                    <a:pt x="614146" y="0"/>
                  </a:lnTo>
                  <a:lnTo>
                    <a:pt x="614146" y="5118"/>
                  </a:lnTo>
                  <a:lnTo>
                    <a:pt x="624382" y="5118"/>
                  </a:lnTo>
                  <a:lnTo>
                    <a:pt x="624382" y="0"/>
                  </a:lnTo>
                  <a:close/>
                </a:path>
                <a:path w="685800" h="1277620">
                  <a:moveTo>
                    <a:pt x="685800" y="1267053"/>
                  </a:moveTo>
                  <a:lnTo>
                    <a:pt x="675563" y="1267053"/>
                  </a:lnTo>
                  <a:lnTo>
                    <a:pt x="675563" y="1277277"/>
                  </a:lnTo>
                  <a:lnTo>
                    <a:pt x="685800" y="1277277"/>
                  </a:lnTo>
                  <a:lnTo>
                    <a:pt x="685800" y="1267053"/>
                  </a:lnTo>
                  <a:close/>
                </a:path>
                <a:path w="685800" h="1277620">
                  <a:moveTo>
                    <a:pt x="685800" y="844702"/>
                  </a:moveTo>
                  <a:lnTo>
                    <a:pt x="675563" y="844702"/>
                  </a:lnTo>
                  <a:lnTo>
                    <a:pt x="675563" y="854925"/>
                  </a:lnTo>
                  <a:lnTo>
                    <a:pt x="685800" y="854925"/>
                  </a:lnTo>
                  <a:lnTo>
                    <a:pt x="685800" y="844702"/>
                  </a:lnTo>
                  <a:close/>
                </a:path>
                <a:path w="685800" h="1277620">
                  <a:moveTo>
                    <a:pt x="685800" y="422351"/>
                  </a:moveTo>
                  <a:lnTo>
                    <a:pt x="675563" y="422351"/>
                  </a:lnTo>
                  <a:lnTo>
                    <a:pt x="675563" y="432574"/>
                  </a:lnTo>
                  <a:lnTo>
                    <a:pt x="685800" y="432574"/>
                  </a:lnTo>
                  <a:lnTo>
                    <a:pt x="685800" y="422351"/>
                  </a:lnTo>
                  <a:close/>
                </a:path>
                <a:path w="685800" h="1277620">
                  <a:moveTo>
                    <a:pt x="685800" y="0"/>
                  </a:moveTo>
                  <a:lnTo>
                    <a:pt x="675563" y="0"/>
                  </a:lnTo>
                  <a:lnTo>
                    <a:pt x="675563" y="10223"/>
                  </a:lnTo>
                  <a:lnTo>
                    <a:pt x="685800" y="10223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0" name="object 50"/>
            <p:cNvSpPr/>
            <p:nvPr/>
          </p:nvSpPr>
          <p:spPr>
            <a:xfrm>
              <a:off x="6168744" y="1598106"/>
              <a:ext cx="568139" cy="1488702"/>
            </a:xfrm>
            <a:custGeom>
              <a:avLst/>
              <a:gdLst/>
              <a:ahLst/>
              <a:cxnLst/>
              <a:rect l="l" t="t" r="r" b="b"/>
              <a:pathLst>
                <a:path w="643890" h="1687195">
                  <a:moveTo>
                    <a:pt x="643803" y="1686966"/>
                  </a:moveTo>
                  <a:lnTo>
                    <a:pt x="0" y="1686966"/>
                  </a:lnTo>
                  <a:lnTo>
                    <a:pt x="0" y="0"/>
                  </a:lnTo>
                  <a:lnTo>
                    <a:pt x="643803" y="0"/>
                  </a:lnTo>
                  <a:lnTo>
                    <a:pt x="643803" y="168696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</p:grpSp>
      <p:sp>
        <p:nvSpPr>
          <p:cNvPr id="51" name="object 51"/>
          <p:cNvSpPr/>
          <p:nvPr/>
        </p:nvSpPr>
        <p:spPr>
          <a:xfrm>
            <a:off x="6807775" y="3456902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grpSp>
        <p:nvGrpSpPr>
          <p:cNvPr id="628" name="Group 627">
            <a:extLst>
              <a:ext uri="{FF2B5EF4-FFF2-40B4-BE49-F238E27FC236}">
                <a16:creationId xmlns:a16="http://schemas.microsoft.com/office/drawing/2014/main" id="{0F6C1F5E-5259-4EE7-A143-95C34262B511}"/>
              </a:ext>
            </a:extLst>
          </p:cNvPr>
          <p:cNvGrpSpPr/>
          <p:nvPr/>
        </p:nvGrpSpPr>
        <p:grpSpPr>
          <a:xfrm>
            <a:off x="6861955" y="1593599"/>
            <a:ext cx="605118" cy="1872839"/>
            <a:chOff x="6861955" y="1593599"/>
            <a:chExt cx="605118" cy="1872839"/>
          </a:xfrm>
        </p:grpSpPr>
        <p:sp>
          <p:nvSpPr>
            <p:cNvPr id="53" name="object 53"/>
            <p:cNvSpPr/>
            <p:nvPr/>
          </p:nvSpPr>
          <p:spPr>
            <a:xfrm>
              <a:off x="6861955" y="3456913"/>
              <a:ext cx="605118" cy="9525"/>
            </a:xfrm>
            <a:custGeom>
              <a:avLst/>
              <a:gdLst/>
              <a:ahLst/>
              <a:cxnLst/>
              <a:rect l="l" t="t" r="r" b="b"/>
              <a:pathLst>
                <a:path w="685800" h="10795">
                  <a:moveTo>
                    <a:pt x="10236" y="0"/>
                  </a:moveTo>
                  <a:lnTo>
                    <a:pt x="0" y="0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0"/>
                  </a:lnTo>
                  <a:close/>
                </a:path>
                <a:path w="685800" h="10795">
                  <a:moveTo>
                    <a:pt x="71653" y="5105"/>
                  </a:moveTo>
                  <a:lnTo>
                    <a:pt x="61417" y="5105"/>
                  </a:lnTo>
                  <a:lnTo>
                    <a:pt x="61417" y="10223"/>
                  </a:lnTo>
                  <a:lnTo>
                    <a:pt x="71653" y="10223"/>
                  </a:lnTo>
                  <a:lnTo>
                    <a:pt x="71653" y="5105"/>
                  </a:lnTo>
                  <a:close/>
                </a:path>
                <a:path w="685800" h="10795">
                  <a:moveTo>
                    <a:pt x="133070" y="5105"/>
                  </a:moveTo>
                  <a:lnTo>
                    <a:pt x="122834" y="5105"/>
                  </a:lnTo>
                  <a:lnTo>
                    <a:pt x="122834" y="10223"/>
                  </a:lnTo>
                  <a:lnTo>
                    <a:pt x="133070" y="10223"/>
                  </a:lnTo>
                  <a:lnTo>
                    <a:pt x="133070" y="5105"/>
                  </a:lnTo>
                  <a:close/>
                </a:path>
                <a:path w="685800" h="10795">
                  <a:moveTo>
                    <a:pt x="194487" y="5105"/>
                  </a:moveTo>
                  <a:lnTo>
                    <a:pt x="184251" y="5105"/>
                  </a:lnTo>
                  <a:lnTo>
                    <a:pt x="184251" y="10223"/>
                  </a:lnTo>
                  <a:lnTo>
                    <a:pt x="194487" y="10223"/>
                  </a:lnTo>
                  <a:lnTo>
                    <a:pt x="194487" y="5105"/>
                  </a:lnTo>
                  <a:close/>
                </a:path>
                <a:path w="685800" h="10795">
                  <a:moveTo>
                    <a:pt x="255892" y="5105"/>
                  </a:moveTo>
                  <a:lnTo>
                    <a:pt x="245656" y="5105"/>
                  </a:lnTo>
                  <a:lnTo>
                    <a:pt x="245656" y="10223"/>
                  </a:lnTo>
                  <a:lnTo>
                    <a:pt x="255892" y="10223"/>
                  </a:lnTo>
                  <a:lnTo>
                    <a:pt x="255892" y="5105"/>
                  </a:lnTo>
                  <a:close/>
                </a:path>
                <a:path w="685800" h="10795">
                  <a:moveTo>
                    <a:pt x="317309" y="5105"/>
                  </a:moveTo>
                  <a:lnTo>
                    <a:pt x="307073" y="5105"/>
                  </a:lnTo>
                  <a:lnTo>
                    <a:pt x="307073" y="10223"/>
                  </a:lnTo>
                  <a:lnTo>
                    <a:pt x="317309" y="10223"/>
                  </a:lnTo>
                  <a:lnTo>
                    <a:pt x="317309" y="5105"/>
                  </a:lnTo>
                  <a:close/>
                </a:path>
                <a:path w="685800" h="10795">
                  <a:moveTo>
                    <a:pt x="378726" y="5105"/>
                  </a:moveTo>
                  <a:lnTo>
                    <a:pt x="368490" y="5105"/>
                  </a:lnTo>
                  <a:lnTo>
                    <a:pt x="368490" y="10223"/>
                  </a:lnTo>
                  <a:lnTo>
                    <a:pt x="378726" y="10223"/>
                  </a:lnTo>
                  <a:lnTo>
                    <a:pt x="378726" y="5105"/>
                  </a:lnTo>
                  <a:close/>
                </a:path>
                <a:path w="685800" h="10795">
                  <a:moveTo>
                    <a:pt x="440143" y="5105"/>
                  </a:moveTo>
                  <a:lnTo>
                    <a:pt x="429907" y="5105"/>
                  </a:lnTo>
                  <a:lnTo>
                    <a:pt x="429907" y="10223"/>
                  </a:lnTo>
                  <a:lnTo>
                    <a:pt x="440143" y="10223"/>
                  </a:lnTo>
                  <a:lnTo>
                    <a:pt x="440143" y="5105"/>
                  </a:lnTo>
                  <a:close/>
                </a:path>
                <a:path w="685800" h="10795">
                  <a:moveTo>
                    <a:pt x="501548" y="5105"/>
                  </a:moveTo>
                  <a:lnTo>
                    <a:pt x="491312" y="5105"/>
                  </a:lnTo>
                  <a:lnTo>
                    <a:pt x="491312" y="10223"/>
                  </a:lnTo>
                  <a:lnTo>
                    <a:pt x="501548" y="10223"/>
                  </a:lnTo>
                  <a:lnTo>
                    <a:pt x="501548" y="5105"/>
                  </a:lnTo>
                  <a:close/>
                </a:path>
                <a:path w="685800" h="10795">
                  <a:moveTo>
                    <a:pt x="562965" y="5105"/>
                  </a:moveTo>
                  <a:lnTo>
                    <a:pt x="552729" y="5105"/>
                  </a:lnTo>
                  <a:lnTo>
                    <a:pt x="552729" y="10223"/>
                  </a:lnTo>
                  <a:lnTo>
                    <a:pt x="562965" y="10223"/>
                  </a:lnTo>
                  <a:lnTo>
                    <a:pt x="562965" y="5105"/>
                  </a:lnTo>
                  <a:close/>
                </a:path>
                <a:path w="685800" h="10795">
                  <a:moveTo>
                    <a:pt x="624382" y="5105"/>
                  </a:moveTo>
                  <a:lnTo>
                    <a:pt x="614146" y="5105"/>
                  </a:lnTo>
                  <a:lnTo>
                    <a:pt x="614146" y="10223"/>
                  </a:lnTo>
                  <a:lnTo>
                    <a:pt x="624382" y="10223"/>
                  </a:lnTo>
                  <a:lnTo>
                    <a:pt x="624382" y="5105"/>
                  </a:lnTo>
                  <a:close/>
                </a:path>
                <a:path w="685800" h="10795">
                  <a:moveTo>
                    <a:pt x="685800" y="0"/>
                  </a:moveTo>
                  <a:lnTo>
                    <a:pt x="675563" y="0"/>
                  </a:lnTo>
                  <a:lnTo>
                    <a:pt x="675563" y="10223"/>
                  </a:lnTo>
                  <a:lnTo>
                    <a:pt x="685800" y="10223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4" name="object 54"/>
            <p:cNvSpPr/>
            <p:nvPr/>
          </p:nvSpPr>
          <p:spPr>
            <a:xfrm>
              <a:off x="6878821" y="3199250"/>
              <a:ext cx="568139" cy="262218"/>
            </a:xfrm>
            <a:custGeom>
              <a:avLst/>
              <a:gdLst/>
              <a:ahLst/>
              <a:cxnLst/>
              <a:rect l="l" t="t" r="r" b="b"/>
              <a:pathLst>
                <a:path w="643890" h="297179">
                  <a:moveTo>
                    <a:pt x="643803" y="297121"/>
                  </a:moveTo>
                  <a:lnTo>
                    <a:pt x="0" y="297121"/>
                  </a:lnTo>
                  <a:lnTo>
                    <a:pt x="0" y="0"/>
                  </a:lnTo>
                  <a:lnTo>
                    <a:pt x="643803" y="0"/>
                  </a:lnTo>
                  <a:lnTo>
                    <a:pt x="643803" y="297121"/>
                  </a:lnTo>
                  <a:close/>
                </a:path>
              </a:pathLst>
            </a:custGeom>
            <a:solidFill>
              <a:srgbClr val="12239D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5" name="object 55"/>
            <p:cNvSpPr/>
            <p:nvPr/>
          </p:nvSpPr>
          <p:spPr>
            <a:xfrm>
              <a:off x="6861955" y="3084251"/>
              <a:ext cx="605118" cy="9525"/>
            </a:xfrm>
            <a:custGeom>
              <a:avLst/>
              <a:gdLst/>
              <a:ahLst/>
              <a:cxnLst/>
              <a:rect l="l" t="t" r="r" b="b"/>
              <a:pathLst>
                <a:path w="685800" h="10795">
                  <a:moveTo>
                    <a:pt x="10236" y="0"/>
                  </a:moveTo>
                  <a:lnTo>
                    <a:pt x="0" y="0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0"/>
                  </a:lnTo>
                  <a:close/>
                </a:path>
                <a:path w="685800" h="10795">
                  <a:moveTo>
                    <a:pt x="685800" y="0"/>
                  </a:moveTo>
                  <a:lnTo>
                    <a:pt x="675563" y="0"/>
                  </a:lnTo>
                  <a:lnTo>
                    <a:pt x="675563" y="10223"/>
                  </a:lnTo>
                  <a:lnTo>
                    <a:pt x="685800" y="10223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6" name="object 56"/>
            <p:cNvSpPr/>
            <p:nvPr/>
          </p:nvSpPr>
          <p:spPr>
            <a:xfrm>
              <a:off x="6878821" y="3009640"/>
              <a:ext cx="568139" cy="189940"/>
            </a:xfrm>
            <a:custGeom>
              <a:avLst/>
              <a:gdLst/>
              <a:ahLst/>
              <a:cxnLst/>
              <a:rect l="l" t="t" r="r" b="b"/>
              <a:pathLst>
                <a:path w="643890" h="215264">
                  <a:moveTo>
                    <a:pt x="643803" y="214891"/>
                  </a:moveTo>
                  <a:lnTo>
                    <a:pt x="0" y="214891"/>
                  </a:lnTo>
                  <a:lnTo>
                    <a:pt x="0" y="0"/>
                  </a:lnTo>
                  <a:lnTo>
                    <a:pt x="643803" y="0"/>
                  </a:lnTo>
                  <a:lnTo>
                    <a:pt x="643803" y="214891"/>
                  </a:lnTo>
                  <a:close/>
                </a:path>
              </a:pathLst>
            </a:custGeom>
            <a:solidFill>
              <a:srgbClr val="118CFF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7" name="object 57"/>
            <p:cNvSpPr/>
            <p:nvPr/>
          </p:nvSpPr>
          <p:spPr>
            <a:xfrm>
              <a:off x="6861955" y="1593599"/>
              <a:ext cx="605118" cy="1127312"/>
            </a:xfrm>
            <a:custGeom>
              <a:avLst/>
              <a:gdLst/>
              <a:ahLst/>
              <a:cxnLst/>
              <a:rect l="l" t="t" r="r" b="b"/>
              <a:pathLst>
                <a:path w="685800" h="1277620">
                  <a:moveTo>
                    <a:pt x="10236" y="1267053"/>
                  </a:moveTo>
                  <a:lnTo>
                    <a:pt x="0" y="1267053"/>
                  </a:lnTo>
                  <a:lnTo>
                    <a:pt x="0" y="1277277"/>
                  </a:lnTo>
                  <a:lnTo>
                    <a:pt x="10236" y="1277277"/>
                  </a:lnTo>
                  <a:lnTo>
                    <a:pt x="10236" y="1267053"/>
                  </a:lnTo>
                  <a:close/>
                </a:path>
                <a:path w="685800" h="1277620">
                  <a:moveTo>
                    <a:pt x="10236" y="844702"/>
                  </a:moveTo>
                  <a:lnTo>
                    <a:pt x="0" y="844702"/>
                  </a:lnTo>
                  <a:lnTo>
                    <a:pt x="0" y="854925"/>
                  </a:lnTo>
                  <a:lnTo>
                    <a:pt x="10236" y="854925"/>
                  </a:lnTo>
                  <a:lnTo>
                    <a:pt x="10236" y="844702"/>
                  </a:lnTo>
                  <a:close/>
                </a:path>
                <a:path w="685800" h="1277620">
                  <a:moveTo>
                    <a:pt x="10236" y="422351"/>
                  </a:moveTo>
                  <a:lnTo>
                    <a:pt x="0" y="422351"/>
                  </a:lnTo>
                  <a:lnTo>
                    <a:pt x="0" y="432574"/>
                  </a:lnTo>
                  <a:lnTo>
                    <a:pt x="10236" y="432574"/>
                  </a:lnTo>
                  <a:lnTo>
                    <a:pt x="10236" y="422351"/>
                  </a:lnTo>
                  <a:close/>
                </a:path>
                <a:path w="685800" h="1277620">
                  <a:moveTo>
                    <a:pt x="10236" y="0"/>
                  </a:moveTo>
                  <a:lnTo>
                    <a:pt x="0" y="0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0"/>
                  </a:lnTo>
                  <a:close/>
                </a:path>
                <a:path w="685800" h="1277620">
                  <a:moveTo>
                    <a:pt x="71653" y="0"/>
                  </a:moveTo>
                  <a:lnTo>
                    <a:pt x="61417" y="0"/>
                  </a:lnTo>
                  <a:lnTo>
                    <a:pt x="61417" y="5118"/>
                  </a:lnTo>
                  <a:lnTo>
                    <a:pt x="71653" y="5118"/>
                  </a:lnTo>
                  <a:lnTo>
                    <a:pt x="71653" y="0"/>
                  </a:lnTo>
                  <a:close/>
                </a:path>
                <a:path w="685800" h="1277620">
                  <a:moveTo>
                    <a:pt x="133070" y="0"/>
                  </a:moveTo>
                  <a:lnTo>
                    <a:pt x="122834" y="0"/>
                  </a:lnTo>
                  <a:lnTo>
                    <a:pt x="122834" y="5118"/>
                  </a:lnTo>
                  <a:lnTo>
                    <a:pt x="133070" y="5118"/>
                  </a:lnTo>
                  <a:lnTo>
                    <a:pt x="133070" y="0"/>
                  </a:lnTo>
                  <a:close/>
                </a:path>
                <a:path w="685800" h="1277620">
                  <a:moveTo>
                    <a:pt x="194487" y="0"/>
                  </a:moveTo>
                  <a:lnTo>
                    <a:pt x="184251" y="0"/>
                  </a:lnTo>
                  <a:lnTo>
                    <a:pt x="184251" y="5118"/>
                  </a:lnTo>
                  <a:lnTo>
                    <a:pt x="194487" y="5118"/>
                  </a:lnTo>
                  <a:lnTo>
                    <a:pt x="194487" y="0"/>
                  </a:lnTo>
                  <a:close/>
                </a:path>
                <a:path w="685800" h="1277620">
                  <a:moveTo>
                    <a:pt x="255892" y="0"/>
                  </a:moveTo>
                  <a:lnTo>
                    <a:pt x="245656" y="0"/>
                  </a:lnTo>
                  <a:lnTo>
                    <a:pt x="245656" y="5118"/>
                  </a:lnTo>
                  <a:lnTo>
                    <a:pt x="255892" y="5118"/>
                  </a:lnTo>
                  <a:lnTo>
                    <a:pt x="255892" y="0"/>
                  </a:lnTo>
                  <a:close/>
                </a:path>
                <a:path w="685800" h="1277620">
                  <a:moveTo>
                    <a:pt x="317309" y="0"/>
                  </a:moveTo>
                  <a:lnTo>
                    <a:pt x="307073" y="0"/>
                  </a:lnTo>
                  <a:lnTo>
                    <a:pt x="307073" y="5118"/>
                  </a:lnTo>
                  <a:lnTo>
                    <a:pt x="317309" y="5118"/>
                  </a:lnTo>
                  <a:lnTo>
                    <a:pt x="317309" y="0"/>
                  </a:lnTo>
                  <a:close/>
                </a:path>
                <a:path w="685800" h="1277620">
                  <a:moveTo>
                    <a:pt x="378726" y="0"/>
                  </a:moveTo>
                  <a:lnTo>
                    <a:pt x="368490" y="0"/>
                  </a:lnTo>
                  <a:lnTo>
                    <a:pt x="368490" y="5118"/>
                  </a:lnTo>
                  <a:lnTo>
                    <a:pt x="378726" y="5118"/>
                  </a:lnTo>
                  <a:lnTo>
                    <a:pt x="378726" y="0"/>
                  </a:lnTo>
                  <a:close/>
                </a:path>
                <a:path w="685800" h="1277620">
                  <a:moveTo>
                    <a:pt x="440143" y="0"/>
                  </a:moveTo>
                  <a:lnTo>
                    <a:pt x="429907" y="0"/>
                  </a:lnTo>
                  <a:lnTo>
                    <a:pt x="429907" y="5118"/>
                  </a:lnTo>
                  <a:lnTo>
                    <a:pt x="440143" y="5118"/>
                  </a:lnTo>
                  <a:lnTo>
                    <a:pt x="440143" y="0"/>
                  </a:lnTo>
                  <a:close/>
                </a:path>
                <a:path w="685800" h="1277620">
                  <a:moveTo>
                    <a:pt x="501548" y="0"/>
                  </a:moveTo>
                  <a:lnTo>
                    <a:pt x="491312" y="0"/>
                  </a:lnTo>
                  <a:lnTo>
                    <a:pt x="491312" y="5118"/>
                  </a:lnTo>
                  <a:lnTo>
                    <a:pt x="501548" y="5118"/>
                  </a:lnTo>
                  <a:lnTo>
                    <a:pt x="501548" y="0"/>
                  </a:lnTo>
                  <a:close/>
                </a:path>
                <a:path w="685800" h="1277620">
                  <a:moveTo>
                    <a:pt x="562965" y="0"/>
                  </a:moveTo>
                  <a:lnTo>
                    <a:pt x="552729" y="0"/>
                  </a:lnTo>
                  <a:lnTo>
                    <a:pt x="552729" y="5118"/>
                  </a:lnTo>
                  <a:lnTo>
                    <a:pt x="562965" y="5118"/>
                  </a:lnTo>
                  <a:lnTo>
                    <a:pt x="562965" y="0"/>
                  </a:lnTo>
                  <a:close/>
                </a:path>
                <a:path w="685800" h="1277620">
                  <a:moveTo>
                    <a:pt x="624382" y="0"/>
                  </a:moveTo>
                  <a:lnTo>
                    <a:pt x="614146" y="0"/>
                  </a:lnTo>
                  <a:lnTo>
                    <a:pt x="614146" y="5118"/>
                  </a:lnTo>
                  <a:lnTo>
                    <a:pt x="624382" y="5118"/>
                  </a:lnTo>
                  <a:lnTo>
                    <a:pt x="624382" y="0"/>
                  </a:lnTo>
                  <a:close/>
                </a:path>
                <a:path w="685800" h="1277620">
                  <a:moveTo>
                    <a:pt x="685800" y="1267053"/>
                  </a:moveTo>
                  <a:lnTo>
                    <a:pt x="675563" y="1267053"/>
                  </a:lnTo>
                  <a:lnTo>
                    <a:pt x="675563" y="1277277"/>
                  </a:lnTo>
                  <a:lnTo>
                    <a:pt x="685800" y="1277277"/>
                  </a:lnTo>
                  <a:lnTo>
                    <a:pt x="685800" y="1267053"/>
                  </a:lnTo>
                  <a:close/>
                </a:path>
                <a:path w="685800" h="1277620">
                  <a:moveTo>
                    <a:pt x="685800" y="844702"/>
                  </a:moveTo>
                  <a:lnTo>
                    <a:pt x="675563" y="844702"/>
                  </a:lnTo>
                  <a:lnTo>
                    <a:pt x="675563" y="854925"/>
                  </a:lnTo>
                  <a:lnTo>
                    <a:pt x="685800" y="854925"/>
                  </a:lnTo>
                  <a:lnTo>
                    <a:pt x="685800" y="844702"/>
                  </a:lnTo>
                  <a:close/>
                </a:path>
                <a:path w="685800" h="1277620">
                  <a:moveTo>
                    <a:pt x="685800" y="422351"/>
                  </a:moveTo>
                  <a:lnTo>
                    <a:pt x="675563" y="422351"/>
                  </a:lnTo>
                  <a:lnTo>
                    <a:pt x="675563" y="432574"/>
                  </a:lnTo>
                  <a:lnTo>
                    <a:pt x="685800" y="432574"/>
                  </a:lnTo>
                  <a:lnTo>
                    <a:pt x="685800" y="422351"/>
                  </a:lnTo>
                  <a:close/>
                </a:path>
                <a:path w="685800" h="1277620">
                  <a:moveTo>
                    <a:pt x="685800" y="0"/>
                  </a:moveTo>
                  <a:lnTo>
                    <a:pt x="675563" y="0"/>
                  </a:lnTo>
                  <a:lnTo>
                    <a:pt x="675563" y="10223"/>
                  </a:lnTo>
                  <a:lnTo>
                    <a:pt x="685800" y="10223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8" name="object 58"/>
            <p:cNvSpPr/>
            <p:nvPr/>
          </p:nvSpPr>
          <p:spPr>
            <a:xfrm>
              <a:off x="6878821" y="1598106"/>
              <a:ext cx="568139" cy="1411941"/>
            </a:xfrm>
            <a:custGeom>
              <a:avLst/>
              <a:gdLst/>
              <a:ahLst/>
              <a:cxnLst/>
              <a:rect l="l" t="t" r="r" b="b"/>
              <a:pathLst>
                <a:path w="643890" h="1600200">
                  <a:moveTo>
                    <a:pt x="643803" y="1599738"/>
                  </a:moveTo>
                  <a:lnTo>
                    <a:pt x="0" y="1599738"/>
                  </a:lnTo>
                  <a:lnTo>
                    <a:pt x="0" y="0"/>
                  </a:lnTo>
                  <a:lnTo>
                    <a:pt x="643803" y="0"/>
                  </a:lnTo>
                  <a:lnTo>
                    <a:pt x="643803" y="159973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</p:grpSp>
      <p:sp>
        <p:nvSpPr>
          <p:cNvPr id="59" name="object 59"/>
          <p:cNvSpPr/>
          <p:nvPr/>
        </p:nvSpPr>
        <p:spPr>
          <a:xfrm>
            <a:off x="7512233" y="3456902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grpSp>
        <p:nvGrpSpPr>
          <p:cNvPr id="629" name="Group 628">
            <a:extLst>
              <a:ext uri="{FF2B5EF4-FFF2-40B4-BE49-F238E27FC236}">
                <a16:creationId xmlns:a16="http://schemas.microsoft.com/office/drawing/2014/main" id="{FAC7E400-0C25-4B50-98B4-80BA06B99A52}"/>
              </a:ext>
            </a:extLst>
          </p:cNvPr>
          <p:cNvGrpSpPr/>
          <p:nvPr/>
        </p:nvGrpSpPr>
        <p:grpSpPr>
          <a:xfrm>
            <a:off x="7566413" y="1593599"/>
            <a:ext cx="605118" cy="1872839"/>
            <a:chOff x="7566413" y="1593599"/>
            <a:chExt cx="605118" cy="1872839"/>
          </a:xfrm>
        </p:grpSpPr>
        <p:sp>
          <p:nvSpPr>
            <p:cNvPr id="61" name="object 61"/>
            <p:cNvSpPr/>
            <p:nvPr/>
          </p:nvSpPr>
          <p:spPr>
            <a:xfrm>
              <a:off x="7566413" y="3456913"/>
              <a:ext cx="605118" cy="9525"/>
            </a:xfrm>
            <a:custGeom>
              <a:avLst/>
              <a:gdLst/>
              <a:ahLst/>
              <a:cxnLst/>
              <a:rect l="l" t="t" r="r" b="b"/>
              <a:pathLst>
                <a:path w="685800" h="10795">
                  <a:moveTo>
                    <a:pt x="10236" y="0"/>
                  </a:moveTo>
                  <a:lnTo>
                    <a:pt x="0" y="0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0"/>
                  </a:lnTo>
                  <a:close/>
                </a:path>
                <a:path w="685800" h="10795">
                  <a:moveTo>
                    <a:pt x="71653" y="5105"/>
                  </a:moveTo>
                  <a:lnTo>
                    <a:pt x="61417" y="5105"/>
                  </a:lnTo>
                  <a:lnTo>
                    <a:pt x="61417" y="10223"/>
                  </a:lnTo>
                  <a:lnTo>
                    <a:pt x="71653" y="10223"/>
                  </a:lnTo>
                  <a:lnTo>
                    <a:pt x="71653" y="5105"/>
                  </a:lnTo>
                  <a:close/>
                </a:path>
                <a:path w="685800" h="10795">
                  <a:moveTo>
                    <a:pt x="133070" y="5105"/>
                  </a:moveTo>
                  <a:lnTo>
                    <a:pt x="122834" y="5105"/>
                  </a:lnTo>
                  <a:lnTo>
                    <a:pt x="122834" y="10223"/>
                  </a:lnTo>
                  <a:lnTo>
                    <a:pt x="133070" y="10223"/>
                  </a:lnTo>
                  <a:lnTo>
                    <a:pt x="133070" y="5105"/>
                  </a:lnTo>
                  <a:close/>
                </a:path>
                <a:path w="685800" h="10795">
                  <a:moveTo>
                    <a:pt x="194487" y="5105"/>
                  </a:moveTo>
                  <a:lnTo>
                    <a:pt x="184251" y="5105"/>
                  </a:lnTo>
                  <a:lnTo>
                    <a:pt x="184251" y="10223"/>
                  </a:lnTo>
                  <a:lnTo>
                    <a:pt x="194487" y="10223"/>
                  </a:lnTo>
                  <a:lnTo>
                    <a:pt x="194487" y="5105"/>
                  </a:lnTo>
                  <a:close/>
                </a:path>
                <a:path w="685800" h="10795">
                  <a:moveTo>
                    <a:pt x="255892" y="5105"/>
                  </a:moveTo>
                  <a:lnTo>
                    <a:pt x="245656" y="5105"/>
                  </a:lnTo>
                  <a:lnTo>
                    <a:pt x="245656" y="10223"/>
                  </a:lnTo>
                  <a:lnTo>
                    <a:pt x="255892" y="10223"/>
                  </a:lnTo>
                  <a:lnTo>
                    <a:pt x="255892" y="5105"/>
                  </a:lnTo>
                  <a:close/>
                </a:path>
                <a:path w="685800" h="10795">
                  <a:moveTo>
                    <a:pt x="317309" y="5105"/>
                  </a:moveTo>
                  <a:lnTo>
                    <a:pt x="307073" y="5105"/>
                  </a:lnTo>
                  <a:lnTo>
                    <a:pt x="307073" y="10223"/>
                  </a:lnTo>
                  <a:lnTo>
                    <a:pt x="317309" y="10223"/>
                  </a:lnTo>
                  <a:lnTo>
                    <a:pt x="317309" y="5105"/>
                  </a:lnTo>
                  <a:close/>
                </a:path>
                <a:path w="685800" h="10795">
                  <a:moveTo>
                    <a:pt x="378726" y="5105"/>
                  </a:moveTo>
                  <a:lnTo>
                    <a:pt x="368490" y="5105"/>
                  </a:lnTo>
                  <a:lnTo>
                    <a:pt x="368490" y="10223"/>
                  </a:lnTo>
                  <a:lnTo>
                    <a:pt x="378726" y="10223"/>
                  </a:lnTo>
                  <a:lnTo>
                    <a:pt x="378726" y="5105"/>
                  </a:lnTo>
                  <a:close/>
                </a:path>
                <a:path w="685800" h="10795">
                  <a:moveTo>
                    <a:pt x="440143" y="5105"/>
                  </a:moveTo>
                  <a:lnTo>
                    <a:pt x="429907" y="5105"/>
                  </a:lnTo>
                  <a:lnTo>
                    <a:pt x="429907" y="10223"/>
                  </a:lnTo>
                  <a:lnTo>
                    <a:pt x="440143" y="10223"/>
                  </a:lnTo>
                  <a:lnTo>
                    <a:pt x="440143" y="5105"/>
                  </a:lnTo>
                  <a:close/>
                </a:path>
                <a:path w="685800" h="10795">
                  <a:moveTo>
                    <a:pt x="501548" y="5105"/>
                  </a:moveTo>
                  <a:lnTo>
                    <a:pt x="491324" y="5105"/>
                  </a:lnTo>
                  <a:lnTo>
                    <a:pt x="491324" y="10223"/>
                  </a:lnTo>
                  <a:lnTo>
                    <a:pt x="501548" y="10223"/>
                  </a:lnTo>
                  <a:lnTo>
                    <a:pt x="501548" y="5105"/>
                  </a:lnTo>
                  <a:close/>
                </a:path>
                <a:path w="685800" h="10795">
                  <a:moveTo>
                    <a:pt x="562965" y="5105"/>
                  </a:moveTo>
                  <a:lnTo>
                    <a:pt x="552729" y="5105"/>
                  </a:lnTo>
                  <a:lnTo>
                    <a:pt x="552729" y="10223"/>
                  </a:lnTo>
                  <a:lnTo>
                    <a:pt x="562965" y="10223"/>
                  </a:lnTo>
                  <a:lnTo>
                    <a:pt x="562965" y="5105"/>
                  </a:lnTo>
                  <a:close/>
                </a:path>
                <a:path w="685800" h="10795">
                  <a:moveTo>
                    <a:pt x="624382" y="5105"/>
                  </a:moveTo>
                  <a:lnTo>
                    <a:pt x="614146" y="5105"/>
                  </a:lnTo>
                  <a:lnTo>
                    <a:pt x="614146" y="10223"/>
                  </a:lnTo>
                  <a:lnTo>
                    <a:pt x="624382" y="10223"/>
                  </a:lnTo>
                  <a:lnTo>
                    <a:pt x="624382" y="5105"/>
                  </a:lnTo>
                  <a:close/>
                </a:path>
                <a:path w="685800" h="10795">
                  <a:moveTo>
                    <a:pt x="685800" y="0"/>
                  </a:moveTo>
                  <a:lnTo>
                    <a:pt x="675563" y="0"/>
                  </a:lnTo>
                  <a:lnTo>
                    <a:pt x="675563" y="10223"/>
                  </a:lnTo>
                  <a:lnTo>
                    <a:pt x="685800" y="10223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2" name="object 62"/>
            <p:cNvSpPr/>
            <p:nvPr/>
          </p:nvSpPr>
          <p:spPr>
            <a:xfrm>
              <a:off x="7588900" y="3187247"/>
              <a:ext cx="568139" cy="274544"/>
            </a:xfrm>
            <a:custGeom>
              <a:avLst/>
              <a:gdLst/>
              <a:ahLst/>
              <a:cxnLst/>
              <a:rect l="l" t="t" r="r" b="b"/>
              <a:pathLst>
                <a:path w="643890" h="311150">
                  <a:moveTo>
                    <a:pt x="643804" y="310724"/>
                  </a:moveTo>
                  <a:lnTo>
                    <a:pt x="0" y="310724"/>
                  </a:lnTo>
                  <a:lnTo>
                    <a:pt x="0" y="0"/>
                  </a:lnTo>
                  <a:lnTo>
                    <a:pt x="643804" y="0"/>
                  </a:lnTo>
                  <a:lnTo>
                    <a:pt x="643804" y="310724"/>
                  </a:lnTo>
                  <a:close/>
                </a:path>
              </a:pathLst>
            </a:custGeom>
            <a:solidFill>
              <a:srgbClr val="12239D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3" name="object 63"/>
            <p:cNvSpPr/>
            <p:nvPr/>
          </p:nvSpPr>
          <p:spPr>
            <a:xfrm>
              <a:off x="7566413" y="3084251"/>
              <a:ext cx="605118" cy="9525"/>
            </a:xfrm>
            <a:custGeom>
              <a:avLst/>
              <a:gdLst/>
              <a:ahLst/>
              <a:cxnLst/>
              <a:rect l="l" t="t" r="r" b="b"/>
              <a:pathLst>
                <a:path w="685800" h="10795">
                  <a:moveTo>
                    <a:pt x="10236" y="0"/>
                  </a:moveTo>
                  <a:lnTo>
                    <a:pt x="0" y="0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0"/>
                  </a:lnTo>
                  <a:close/>
                </a:path>
                <a:path w="685800" h="10795">
                  <a:moveTo>
                    <a:pt x="685800" y="0"/>
                  </a:moveTo>
                  <a:lnTo>
                    <a:pt x="675563" y="0"/>
                  </a:lnTo>
                  <a:lnTo>
                    <a:pt x="675563" y="10223"/>
                  </a:lnTo>
                  <a:lnTo>
                    <a:pt x="685800" y="10223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4" name="object 64"/>
            <p:cNvSpPr/>
            <p:nvPr/>
          </p:nvSpPr>
          <p:spPr>
            <a:xfrm>
              <a:off x="7588900" y="2970300"/>
              <a:ext cx="568139" cy="217393"/>
            </a:xfrm>
            <a:custGeom>
              <a:avLst/>
              <a:gdLst/>
              <a:ahLst/>
              <a:cxnLst/>
              <a:rect l="l" t="t" r="r" b="b"/>
              <a:pathLst>
                <a:path w="643890" h="246379">
                  <a:moveTo>
                    <a:pt x="643804" y="245873"/>
                  </a:moveTo>
                  <a:lnTo>
                    <a:pt x="0" y="245873"/>
                  </a:lnTo>
                  <a:lnTo>
                    <a:pt x="0" y="0"/>
                  </a:lnTo>
                  <a:lnTo>
                    <a:pt x="643804" y="0"/>
                  </a:lnTo>
                  <a:lnTo>
                    <a:pt x="643804" y="245873"/>
                  </a:lnTo>
                  <a:close/>
                </a:path>
              </a:pathLst>
            </a:custGeom>
            <a:solidFill>
              <a:srgbClr val="118CFF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5" name="object 65"/>
            <p:cNvSpPr/>
            <p:nvPr/>
          </p:nvSpPr>
          <p:spPr>
            <a:xfrm>
              <a:off x="7566413" y="1593599"/>
              <a:ext cx="605118" cy="1127312"/>
            </a:xfrm>
            <a:custGeom>
              <a:avLst/>
              <a:gdLst/>
              <a:ahLst/>
              <a:cxnLst/>
              <a:rect l="l" t="t" r="r" b="b"/>
              <a:pathLst>
                <a:path w="685800" h="1277620">
                  <a:moveTo>
                    <a:pt x="10236" y="1267053"/>
                  </a:moveTo>
                  <a:lnTo>
                    <a:pt x="0" y="1267053"/>
                  </a:lnTo>
                  <a:lnTo>
                    <a:pt x="0" y="1277277"/>
                  </a:lnTo>
                  <a:lnTo>
                    <a:pt x="10236" y="1277277"/>
                  </a:lnTo>
                  <a:lnTo>
                    <a:pt x="10236" y="1267053"/>
                  </a:lnTo>
                  <a:close/>
                </a:path>
                <a:path w="685800" h="1277620">
                  <a:moveTo>
                    <a:pt x="10236" y="844702"/>
                  </a:moveTo>
                  <a:lnTo>
                    <a:pt x="0" y="844702"/>
                  </a:lnTo>
                  <a:lnTo>
                    <a:pt x="0" y="854925"/>
                  </a:lnTo>
                  <a:lnTo>
                    <a:pt x="10236" y="854925"/>
                  </a:lnTo>
                  <a:lnTo>
                    <a:pt x="10236" y="844702"/>
                  </a:lnTo>
                  <a:close/>
                </a:path>
                <a:path w="685800" h="1277620">
                  <a:moveTo>
                    <a:pt x="10236" y="422351"/>
                  </a:moveTo>
                  <a:lnTo>
                    <a:pt x="0" y="422351"/>
                  </a:lnTo>
                  <a:lnTo>
                    <a:pt x="0" y="432574"/>
                  </a:lnTo>
                  <a:lnTo>
                    <a:pt x="10236" y="432574"/>
                  </a:lnTo>
                  <a:lnTo>
                    <a:pt x="10236" y="422351"/>
                  </a:lnTo>
                  <a:close/>
                </a:path>
                <a:path w="685800" h="1277620">
                  <a:moveTo>
                    <a:pt x="10236" y="0"/>
                  </a:moveTo>
                  <a:lnTo>
                    <a:pt x="0" y="0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0"/>
                  </a:lnTo>
                  <a:close/>
                </a:path>
                <a:path w="685800" h="1277620">
                  <a:moveTo>
                    <a:pt x="71653" y="0"/>
                  </a:moveTo>
                  <a:lnTo>
                    <a:pt x="61417" y="0"/>
                  </a:lnTo>
                  <a:lnTo>
                    <a:pt x="61417" y="5118"/>
                  </a:lnTo>
                  <a:lnTo>
                    <a:pt x="71653" y="5118"/>
                  </a:lnTo>
                  <a:lnTo>
                    <a:pt x="71653" y="0"/>
                  </a:lnTo>
                  <a:close/>
                </a:path>
                <a:path w="685800" h="1277620">
                  <a:moveTo>
                    <a:pt x="133070" y="0"/>
                  </a:moveTo>
                  <a:lnTo>
                    <a:pt x="122834" y="0"/>
                  </a:lnTo>
                  <a:lnTo>
                    <a:pt x="122834" y="5118"/>
                  </a:lnTo>
                  <a:lnTo>
                    <a:pt x="133070" y="5118"/>
                  </a:lnTo>
                  <a:lnTo>
                    <a:pt x="133070" y="0"/>
                  </a:lnTo>
                  <a:close/>
                </a:path>
                <a:path w="685800" h="1277620">
                  <a:moveTo>
                    <a:pt x="194487" y="0"/>
                  </a:moveTo>
                  <a:lnTo>
                    <a:pt x="184251" y="0"/>
                  </a:lnTo>
                  <a:lnTo>
                    <a:pt x="184251" y="5118"/>
                  </a:lnTo>
                  <a:lnTo>
                    <a:pt x="194487" y="5118"/>
                  </a:lnTo>
                  <a:lnTo>
                    <a:pt x="194487" y="0"/>
                  </a:lnTo>
                  <a:close/>
                </a:path>
                <a:path w="685800" h="1277620">
                  <a:moveTo>
                    <a:pt x="255892" y="0"/>
                  </a:moveTo>
                  <a:lnTo>
                    <a:pt x="245656" y="0"/>
                  </a:lnTo>
                  <a:lnTo>
                    <a:pt x="245656" y="5118"/>
                  </a:lnTo>
                  <a:lnTo>
                    <a:pt x="255892" y="5118"/>
                  </a:lnTo>
                  <a:lnTo>
                    <a:pt x="255892" y="0"/>
                  </a:lnTo>
                  <a:close/>
                </a:path>
                <a:path w="685800" h="1277620">
                  <a:moveTo>
                    <a:pt x="317309" y="0"/>
                  </a:moveTo>
                  <a:lnTo>
                    <a:pt x="307073" y="0"/>
                  </a:lnTo>
                  <a:lnTo>
                    <a:pt x="307073" y="5118"/>
                  </a:lnTo>
                  <a:lnTo>
                    <a:pt x="317309" y="5118"/>
                  </a:lnTo>
                  <a:lnTo>
                    <a:pt x="317309" y="0"/>
                  </a:lnTo>
                  <a:close/>
                </a:path>
                <a:path w="685800" h="1277620">
                  <a:moveTo>
                    <a:pt x="378726" y="0"/>
                  </a:moveTo>
                  <a:lnTo>
                    <a:pt x="368490" y="0"/>
                  </a:lnTo>
                  <a:lnTo>
                    <a:pt x="368490" y="5118"/>
                  </a:lnTo>
                  <a:lnTo>
                    <a:pt x="378726" y="5118"/>
                  </a:lnTo>
                  <a:lnTo>
                    <a:pt x="378726" y="0"/>
                  </a:lnTo>
                  <a:close/>
                </a:path>
                <a:path w="685800" h="1277620">
                  <a:moveTo>
                    <a:pt x="440143" y="0"/>
                  </a:moveTo>
                  <a:lnTo>
                    <a:pt x="429907" y="0"/>
                  </a:lnTo>
                  <a:lnTo>
                    <a:pt x="429907" y="5118"/>
                  </a:lnTo>
                  <a:lnTo>
                    <a:pt x="440143" y="5118"/>
                  </a:lnTo>
                  <a:lnTo>
                    <a:pt x="440143" y="0"/>
                  </a:lnTo>
                  <a:close/>
                </a:path>
                <a:path w="685800" h="1277620">
                  <a:moveTo>
                    <a:pt x="501548" y="0"/>
                  </a:moveTo>
                  <a:lnTo>
                    <a:pt x="491324" y="0"/>
                  </a:lnTo>
                  <a:lnTo>
                    <a:pt x="491324" y="5118"/>
                  </a:lnTo>
                  <a:lnTo>
                    <a:pt x="501548" y="5118"/>
                  </a:lnTo>
                  <a:lnTo>
                    <a:pt x="501548" y="0"/>
                  </a:lnTo>
                  <a:close/>
                </a:path>
                <a:path w="685800" h="1277620">
                  <a:moveTo>
                    <a:pt x="562965" y="0"/>
                  </a:moveTo>
                  <a:lnTo>
                    <a:pt x="552729" y="0"/>
                  </a:lnTo>
                  <a:lnTo>
                    <a:pt x="552729" y="5118"/>
                  </a:lnTo>
                  <a:lnTo>
                    <a:pt x="562965" y="5118"/>
                  </a:lnTo>
                  <a:lnTo>
                    <a:pt x="562965" y="0"/>
                  </a:lnTo>
                  <a:close/>
                </a:path>
                <a:path w="685800" h="1277620">
                  <a:moveTo>
                    <a:pt x="624382" y="0"/>
                  </a:moveTo>
                  <a:lnTo>
                    <a:pt x="614146" y="0"/>
                  </a:lnTo>
                  <a:lnTo>
                    <a:pt x="614146" y="5118"/>
                  </a:lnTo>
                  <a:lnTo>
                    <a:pt x="624382" y="5118"/>
                  </a:lnTo>
                  <a:lnTo>
                    <a:pt x="624382" y="0"/>
                  </a:lnTo>
                  <a:close/>
                </a:path>
                <a:path w="685800" h="1277620">
                  <a:moveTo>
                    <a:pt x="685800" y="1267053"/>
                  </a:moveTo>
                  <a:lnTo>
                    <a:pt x="675563" y="1267053"/>
                  </a:lnTo>
                  <a:lnTo>
                    <a:pt x="675563" y="1277277"/>
                  </a:lnTo>
                  <a:lnTo>
                    <a:pt x="685800" y="1277277"/>
                  </a:lnTo>
                  <a:lnTo>
                    <a:pt x="685800" y="1267053"/>
                  </a:lnTo>
                  <a:close/>
                </a:path>
                <a:path w="685800" h="1277620">
                  <a:moveTo>
                    <a:pt x="685800" y="844702"/>
                  </a:moveTo>
                  <a:lnTo>
                    <a:pt x="675563" y="844702"/>
                  </a:lnTo>
                  <a:lnTo>
                    <a:pt x="675563" y="854925"/>
                  </a:lnTo>
                  <a:lnTo>
                    <a:pt x="685800" y="854925"/>
                  </a:lnTo>
                  <a:lnTo>
                    <a:pt x="685800" y="844702"/>
                  </a:lnTo>
                  <a:close/>
                </a:path>
                <a:path w="685800" h="1277620">
                  <a:moveTo>
                    <a:pt x="685800" y="422351"/>
                  </a:moveTo>
                  <a:lnTo>
                    <a:pt x="675563" y="422351"/>
                  </a:lnTo>
                  <a:lnTo>
                    <a:pt x="675563" y="432574"/>
                  </a:lnTo>
                  <a:lnTo>
                    <a:pt x="685800" y="432574"/>
                  </a:lnTo>
                  <a:lnTo>
                    <a:pt x="685800" y="422351"/>
                  </a:lnTo>
                  <a:close/>
                </a:path>
                <a:path w="685800" h="1277620">
                  <a:moveTo>
                    <a:pt x="685800" y="0"/>
                  </a:moveTo>
                  <a:lnTo>
                    <a:pt x="675563" y="0"/>
                  </a:lnTo>
                  <a:lnTo>
                    <a:pt x="675563" y="10223"/>
                  </a:lnTo>
                  <a:lnTo>
                    <a:pt x="685800" y="10223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6" name="object 66"/>
            <p:cNvSpPr/>
            <p:nvPr/>
          </p:nvSpPr>
          <p:spPr>
            <a:xfrm>
              <a:off x="7588900" y="1598106"/>
              <a:ext cx="568139" cy="1372721"/>
            </a:xfrm>
            <a:custGeom>
              <a:avLst/>
              <a:gdLst/>
              <a:ahLst/>
              <a:cxnLst/>
              <a:rect l="l" t="t" r="r" b="b"/>
              <a:pathLst>
                <a:path w="643890" h="1555750">
                  <a:moveTo>
                    <a:pt x="643804" y="1555153"/>
                  </a:moveTo>
                  <a:lnTo>
                    <a:pt x="0" y="1555153"/>
                  </a:lnTo>
                  <a:lnTo>
                    <a:pt x="0" y="0"/>
                  </a:lnTo>
                  <a:lnTo>
                    <a:pt x="643804" y="0"/>
                  </a:lnTo>
                  <a:lnTo>
                    <a:pt x="643804" y="155515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</p:grpSp>
      <p:sp>
        <p:nvSpPr>
          <p:cNvPr id="67" name="object 67"/>
          <p:cNvSpPr/>
          <p:nvPr/>
        </p:nvSpPr>
        <p:spPr>
          <a:xfrm>
            <a:off x="8216692" y="3456902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grpSp>
        <p:nvGrpSpPr>
          <p:cNvPr id="630" name="Group 629">
            <a:extLst>
              <a:ext uri="{FF2B5EF4-FFF2-40B4-BE49-F238E27FC236}">
                <a16:creationId xmlns:a16="http://schemas.microsoft.com/office/drawing/2014/main" id="{1E056E59-7253-4A2C-A81B-1875E9F0F6D4}"/>
              </a:ext>
            </a:extLst>
          </p:cNvPr>
          <p:cNvGrpSpPr/>
          <p:nvPr/>
        </p:nvGrpSpPr>
        <p:grpSpPr>
          <a:xfrm>
            <a:off x="8270871" y="1593599"/>
            <a:ext cx="605118" cy="1872839"/>
            <a:chOff x="8270871" y="1593599"/>
            <a:chExt cx="605118" cy="1872839"/>
          </a:xfrm>
        </p:grpSpPr>
        <p:sp>
          <p:nvSpPr>
            <p:cNvPr id="69" name="object 69"/>
            <p:cNvSpPr/>
            <p:nvPr/>
          </p:nvSpPr>
          <p:spPr>
            <a:xfrm>
              <a:off x="8270871" y="3456913"/>
              <a:ext cx="605118" cy="9525"/>
            </a:xfrm>
            <a:custGeom>
              <a:avLst/>
              <a:gdLst/>
              <a:ahLst/>
              <a:cxnLst/>
              <a:rect l="l" t="t" r="r" b="b"/>
              <a:pathLst>
                <a:path w="685800" h="10795">
                  <a:moveTo>
                    <a:pt x="10236" y="0"/>
                  </a:moveTo>
                  <a:lnTo>
                    <a:pt x="0" y="0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0"/>
                  </a:lnTo>
                  <a:close/>
                </a:path>
                <a:path w="685800" h="10795">
                  <a:moveTo>
                    <a:pt x="71653" y="5105"/>
                  </a:moveTo>
                  <a:lnTo>
                    <a:pt x="61417" y="5105"/>
                  </a:lnTo>
                  <a:lnTo>
                    <a:pt x="61417" y="10223"/>
                  </a:lnTo>
                  <a:lnTo>
                    <a:pt x="71653" y="10223"/>
                  </a:lnTo>
                  <a:lnTo>
                    <a:pt x="71653" y="5105"/>
                  </a:lnTo>
                  <a:close/>
                </a:path>
                <a:path w="685800" h="10795">
                  <a:moveTo>
                    <a:pt x="133070" y="5105"/>
                  </a:moveTo>
                  <a:lnTo>
                    <a:pt x="122834" y="5105"/>
                  </a:lnTo>
                  <a:lnTo>
                    <a:pt x="122834" y="10223"/>
                  </a:lnTo>
                  <a:lnTo>
                    <a:pt x="133070" y="10223"/>
                  </a:lnTo>
                  <a:lnTo>
                    <a:pt x="133070" y="5105"/>
                  </a:lnTo>
                  <a:close/>
                </a:path>
                <a:path w="685800" h="10795">
                  <a:moveTo>
                    <a:pt x="194487" y="5105"/>
                  </a:moveTo>
                  <a:lnTo>
                    <a:pt x="184251" y="5105"/>
                  </a:lnTo>
                  <a:lnTo>
                    <a:pt x="184251" y="10223"/>
                  </a:lnTo>
                  <a:lnTo>
                    <a:pt x="194487" y="10223"/>
                  </a:lnTo>
                  <a:lnTo>
                    <a:pt x="194487" y="5105"/>
                  </a:lnTo>
                  <a:close/>
                </a:path>
                <a:path w="685800" h="10795">
                  <a:moveTo>
                    <a:pt x="255892" y="5105"/>
                  </a:moveTo>
                  <a:lnTo>
                    <a:pt x="245668" y="5105"/>
                  </a:lnTo>
                  <a:lnTo>
                    <a:pt x="245668" y="10223"/>
                  </a:lnTo>
                  <a:lnTo>
                    <a:pt x="255892" y="10223"/>
                  </a:lnTo>
                  <a:lnTo>
                    <a:pt x="255892" y="5105"/>
                  </a:lnTo>
                  <a:close/>
                </a:path>
                <a:path w="685800" h="10795">
                  <a:moveTo>
                    <a:pt x="317309" y="5105"/>
                  </a:moveTo>
                  <a:lnTo>
                    <a:pt x="307073" y="5105"/>
                  </a:lnTo>
                  <a:lnTo>
                    <a:pt x="307073" y="10223"/>
                  </a:lnTo>
                  <a:lnTo>
                    <a:pt x="317309" y="10223"/>
                  </a:lnTo>
                  <a:lnTo>
                    <a:pt x="317309" y="5105"/>
                  </a:lnTo>
                  <a:close/>
                </a:path>
                <a:path w="685800" h="10795">
                  <a:moveTo>
                    <a:pt x="378726" y="5105"/>
                  </a:moveTo>
                  <a:lnTo>
                    <a:pt x="368490" y="5105"/>
                  </a:lnTo>
                  <a:lnTo>
                    <a:pt x="368490" y="10223"/>
                  </a:lnTo>
                  <a:lnTo>
                    <a:pt x="378726" y="10223"/>
                  </a:lnTo>
                  <a:lnTo>
                    <a:pt x="378726" y="5105"/>
                  </a:lnTo>
                  <a:close/>
                </a:path>
                <a:path w="685800" h="10795">
                  <a:moveTo>
                    <a:pt x="440143" y="5105"/>
                  </a:moveTo>
                  <a:lnTo>
                    <a:pt x="429907" y="5105"/>
                  </a:lnTo>
                  <a:lnTo>
                    <a:pt x="429907" y="10223"/>
                  </a:lnTo>
                  <a:lnTo>
                    <a:pt x="440143" y="10223"/>
                  </a:lnTo>
                  <a:lnTo>
                    <a:pt x="440143" y="5105"/>
                  </a:lnTo>
                  <a:close/>
                </a:path>
                <a:path w="685800" h="10795">
                  <a:moveTo>
                    <a:pt x="501561" y="5105"/>
                  </a:moveTo>
                  <a:lnTo>
                    <a:pt x="491324" y="5105"/>
                  </a:lnTo>
                  <a:lnTo>
                    <a:pt x="491324" y="10223"/>
                  </a:lnTo>
                  <a:lnTo>
                    <a:pt x="501561" y="10223"/>
                  </a:lnTo>
                  <a:lnTo>
                    <a:pt x="501561" y="5105"/>
                  </a:lnTo>
                  <a:close/>
                </a:path>
                <a:path w="685800" h="10795">
                  <a:moveTo>
                    <a:pt x="562965" y="5105"/>
                  </a:moveTo>
                  <a:lnTo>
                    <a:pt x="552729" y="5105"/>
                  </a:lnTo>
                  <a:lnTo>
                    <a:pt x="552729" y="10223"/>
                  </a:lnTo>
                  <a:lnTo>
                    <a:pt x="562965" y="10223"/>
                  </a:lnTo>
                  <a:lnTo>
                    <a:pt x="562965" y="5105"/>
                  </a:lnTo>
                  <a:close/>
                </a:path>
                <a:path w="685800" h="10795">
                  <a:moveTo>
                    <a:pt x="624382" y="5105"/>
                  </a:moveTo>
                  <a:lnTo>
                    <a:pt x="614146" y="5105"/>
                  </a:lnTo>
                  <a:lnTo>
                    <a:pt x="614146" y="10223"/>
                  </a:lnTo>
                  <a:lnTo>
                    <a:pt x="624382" y="10223"/>
                  </a:lnTo>
                  <a:lnTo>
                    <a:pt x="624382" y="5105"/>
                  </a:lnTo>
                  <a:close/>
                </a:path>
                <a:path w="685800" h="10795">
                  <a:moveTo>
                    <a:pt x="685800" y="0"/>
                  </a:moveTo>
                  <a:lnTo>
                    <a:pt x="675563" y="0"/>
                  </a:lnTo>
                  <a:lnTo>
                    <a:pt x="675563" y="10223"/>
                  </a:lnTo>
                  <a:lnTo>
                    <a:pt x="685800" y="10223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0" name="object 70"/>
            <p:cNvSpPr/>
            <p:nvPr/>
          </p:nvSpPr>
          <p:spPr>
            <a:xfrm>
              <a:off x="8298979" y="3190591"/>
              <a:ext cx="568139" cy="271182"/>
            </a:xfrm>
            <a:custGeom>
              <a:avLst/>
              <a:gdLst/>
              <a:ahLst/>
              <a:cxnLst/>
              <a:rect l="l" t="t" r="r" b="b"/>
              <a:pathLst>
                <a:path w="643890" h="307339">
                  <a:moveTo>
                    <a:pt x="643804" y="306934"/>
                  </a:moveTo>
                  <a:lnTo>
                    <a:pt x="0" y="306934"/>
                  </a:lnTo>
                  <a:lnTo>
                    <a:pt x="0" y="0"/>
                  </a:lnTo>
                  <a:lnTo>
                    <a:pt x="643804" y="0"/>
                  </a:lnTo>
                  <a:lnTo>
                    <a:pt x="643804" y="306934"/>
                  </a:lnTo>
                  <a:close/>
                </a:path>
              </a:pathLst>
            </a:custGeom>
            <a:solidFill>
              <a:srgbClr val="12239D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1" name="object 71"/>
            <p:cNvSpPr/>
            <p:nvPr/>
          </p:nvSpPr>
          <p:spPr>
            <a:xfrm>
              <a:off x="8270871" y="3084251"/>
              <a:ext cx="605118" cy="9525"/>
            </a:xfrm>
            <a:custGeom>
              <a:avLst/>
              <a:gdLst/>
              <a:ahLst/>
              <a:cxnLst/>
              <a:rect l="l" t="t" r="r" b="b"/>
              <a:pathLst>
                <a:path w="685800" h="10795">
                  <a:moveTo>
                    <a:pt x="10236" y="0"/>
                  </a:moveTo>
                  <a:lnTo>
                    <a:pt x="0" y="0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0"/>
                  </a:lnTo>
                  <a:close/>
                </a:path>
                <a:path w="685800" h="10795">
                  <a:moveTo>
                    <a:pt x="685800" y="0"/>
                  </a:moveTo>
                  <a:lnTo>
                    <a:pt x="675563" y="0"/>
                  </a:lnTo>
                  <a:lnTo>
                    <a:pt x="675563" y="10223"/>
                  </a:lnTo>
                  <a:lnTo>
                    <a:pt x="685800" y="10223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2" name="object 72"/>
            <p:cNvSpPr/>
            <p:nvPr/>
          </p:nvSpPr>
          <p:spPr>
            <a:xfrm>
              <a:off x="8298979" y="2959340"/>
              <a:ext cx="568139" cy="231401"/>
            </a:xfrm>
            <a:custGeom>
              <a:avLst/>
              <a:gdLst/>
              <a:ahLst/>
              <a:cxnLst/>
              <a:rect l="l" t="t" r="r" b="b"/>
              <a:pathLst>
                <a:path w="643890" h="262254">
                  <a:moveTo>
                    <a:pt x="643804" y="262085"/>
                  </a:moveTo>
                  <a:lnTo>
                    <a:pt x="0" y="262085"/>
                  </a:lnTo>
                  <a:lnTo>
                    <a:pt x="0" y="0"/>
                  </a:lnTo>
                  <a:lnTo>
                    <a:pt x="643804" y="0"/>
                  </a:lnTo>
                  <a:lnTo>
                    <a:pt x="643804" y="262085"/>
                  </a:lnTo>
                  <a:close/>
                </a:path>
              </a:pathLst>
            </a:custGeom>
            <a:solidFill>
              <a:srgbClr val="118CFF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3" name="object 73"/>
            <p:cNvSpPr/>
            <p:nvPr/>
          </p:nvSpPr>
          <p:spPr>
            <a:xfrm>
              <a:off x="8270871" y="1593599"/>
              <a:ext cx="605118" cy="1127312"/>
            </a:xfrm>
            <a:custGeom>
              <a:avLst/>
              <a:gdLst/>
              <a:ahLst/>
              <a:cxnLst/>
              <a:rect l="l" t="t" r="r" b="b"/>
              <a:pathLst>
                <a:path w="685800" h="1277620">
                  <a:moveTo>
                    <a:pt x="10236" y="1267053"/>
                  </a:moveTo>
                  <a:lnTo>
                    <a:pt x="0" y="1267053"/>
                  </a:lnTo>
                  <a:lnTo>
                    <a:pt x="0" y="1277277"/>
                  </a:lnTo>
                  <a:lnTo>
                    <a:pt x="10236" y="1277277"/>
                  </a:lnTo>
                  <a:lnTo>
                    <a:pt x="10236" y="1267053"/>
                  </a:lnTo>
                  <a:close/>
                </a:path>
                <a:path w="685800" h="1277620">
                  <a:moveTo>
                    <a:pt x="10236" y="844702"/>
                  </a:moveTo>
                  <a:lnTo>
                    <a:pt x="0" y="844702"/>
                  </a:lnTo>
                  <a:lnTo>
                    <a:pt x="0" y="854925"/>
                  </a:lnTo>
                  <a:lnTo>
                    <a:pt x="10236" y="854925"/>
                  </a:lnTo>
                  <a:lnTo>
                    <a:pt x="10236" y="844702"/>
                  </a:lnTo>
                  <a:close/>
                </a:path>
                <a:path w="685800" h="1277620">
                  <a:moveTo>
                    <a:pt x="10236" y="422351"/>
                  </a:moveTo>
                  <a:lnTo>
                    <a:pt x="0" y="422351"/>
                  </a:lnTo>
                  <a:lnTo>
                    <a:pt x="0" y="432574"/>
                  </a:lnTo>
                  <a:lnTo>
                    <a:pt x="10236" y="432574"/>
                  </a:lnTo>
                  <a:lnTo>
                    <a:pt x="10236" y="422351"/>
                  </a:lnTo>
                  <a:close/>
                </a:path>
                <a:path w="685800" h="1277620">
                  <a:moveTo>
                    <a:pt x="10236" y="0"/>
                  </a:moveTo>
                  <a:lnTo>
                    <a:pt x="0" y="0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0"/>
                  </a:lnTo>
                  <a:close/>
                </a:path>
                <a:path w="685800" h="1277620">
                  <a:moveTo>
                    <a:pt x="71653" y="0"/>
                  </a:moveTo>
                  <a:lnTo>
                    <a:pt x="61417" y="0"/>
                  </a:lnTo>
                  <a:lnTo>
                    <a:pt x="61417" y="5118"/>
                  </a:lnTo>
                  <a:lnTo>
                    <a:pt x="71653" y="5118"/>
                  </a:lnTo>
                  <a:lnTo>
                    <a:pt x="71653" y="0"/>
                  </a:lnTo>
                  <a:close/>
                </a:path>
                <a:path w="685800" h="1277620">
                  <a:moveTo>
                    <a:pt x="133070" y="0"/>
                  </a:moveTo>
                  <a:lnTo>
                    <a:pt x="122834" y="0"/>
                  </a:lnTo>
                  <a:lnTo>
                    <a:pt x="122834" y="5118"/>
                  </a:lnTo>
                  <a:lnTo>
                    <a:pt x="133070" y="5118"/>
                  </a:lnTo>
                  <a:lnTo>
                    <a:pt x="133070" y="0"/>
                  </a:lnTo>
                  <a:close/>
                </a:path>
                <a:path w="685800" h="1277620">
                  <a:moveTo>
                    <a:pt x="194487" y="0"/>
                  </a:moveTo>
                  <a:lnTo>
                    <a:pt x="184251" y="0"/>
                  </a:lnTo>
                  <a:lnTo>
                    <a:pt x="184251" y="5118"/>
                  </a:lnTo>
                  <a:lnTo>
                    <a:pt x="194487" y="5118"/>
                  </a:lnTo>
                  <a:lnTo>
                    <a:pt x="194487" y="0"/>
                  </a:lnTo>
                  <a:close/>
                </a:path>
                <a:path w="685800" h="1277620">
                  <a:moveTo>
                    <a:pt x="255892" y="0"/>
                  </a:moveTo>
                  <a:lnTo>
                    <a:pt x="245668" y="0"/>
                  </a:lnTo>
                  <a:lnTo>
                    <a:pt x="245668" y="5118"/>
                  </a:lnTo>
                  <a:lnTo>
                    <a:pt x="255892" y="5118"/>
                  </a:lnTo>
                  <a:lnTo>
                    <a:pt x="255892" y="0"/>
                  </a:lnTo>
                  <a:close/>
                </a:path>
                <a:path w="685800" h="1277620">
                  <a:moveTo>
                    <a:pt x="317309" y="0"/>
                  </a:moveTo>
                  <a:lnTo>
                    <a:pt x="307073" y="0"/>
                  </a:lnTo>
                  <a:lnTo>
                    <a:pt x="307073" y="5118"/>
                  </a:lnTo>
                  <a:lnTo>
                    <a:pt x="317309" y="5118"/>
                  </a:lnTo>
                  <a:lnTo>
                    <a:pt x="317309" y="0"/>
                  </a:lnTo>
                  <a:close/>
                </a:path>
                <a:path w="685800" h="1277620">
                  <a:moveTo>
                    <a:pt x="378726" y="0"/>
                  </a:moveTo>
                  <a:lnTo>
                    <a:pt x="368490" y="0"/>
                  </a:lnTo>
                  <a:lnTo>
                    <a:pt x="368490" y="5118"/>
                  </a:lnTo>
                  <a:lnTo>
                    <a:pt x="378726" y="5118"/>
                  </a:lnTo>
                  <a:lnTo>
                    <a:pt x="378726" y="0"/>
                  </a:lnTo>
                  <a:close/>
                </a:path>
                <a:path w="685800" h="1277620">
                  <a:moveTo>
                    <a:pt x="440143" y="0"/>
                  </a:moveTo>
                  <a:lnTo>
                    <a:pt x="429907" y="0"/>
                  </a:lnTo>
                  <a:lnTo>
                    <a:pt x="429907" y="5118"/>
                  </a:lnTo>
                  <a:lnTo>
                    <a:pt x="440143" y="5118"/>
                  </a:lnTo>
                  <a:lnTo>
                    <a:pt x="440143" y="0"/>
                  </a:lnTo>
                  <a:close/>
                </a:path>
                <a:path w="685800" h="1277620">
                  <a:moveTo>
                    <a:pt x="501561" y="0"/>
                  </a:moveTo>
                  <a:lnTo>
                    <a:pt x="491324" y="0"/>
                  </a:lnTo>
                  <a:lnTo>
                    <a:pt x="491324" y="5118"/>
                  </a:lnTo>
                  <a:lnTo>
                    <a:pt x="501561" y="5118"/>
                  </a:lnTo>
                  <a:lnTo>
                    <a:pt x="501561" y="0"/>
                  </a:lnTo>
                  <a:close/>
                </a:path>
                <a:path w="685800" h="1277620">
                  <a:moveTo>
                    <a:pt x="562965" y="0"/>
                  </a:moveTo>
                  <a:lnTo>
                    <a:pt x="552729" y="0"/>
                  </a:lnTo>
                  <a:lnTo>
                    <a:pt x="552729" y="5118"/>
                  </a:lnTo>
                  <a:lnTo>
                    <a:pt x="562965" y="5118"/>
                  </a:lnTo>
                  <a:lnTo>
                    <a:pt x="562965" y="0"/>
                  </a:lnTo>
                  <a:close/>
                </a:path>
                <a:path w="685800" h="1277620">
                  <a:moveTo>
                    <a:pt x="624382" y="0"/>
                  </a:moveTo>
                  <a:lnTo>
                    <a:pt x="614146" y="0"/>
                  </a:lnTo>
                  <a:lnTo>
                    <a:pt x="614146" y="5118"/>
                  </a:lnTo>
                  <a:lnTo>
                    <a:pt x="624382" y="5118"/>
                  </a:lnTo>
                  <a:lnTo>
                    <a:pt x="624382" y="0"/>
                  </a:lnTo>
                  <a:close/>
                </a:path>
                <a:path w="685800" h="1277620">
                  <a:moveTo>
                    <a:pt x="685800" y="1267053"/>
                  </a:moveTo>
                  <a:lnTo>
                    <a:pt x="675563" y="1267053"/>
                  </a:lnTo>
                  <a:lnTo>
                    <a:pt x="675563" y="1277277"/>
                  </a:lnTo>
                  <a:lnTo>
                    <a:pt x="685800" y="1277277"/>
                  </a:lnTo>
                  <a:lnTo>
                    <a:pt x="685800" y="1267053"/>
                  </a:lnTo>
                  <a:close/>
                </a:path>
                <a:path w="685800" h="1277620">
                  <a:moveTo>
                    <a:pt x="685800" y="844702"/>
                  </a:moveTo>
                  <a:lnTo>
                    <a:pt x="675563" y="844702"/>
                  </a:lnTo>
                  <a:lnTo>
                    <a:pt x="675563" y="854925"/>
                  </a:lnTo>
                  <a:lnTo>
                    <a:pt x="685800" y="854925"/>
                  </a:lnTo>
                  <a:lnTo>
                    <a:pt x="685800" y="844702"/>
                  </a:lnTo>
                  <a:close/>
                </a:path>
                <a:path w="685800" h="1277620">
                  <a:moveTo>
                    <a:pt x="685800" y="422351"/>
                  </a:moveTo>
                  <a:lnTo>
                    <a:pt x="675563" y="422351"/>
                  </a:lnTo>
                  <a:lnTo>
                    <a:pt x="675563" y="432574"/>
                  </a:lnTo>
                  <a:lnTo>
                    <a:pt x="685800" y="432574"/>
                  </a:lnTo>
                  <a:lnTo>
                    <a:pt x="685800" y="422351"/>
                  </a:lnTo>
                  <a:close/>
                </a:path>
                <a:path w="685800" h="1277620">
                  <a:moveTo>
                    <a:pt x="685800" y="0"/>
                  </a:moveTo>
                  <a:lnTo>
                    <a:pt x="675563" y="0"/>
                  </a:lnTo>
                  <a:lnTo>
                    <a:pt x="675563" y="10223"/>
                  </a:lnTo>
                  <a:lnTo>
                    <a:pt x="685800" y="10223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4" name="object 74"/>
            <p:cNvSpPr/>
            <p:nvPr/>
          </p:nvSpPr>
          <p:spPr>
            <a:xfrm>
              <a:off x="8298979" y="1598106"/>
              <a:ext cx="568139" cy="1361515"/>
            </a:xfrm>
            <a:custGeom>
              <a:avLst/>
              <a:gdLst/>
              <a:ahLst/>
              <a:cxnLst/>
              <a:rect l="l" t="t" r="r" b="b"/>
              <a:pathLst>
                <a:path w="643890" h="1543050">
                  <a:moveTo>
                    <a:pt x="643804" y="1542731"/>
                  </a:moveTo>
                  <a:lnTo>
                    <a:pt x="0" y="1542731"/>
                  </a:lnTo>
                  <a:lnTo>
                    <a:pt x="0" y="0"/>
                  </a:lnTo>
                  <a:lnTo>
                    <a:pt x="643804" y="0"/>
                  </a:lnTo>
                  <a:lnTo>
                    <a:pt x="643804" y="154273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</p:grpSp>
      <p:sp>
        <p:nvSpPr>
          <p:cNvPr id="75" name="object 75"/>
          <p:cNvSpPr/>
          <p:nvPr/>
        </p:nvSpPr>
        <p:spPr>
          <a:xfrm>
            <a:off x="8921151" y="3456902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grpSp>
        <p:nvGrpSpPr>
          <p:cNvPr id="631" name="Group 630">
            <a:extLst>
              <a:ext uri="{FF2B5EF4-FFF2-40B4-BE49-F238E27FC236}">
                <a16:creationId xmlns:a16="http://schemas.microsoft.com/office/drawing/2014/main" id="{AE6D8CE5-655E-4307-A714-F9B972A38ECE}"/>
              </a:ext>
            </a:extLst>
          </p:cNvPr>
          <p:cNvGrpSpPr/>
          <p:nvPr/>
        </p:nvGrpSpPr>
        <p:grpSpPr>
          <a:xfrm>
            <a:off x="8975329" y="1593599"/>
            <a:ext cx="605118" cy="1872839"/>
            <a:chOff x="8975329" y="1593599"/>
            <a:chExt cx="605118" cy="1872839"/>
          </a:xfrm>
        </p:grpSpPr>
        <p:sp>
          <p:nvSpPr>
            <p:cNvPr id="77" name="object 77"/>
            <p:cNvSpPr/>
            <p:nvPr/>
          </p:nvSpPr>
          <p:spPr>
            <a:xfrm>
              <a:off x="8975329" y="3456913"/>
              <a:ext cx="605118" cy="9525"/>
            </a:xfrm>
            <a:custGeom>
              <a:avLst/>
              <a:gdLst/>
              <a:ahLst/>
              <a:cxnLst/>
              <a:rect l="l" t="t" r="r" b="b"/>
              <a:pathLst>
                <a:path w="685800" h="10795">
                  <a:moveTo>
                    <a:pt x="10236" y="0"/>
                  </a:moveTo>
                  <a:lnTo>
                    <a:pt x="0" y="0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0"/>
                  </a:lnTo>
                  <a:close/>
                </a:path>
                <a:path w="685800" h="10795">
                  <a:moveTo>
                    <a:pt x="71653" y="5105"/>
                  </a:moveTo>
                  <a:lnTo>
                    <a:pt x="61417" y="5105"/>
                  </a:lnTo>
                  <a:lnTo>
                    <a:pt x="61417" y="10223"/>
                  </a:lnTo>
                  <a:lnTo>
                    <a:pt x="71653" y="10223"/>
                  </a:lnTo>
                  <a:lnTo>
                    <a:pt x="71653" y="5105"/>
                  </a:lnTo>
                  <a:close/>
                </a:path>
                <a:path w="685800" h="10795">
                  <a:moveTo>
                    <a:pt x="133070" y="5105"/>
                  </a:moveTo>
                  <a:lnTo>
                    <a:pt x="122834" y="5105"/>
                  </a:lnTo>
                  <a:lnTo>
                    <a:pt x="122834" y="10223"/>
                  </a:lnTo>
                  <a:lnTo>
                    <a:pt x="133070" y="10223"/>
                  </a:lnTo>
                  <a:lnTo>
                    <a:pt x="133070" y="5105"/>
                  </a:lnTo>
                  <a:close/>
                </a:path>
                <a:path w="685800" h="10795">
                  <a:moveTo>
                    <a:pt x="194487" y="5105"/>
                  </a:moveTo>
                  <a:lnTo>
                    <a:pt x="184251" y="5105"/>
                  </a:lnTo>
                  <a:lnTo>
                    <a:pt x="184251" y="10223"/>
                  </a:lnTo>
                  <a:lnTo>
                    <a:pt x="194487" y="10223"/>
                  </a:lnTo>
                  <a:lnTo>
                    <a:pt x="194487" y="5105"/>
                  </a:lnTo>
                  <a:close/>
                </a:path>
                <a:path w="685800" h="10795">
                  <a:moveTo>
                    <a:pt x="255905" y="5105"/>
                  </a:moveTo>
                  <a:lnTo>
                    <a:pt x="245668" y="5105"/>
                  </a:lnTo>
                  <a:lnTo>
                    <a:pt x="245668" y="10223"/>
                  </a:lnTo>
                  <a:lnTo>
                    <a:pt x="255905" y="10223"/>
                  </a:lnTo>
                  <a:lnTo>
                    <a:pt x="255905" y="5105"/>
                  </a:lnTo>
                  <a:close/>
                </a:path>
                <a:path w="685800" h="10795">
                  <a:moveTo>
                    <a:pt x="317309" y="5105"/>
                  </a:moveTo>
                  <a:lnTo>
                    <a:pt x="307073" y="5105"/>
                  </a:lnTo>
                  <a:lnTo>
                    <a:pt x="307073" y="10223"/>
                  </a:lnTo>
                  <a:lnTo>
                    <a:pt x="317309" y="10223"/>
                  </a:lnTo>
                  <a:lnTo>
                    <a:pt x="317309" y="5105"/>
                  </a:lnTo>
                  <a:close/>
                </a:path>
                <a:path w="685800" h="10795">
                  <a:moveTo>
                    <a:pt x="378726" y="5105"/>
                  </a:moveTo>
                  <a:lnTo>
                    <a:pt x="368490" y="5105"/>
                  </a:lnTo>
                  <a:lnTo>
                    <a:pt x="368490" y="10223"/>
                  </a:lnTo>
                  <a:lnTo>
                    <a:pt x="378726" y="10223"/>
                  </a:lnTo>
                  <a:lnTo>
                    <a:pt x="378726" y="5105"/>
                  </a:lnTo>
                  <a:close/>
                </a:path>
                <a:path w="685800" h="10795">
                  <a:moveTo>
                    <a:pt x="440143" y="5105"/>
                  </a:moveTo>
                  <a:lnTo>
                    <a:pt x="429907" y="5105"/>
                  </a:lnTo>
                  <a:lnTo>
                    <a:pt x="429907" y="10223"/>
                  </a:lnTo>
                  <a:lnTo>
                    <a:pt x="440143" y="10223"/>
                  </a:lnTo>
                  <a:lnTo>
                    <a:pt x="440143" y="5105"/>
                  </a:lnTo>
                  <a:close/>
                </a:path>
                <a:path w="685800" h="10795">
                  <a:moveTo>
                    <a:pt x="501561" y="5105"/>
                  </a:moveTo>
                  <a:lnTo>
                    <a:pt x="491324" y="5105"/>
                  </a:lnTo>
                  <a:lnTo>
                    <a:pt x="491324" y="10223"/>
                  </a:lnTo>
                  <a:lnTo>
                    <a:pt x="501561" y="10223"/>
                  </a:lnTo>
                  <a:lnTo>
                    <a:pt x="501561" y="5105"/>
                  </a:lnTo>
                  <a:close/>
                </a:path>
                <a:path w="685800" h="10795">
                  <a:moveTo>
                    <a:pt x="562965" y="5105"/>
                  </a:moveTo>
                  <a:lnTo>
                    <a:pt x="552729" y="5105"/>
                  </a:lnTo>
                  <a:lnTo>
                    <a:pt x="552729" y="10223"/>
                  </a:lnTo>
                  <a:lnTo>
                    <a:pt x="562965" y="10223"/>
                  </a:lnTo>
                  <a:lnTo>
                    <a:pt x="562965" y="5105"/>
                  </a:lnTo>
                  <a:close/>
                </a:path>
                <a:path w="685800" h="10795">
                  <a:moveTo>
                    <a:pt x="624382" y="5105"/>
                  </a:moveTo>
                  <a:lnTo>
                    <a:pt x="614146" y="5105"/>
                  </a:lnTo>
                  <a:lnTo>
                    <a:pt x="614146" y="10223"/>
                  </a:lnTo>
                  <a:lnTo>
                    <a:pt x="624382" y="10223"/>
                  </a:lnTo>
                  <a:lnTo>
                    <a:pt x="624382" y="5105"/>
                  </a:lnTo>
                  <a:close/>
                </a:path>
                <a:path w="685800" h="10795">
                  <a:moveTo>
                    <a:pt x="685800" y="0"/>
                  </a:moveTo>
                  <a:lnTo>
                    <a:pt x="675563" y="0"/>
                  </a:lnTo>
                  <a:lnTo>
                    <a:pt x="675563" y="5105"/>
                  </a:lnTo>
                  <a:lnTo>
                    <a:pt x="675563" y="10223"/>
                  </a:lnTo>
                  <a:lnTo>
                    <a:pt x="685800" y="10223"/>
                  </a:lnTo>
                  <a:lnTo>
                    <a:pt x="685800" y="5105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8" name="object 78"/>
            <p:cNvSpPr/>
            <p:nvPr/>
          </p:nvSpPr>
          <p:spPr>
            <a:xfrm>
              <a:off x="9009055" y="3203659"/>
              <a:ext cx="568139" cy="258296"/>
            </a:xfrm>
            <a:custGeom>
              <a:avLst/>
              <a:gdLst/>
              <a:ahLst/>
              <a:cxnLst/>
              <a:rect l="l" t="t" r="r" b="b"/>
              <a:pathLst>
                <a:path w="643890" h="292735">
                  <a:moveTo>
                    <a:pt x="643803" y="292125"/>
                  </a:moveTo>
                  <a:lnTo>
                    <a:pt x="0" y="292125"/>
                  </a:lnTo>
                  <a:lnTo>
                    <a:pt x="0" y="0"/>
                  </a:lnTo>
                  <a:lnTo>
                    <a:pt x="643803" y="0"/>
                  </a:lnTo>
                  <a:lnTo>
                    <a:pt x="643803" y="292125"/>
                  </a:lnTo>
                  <a:close/>
                </a:path>
              </a:pathLst>
            </a:custGeom>
            <a:solidFill>
              <a:srgbClr val="12239D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9" name="object 79"/>
            <p:cNvSpPr/>
            <p:nvPr/>
          </p:nvSpPr>
          <p:spPr>
            <a:xfrm>
              <a:off x="8975329" y="3084251"/>
              <a:ext cx="605118" cy="9525"/>
            </a:xfrm>
            <a:custGeom>
              <a:avLst/>
              <a:gdLst/>
              <a:ahLst/>
              <a:cxnLst/>
              <a:rect l="l" t="t" r="r" b="b"/>
              <a:pathLst>
                <a:path w="685800" h="10795">
                  <a:moveTo>
                    <a:pt x="10236" y="0"/>
                  </a:moveTo>
                  <a:lnTo>
                    <a:pt x="0" y="0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0"/>
                  </a:lnTo>
                  <a:close/>
                </a:path>
                <a:path w="685800" h="10795">
                  <a:moveTo>
                    <a:pt x="685800" y="0"/>
                  </a:moveTo>
                  <a:lnTo>
                    <a:pt x="682015" y="0"/>
                  </a:lnTo>
                  <a:lnTo>
                    <a:pt x="682015" y="10223"/>
                  </a:lnTo>
                  <a:lnTo>
                    <a:pt x="685800" y="10223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0" name="object 80"/>
            <p:cNvSpPr/>
            <p:nvPr/>
          </p:nvSpPr>
          <p:spPr>
            <a:xfrm>
              <a:off x="9009055" y="2959210"/>
              <a:ext cx="568139" cy="244849"/>
            </a:xfrm>
            <a:custGeom>
              <a:avLst/>
              <a:gdLst/>
              <a:ahLst/>
              <a:cxnLst/>
              <a:rect l="l" t="t" r="r" b="b"/>
              <a:pathLst>
                <a:path w="643890" h="277495">
                  <a:moveTo>
                    <a:pt x="643803" y="277041"/>
                  </a:moveTo>
                  <a:lnTo>
                    <a:pt x="0" y="277041"/>
                  </a:lnTo>
                  <a:lnTo>
                    <a:pt x="0" y="0"/>
                  </a:lnTo>
                  <a:lnTo>
                    <a:pt x="643803" y="0"/>
                  </a:lnTo>
                  <a:lnTo>
                    <a:pt x="643803" y="277041"/>
                  </a:lnTo>
                  <a:close/>
                </a:path>
              </a:pathLst>
            </a:custGeom>
            <a:solidFill>
              <a:srgbClr val="118CFF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1" name="object 81"/>
            <p:cNvSpPr/>
            <p:nvPr/>
          </p:nvSpPr>
          <p:spPr>
            <a:xfrm>
              <a:off x="8975329" y="1593599"/>
              <a:ext cx="605118" cy="1127312"/>
            </a:xfrm>
            <a:custGeom>
              <a:avLst/>
              <a:gdLst/>
              <a:ahLst/>
              <a:cxnLst/>
              <a:rect l="l" t="t" r="r" b="b"/>
              <a:pathLst>
                <a:path w="685800" h="1277620">
                  <a:moveTo>
                    <a:pt x="10236" y="1267053"/>
                  </a:moveTo>
                  <a:lnTo>
                    <a:pt x="0" y="1267053"/>
                  </a:lnTo>
                  <a:lnTo>
                    <a:pt x="0" y="1277277"/>
                  </a:lnTo>
                  <a:lnTo>
                    <a:pt x="10236" y="1277277"/>
                  </a:lnTo>
                  <a:lnTo>
                    <a:pt x="10236" y="1267053"/>
                  </a:lnTo>
                  <a:close/>
                </a:path>
                <a:path w="685800" h="1277620">
                  <a:moveTo>
                    <a:pt x="10236" y="844702"/>
                  </a:moveTo>
                  <a:lnTo>
                    <a:pt x="0" y="844702"/>
                  </a:lnTo>
                  <a:lnTo>
                    <a:pt x="0" y="854925"/>
                  </a:lnTo>
                  <a:lnTo>
                    <a:pt x="10236" y="854925"/>
                  </a:lnTo>
                  <a:lnTo>
                    <a:pt x="10236" y="844702"/>
                  </a:lnTo>
                  <a:close/>
                </a:path>
                <a:path w="685800" h="1277620">
                  <a:moveTo>
                    <a:pt x="10236" y="422351"/>
                  </a:moveTo>
                  <a:lnTo>
                    <a:pt x="0" y="422351"/>
                  </a:lnTo>
                  <a:lnTo>
                    <a:pt x="0" y="432574"/>
                  </a:lnTo>
                  <a:lnTo>
                    <a:pt x="10236" y="432574"/>
                  </a:lnTo>
                  <a:lnTo>
                    <a:pt x="10236" y="422351"/>
                  </a:lnTo>
                  <a:close/>
                </a:path>
                <a:path w="685800" h="1277620">
                  <a:moveTo>
                    <a:pt x="10236" y="0"/>
                  </a:moveTo>
                  <a:lnTo>
                    <a:pt x="0" y="0"/>
                  </a:lnTo>
                  <a:lnTo>
                    <a:pt x="0" y="10223"/>
                  </a:lnTo>
                  <a:lnTo>
                    <a:pt x="10236" y="10223"/>
                  </a:lnTo>
                  <a:lnTo>
                    <a:pt x="10236" y="0"/>
                  </a:lnTo>
                  <a:close/>
                </a:path>
                <a:path w="685800" h="1277620">
                  <a:moveTo>
                    <a:pt x="71653" y="0"/>
                  </a:moveTo>
                  <a:lnTo>
                    <a:pt x="61417" y="0"/>
                  </a:lnTo>
                  <a:lnTo>
                    <a:pt x="61417" y="5118"/>
                  </a:lnTo>
                  <a:lnTo>
                    <a:pt x="71653" y="5118"/>
                  </a:lnTo>
                  <a:lnTo>
                    <a:pt x="71653" y="0"/>
                  </a:lnTo>
                  <a:close/>
                </a:path>
                <a:path w="685800" h="1277620">
                  <a:moveTo>
                    <a:pt x="133070" y="0"/>
                  </a:moveTo>
                  <a:lnTo>
                    <a:pt x="122834" y="0"/>
                  </a:lnTo>
                  <a:lnTo>
                    <a:pt x="122834" y="5118"/>
                  </a:lnTo>
                  <a:lnTo>
                    <a:pt x="133070" y="5118"/>
                  </a:lnTo>
                  <a:lnTo>
                    <a:pt x="133070" y="0"/>
                  </a:lnTo>
                  <a:close/>
                </a:path>
                <a:path w="685800" h="1277620">
                  <a:moveTo>
                    <a:pt x="194487" y="0"/>
                  </a:moveTo>
                  <a:lnTo>
                    <a:pt x="184251" y="0"/>
                  </a:lnTo>
                  <a:lnTo>
                    <a:pt x="184251" y="5118"/>
                  </a:lnTo>
                  <a:lnTo>
                    <a:pt x="194487" y="5118"/>
                  </a:lnTo>
                  <a:lnTo>
                    <a:pt x="194487" y="0"/>
                  </a:lnTo>
                  <a:close/>
                </a:path>
                <a:path w="685800" h="1277620">
                  <a:moveTo>
                    <a:pt x="255905" y="0"/>
                  </a:moveTo>
                  <a:lnTo>
                    <a:pt x="245668" y="0"/>
                  </a:lnTo>
                  <a:lnTo>
                    <a:pt x="245668" y="5118"/>
                  </a:lnTo>
                  <a:lnTo>
                    <a:pt x="255905" y="5118"/>
                  </a:lnTo>
                  <a:lnTo>
                    <a:pt x="255905" y="0"/>
                  </a:lnTo>
                  <a:close/>
                </a:path>
                <a:path w="685800" h="1277620">
                  <a:moveTo>
                    <a:pt x="317309" y="0"/>
                  </a:moveTo>
                  <a:lnTo>
                    <a:pt x="307073" y="0"/>
                  </a:lnTo>
                  <a:lnTo>
                    <a:pt x="307073" y="5118"/>
                  </a:lnTo>
                  <a:lnTo>
                    <a:pt x="317309" y="5118"/>
                  </a:lnTo>
                  <a:lnTo>
                    <a:pt x="317309" y="0"/>
                  </a:lnTo>
                  <a:close/>
                </a:path>
                <a:path w="685800" h="1277620">
                  <a:moveTo>
                    <a:pt x="378726" y="0"/>
                  </a:moveTo>
                  <a:lnTo>
                    <a:pt x="368490" y="0"/>
                  </a:lnTo>
                  <a:lnTo>
                    <a:pt x="368490" y="5118"/>
                  </a:lnTo>
                  <a:lnTo>
                    <a:pt x="378726" y="5118"/>
                  </a:lnTo>
                  <a:lnTo>
                    <a:pt x="378726" y="0"/>
                  </a:lnTo>
                  <a:close/>
                </a:path>
                <a:path w="685800" h="1277620">
                  <a:moveTo>
                    <a:pt x="440143" y="0"/>
                  </a:moveTo>
                  <a:lnTo>
                    <a:pt x="429907" y="0"/>
                  </a:lnTo>
                  <a:lnTo>
                    <a:pt x="429907" y="5118"/>
                  </a:lnTo>
                  <a:lnTo>
                    <a:pt x="440143" y="5118"/>
                  </a:lnTo>
                  <a:lnTo>
                    <a:pt x="440143" y="0"/>
                  </a:lnTo>
                  <a:close/>
                </a:path>
                <a:path w="685800" h="1277620">
                  <a:moveTo>
                    <a:pt x="501561" y="0"/>
                  </a:moveTo>
                  <a:lnTo>
                    <a:pt x="491324" y="0"/>
                  </a:lnTo>
                  <a:lnTo>
                    <a:pt x="491324" y="5118"/>
                  </a:lnTo>
                  <a:lnTo>
                    <a:pt x="501561" y="5118"/>
                  </a:lnTo>
                  <a:lnTo>
                    <a:pt x="501561" y="0"/>
                  </a:lnTo>
                  <a:close/>
                </a:path>
                <a:path w="685800" h="1277620">
                  <a:moveTo>
                    <a:pt x="562965" y="0"/>
                  </a:moveTo>
                  <a:lnTo>
                    <a:pt x="552729" y="0"/>
                  </a:lnTo>
                  <a:lnTo>
                    <a:pt x="552729" y="5118"/>
                  </a:lnTo>
                  <a:lnTo>
                    <a:pt x="562965" y="5118"/>
                  </a:lnTo>
                  <a:lnTo>
                    <a:pt x="562965" y="0"/>
                  </a:lnTo>
                  <a:close/>
                </a:path>
                <a:path w="685800" h="1277620">
                  <a:moveTo>
                    <a:pt x="624382" y="0"/>
                  </a:moveTo>
                  <a:lnTo>
                    <a:pt x="614146" y="0"/>
                  </a:lnTo>
                  <a:lnTo>
                    <a:pt x="614146" y="5118"/>
                  </a:lnTo>
                  <a:lnTo>
                    <a:pt x="624382" y="5118"/>
                  </a:lnTo>
                  <a:lnTo>
                    <a:pt x="624382" y="0"/>
                  </a:lnTo>
                  <a:close/>
                </a:path>
                <a:path w="685800" h="1277620">
                  <a:moveTo>
                    <a:pt x="685800" y="1267053"/>
                  </a:moveTo>
                  <a:lnTo>
                    <a:pt x="682015" y="1267053"/>
                  </a:lnTo>
                  <a:lnTo>
                    <a:pt x="682015" y="1277277"/>
                  </a:lnTo>
                  <a:lnTo>
                    <a:pt x="685800" y="1277277"/>
                  </a:lnTo>
                  <a:lnTo>
                    <a:pt x="685800" y="1267053"/>
                  </a:lnTo>
                  <a:close/>
                </a:path>
                <a:path w="685800" h="1277620">
                  <a:moveTo>
                    <a:pt x="685800" y="844702"/>
                  </a:moveTo>
                  <a:lnTo>
                    <a:pt x="682015" y="844702"/>
                  </a:lnTo>
                  <a:lnTo>
                    <a:pt x="682015" y="854925"/>
                  </a:lnTo>
                  <a:lnTo>
                    <a:pt x="685800" y="854925"/>
                  </a:lnTo>
                  <a:lnTo>
                    <a:pt x="685800" y="844702"/>
                  </a:lnTo>
                  <a:close/>
                </a:path>
                <a:path w="685800" h="1277620">
                  <a:moveTo>
                    <a:pt x="685800" y="422351"/>
                  </a:moveTo>
                  <a:lnTo>
                    <a:pt x="682015" y="422351"/>
                  </a:lnTo>
                  <a:lnTo>
                    <a:pt x="682015" y="432574"/>
                  </a:lnTo>
                  <a:lnTo>
                    <a:pt x="685800" y="432574"/>
                  </a:lnTo>
                  <a:lnTo>
                    <a:pt x="685800" y="422351"/>
                  </a:lnTo>
                  <a:close/>
                </a:path>
                <a:path w="685800" h="1277620">
                  <a:moveTo>
                    <a:pt x="685800" y="0"/>
                  </a:moveTo>
                  <a:lnTo>
                    <a:pt x="675563" y="0"/>
                  </a:lnTo>
                  <a:lnTo>
                    <a:pt x="675563" y="5118"/>
                  </a:lnTo>
                  <a:lnTo>
                    <a:pt x="675563" y="10223"/>
                  </a:lnTo>
                  <a:lnTo>
                    <a:pt x="685800" y="10223"/>
                  </a:lnTo>
                  <a:lnTo>
                    <a:pt x="685800" y="5118"/>
                  </a:lnTo>
                  <a:lnTo>
                    <a:pt x="685800" y="0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2" name="object 82"/>
            <p:cNvSpPr/>
            <p:nvPr/>
          </p:nvSpPr>
          <p:spPr>
            <a:xfrm>
              <a:off x="9009055" y="1598106"/>
              <a:ext cx="568139" cy="1361515"/>
            </a:xfrm>
            <a:custGeom>
              <a:avLst/>
              <a:gdLst/>
              <a:ahLst/>
              <a:cxnLst/>
              <a:rect l="l" t="t" r="r" b="b"/>
              <a:pathLst>
                <a:path w="643890" h="1543050">
                  <a:moveTo>
                    <a:pt x="643803" y="1542584"/>
                  </a:moveTo>
                  <a:lnTo>
                    <a:pt x="0" y="1542584"/>
                  </a:lnTo>
                  <a:lnTo>
                    <a:pt x="0" y="0"/>
                  </a:lnTo>
                  <a:lnTo>
                    <a:pt x="643803" y="0"/>
                  </a:lnTo>
                  <a:lnTo>
                    <a:pt x="643803" y="154258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</p:grpSp>
      <p:sp>
        <p:nvSpPr>
          <p:cNvPr id="83" name="object 83"/>
          <p:cNvSpPr/>
          <p:nvPr/>
        </p:nvSpPr>
        <p:spPr>
          <a:xfrm>
            <a:off x="9625610" y="3456902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graphicFrame>
        <p:nvGraphicFramePr>
          <p:cNvPr id="84" name="object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4330625"/>
              </p:ext>
            </p:extLst>
          </p:nvPr>
        </p:nvGraphicFramePr>
        <p:xfrm>
          <a:off x="9719135" y="1595850"/>
          <a:ext cx="568138" cy="18655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81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5288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27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118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840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1223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5" name="object 85"/>
          <p:cNvSpPr/>
          <p:nvPr/>
        </p:nvSpPr>
        <p:spPr>
          <a:xfrm>
            <a:off x="10330068" y="3456902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graphicFrame>
        <p:nvGraphicFramePr>
          <p:cNvPr id="86" name="object 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0790452"/>
              </p:ext>
            </p:extLst>
          </p:nvPr>
        </p:nvGraphicFramePr>
        <p:xfrm>
          <a:off x="10429212" y="1595849"/>
          <a:ext cx="568138" cy="18655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81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5360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532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118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663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1223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7" name="object 87"/>
          <p:cNvSpPr/>
          <p:nvPr/>
        </p:nvSpPr>
        <p:spPr>
          <a:xfrm>
            <a:off x="11088716" y="3456902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graphicFrame>
        <p:nvGraphicFramePr>
          <p:cNvPr id="88" name="object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3888193"/>
              </p:ext>
            </p:extLst>
          </p:nvPr>
        </p:nvGraphicFramePr>
        <p:xfrm>
          <a:off x="11139290" y="1595850"/>
          <a:ext cx="568138" cy="18678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81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674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826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118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08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1223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9" name="object 89"/>
          <p:cNvSpPr txBox="1"/>
          <p:nvPr/>
        </p:nvSpPr>
        <p:spPr>
          <a:xfrm>
            <a:off x="4441530" y="3003892"/>
            <a:ext cx="228040" cy="488207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 marL="11206">
              <a:spcBef>
                <a:spcPts val="101"/>
              </a:spcBef>
            </a:pPr>
            <a:r>
              <a:rPr sz="838" spc="9" dirty="0">
                <a:solidFill>
                  <a:srgbClr val="605D5C"/>
                </a:solidFill>
                <a:latin typeface="Segoe UI"/>
                <a:cs typeface="Segoe UI"/>
              </a:rPr>
              <a:t>20%</a:t>
            </a:r>
            <a:endParaRPr sz="838" dirty="0">
              <a:latin typeface="Segoe UI"/>
              <a:cs typeface="Segoe UI"/>
            </a:endParaRPr>
          </a:p>
          <a:p>
            <a:pPr>
              <a:spcBef>
                <a:spcPts val="49"/>
              </a:spcBef>
            </a:pPr>
            <a:endParaRPr sz="1412" dirty="0">
              <a:latin typeface="Segoe UI"/>
              <a:cs typeface="Segoe UI"/>
            </a:endParaRPr>
          </a:p>
          <a:p>
            <a:pPr marL="69480">
              <a:spcBef>
                <a:spcPts val="4"/>
              </a:spcBef>
            </a:pPr>
            <a:r>
              <a:rPr sz="838" spc="9" dirty="0">
                <a:solidFill>
                  <a:srgbClr val="605D5C"/>
                </a:solidFill>
                <a:latin typeface="Segoe UI"/>
                <a:cs typeface="Segoe UI"/>
              </a:rPr>
              <a:t>0%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5344669" y="3084241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91" name="object 91"/>
          <p:cNvSpPr/>
          <p:nvPr/>
        </p:nvSpPr>
        <p:spPr>
          <a:xfrm>
            <a:off x="5398858" y="3084241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92" name="object 92"/>
          <p:cNvSpPr/>
          <p:nvPr/>
        </p:nvSpPr>
        <p:spPr>
          <a:xfrm>
            <a:off x="6103317" y="3084241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93" name="object 93"/>
          <p:cNvSpPr/>
          <p:nvPr/>
        </p:nvSpPr>
        <p:spPr>
          <a:xfrm>
            <a:off x="6807775" y="3084241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94" name="object 94"/>
          <p:cNvSpPr/>
          <p:nvPr/>
        </p:nvSpPr>
        <p:spPr>
          <a:xfrm>
            <a:off x="7512233" y="3084241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95" name="object 95"/>
          <p:cNvSpPr/>
          <p:nvPr/>
        </p:nvSpPr>
        <p:spPr>
          <a:xfrm>
            <a:off x="8216692" y="3084241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96" name="object 96"/>
          <p:cNvSpPr/>
          <p:nvPr/>
        </p:nvSpPr>
        <p:spPr>
          <a:xfrm>
            <a:off x="8921151" y="3084241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97" name="object 97"/>
          <p:cNvSpPr/>
          <p:nvPr/>
        </p:nvSpPr>
        <p:spPr>
          <a:xfrm>
            <a:off x="9625610" y="3084241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98" name="object 98"/>
          <p:cNvSpPr/>
          <p:nvPr/>
        </p:nvSpPr>
        <p:spPr>
          <a:xfrm>
            <a:off x="9679799" y="3084241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99" name="object 99"/>
          <p:cNvSpPr/>
          <p:nvPr/>
        </p:nvSpPr>
        <p:spPr>
          <a:xfrm>
            <a:off x="10330068" y="3084241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00" name="object 100"/>
          <p:cNvSpPr/>
          <p:nvPr/>
        </p:nvSpPr>
        <p:spPr>
          <a:xfrm>
            <a:off x="10384257" y="3084241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01" name="object 101"/>
          <p:cNvSpPr/>
          <p:nvPr/>
        </p:nvSpPr>
        <p:spPr>
          <a:xfrm>
            <a:off x="11034526" y="3084241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02" name="object 102"/>
          <p:cNvSpPr/>
          <p:nvPr/>
        </p:nvSpPr>
        <p:spPr>
          <a:xfrm>
            <a:off x="11088716" y="3084241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03" name="object 103"/>
          <p:cNvSpPr/>
          <p:nvPr/>
        </p:nvSpPr>
        <p:spPr>
          <a:xfrm>
            <a:off x="5344669" y="2711579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04" name="object 104"/>
          <p:cNvSpPr/>
          <p:nvPr/>
        </p:nvSpPr>
        <p:spPr>
          <a:xfrm>
            <a:off x="5398858" y="2711579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05" name="object 105"/>
          <p:cNvSpPr/>
          <p:nvPr/>
        </p:nvSpPr>
        <p:spPr>
          <a:xfrm>
            <a:off x="6103317" y="2711579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06" name="object 106"/>
          <p:cNvSpPr/>
          <p:nvPr/>
        </p:nvSpPr>
        <p:spPr>
          <a:xfrm>
            <a:off x="6807775" y="2711579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07" name="object 107"/>
          <p:cNvSpPr/>
          <p:nvPr/>
        </p:nvSpPr>
        <p:spPr>
          <a:xfrm>
            <a:off x="7512233" y="2711579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08" name="object 108"/>
          <p:cNvSpPr/>
          <p:nvPr/>
        </p:nvSpPr>
        <p:spPr>
          <a:xfrm>
            <a:off x="8216692" y="2711579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09" name="object 109"/>
          <p:cNvSpPr/>
          <p:nvPr/>
        </p:nvSpPr>
        <p:spPr>
          <a:xfrm>
            <a:off x="8921151" y="2711579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10" name="object 110"/>
          <p:cNvSpPr/>
          <p:nvPr/>
        </p:nvSpPr>
        <p:spPr>
          <a:xfrm>
            <a:off x="9625610" y="2711579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11" name="object 111"/>
          <p:cNvSpPr/>
          <p:nvPr/>
        </p:nvSpPr>
        <p:spPr>
          <a:xfrm>
            <a:off x="9679799" y="2711579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12" name="object 112"/>
          <p:cNvSpPr/>
          <p:nvPr/>
        </p:nvSpPr>
        <p:spPr>
          <a:xfrm>
            <a:off x="10330068" y="2711579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13" name="object 113"/>
          <p:cNvSpPr/>
          <p:nvPr/>
        </p:nvSpPr>
        <p:spPr>
          <a:xfrm>
            <a:off x="10384257" y="2711579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14" name="object 114"/>
          <p:cNvSpPr/>
          <p:nvPr/>
        </p:nvSpPr>
        <p:spPr>
          <a:xfrm>
            <a:off x="11034526" y="2711579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15" name="object 115"/>
          <p:cNvSpPr/>
          <p:nvPr/>
        </p:nvSpPr>
        <p:spPr>
          <a:xfrm>
            <a:off x="11088716" y="2711579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16" name="object 116"/>
          <p:cNvSpPr txBox="1"/>
          <p:nvPr/>
        </p:nvSpPr>
        <p:spPr>
          <a:xfrm>
            <a:off x="4441530" y="2631230"/>
            <a:ext cx="228040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 marL="11206">
              <a:spcBef>
                <a:spcPts val="101"/>
              </a:spcBef>
            </a:pPr>
            <a:r>
              <a:rPr sz="838" spc="9" dirty="0">
                <a:solidFill>
                  <a:srgbClr val="605D5C"/>
                </a:solidFill>
                <a:latin typeface="Segoe UI"/>
                <a:cs typeface="Segoe UI"/>
              </a:rPr>
              <a:t>40%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117" name="object 117"/>
          <p:cNvSpPr/>
          <p:nvPr/>
        </p:nvSpPr>
        <p:spPr>
          <a:xfrm>
            <a:off x="5344669" y="2338917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18" name="object 118"/>
          <p:cNvSpPr/>
          <p:nvPr/>
        </p:nvSpPr>
        <p:spPr>
          <a:xfrm>
            <a:off x="5398858" y="2338917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19" name="object 119"/>
          <p:cNvSpPr/>
          <p:nvPr/>
        </p:nvSpPr>
        <p:spPr>
          <a:xfrm>
            <a:off x="6103317" y="2338917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20" name="object 120"/>
          <p:cNvSpPr/>
          <p:nvPr/>
        </p:nvSpPr>
        <p:spPr>
          <a:xfrm>
            <a:off x="6807775" y="2338917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21" name="object 121"/>
          <p:cNvSpPr/>
          <p:nvPr/>
        </p:nvSpPr>
        <p:spPr>
          <a:xfrm>
            <a:off x="7512233" y="2338917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22" name="object 122"/>
          <p:cNvSpPr/>
          <p:nvPr/>
        </p:nvSpPr>
        <p:spPr>
          <a:xfrm>
            <a:off x="8216692" y="2338917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23" name="object 123"/>
          <p:cNvSpPr/>
          <p:nvPr/>
        </p:nvSpPr>
        <p:spPr>
          <a:xfrm>
            <a:off x="8921151" y="2338917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24" name="object 124"/>
          <p:cNvSpPr/>
          <p:nvPr/>
        </p:nvSpPr>
        <p:spPr>
          <a:xfrm>
            <a:off x="9625610" y="2338917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25" name="object 125"/>
          <p:cNvSpPr/>
          <p:nvPr/>
        </p:nvSpPr>
        <p:spPr>
          <a:xfrm>
            <a:off x="9679799" y="2338917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26" name="object 126"/>
          <p:cNvSpPr/>
          <p:nvPr/>
        </p:nvSpPr>
        <p:spPr>
          <a:xfrm>
            <a:off x="10330068" y="2338917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27" name="object 127"/>
          <p:cNvSpPr/>
          <p:nvPr/>
        </p:nvSpPr>
        <p:spPr>
          <a:xfrm>
            <a:off x="10384257" y="2338917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28" name="object 128"/>
          <p:cNvSpPr/>
          <p:nvPr/>
        </p:nvSpPr>
        <p:spPr>
          <a:xfrm>
            <a:off x="11034526" y="2338917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29" name="object 129"/>
          <p:cNvSpPr/>
          <p:nvPr/>
        </p:nvSpPr>
        <p:spPr>
          <a:xfrm>
            <a:off x="11088716" y="2338917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30" name="object 130"/>
          <p:cNvSpPr txBox="1"/>
          <p:nvPr/>
        </p:nvSpPr>
        <p:spPr>
          <a:xfrm>
            <a:off x="4441530" y="2258568"/>
            <a:ext cx="228040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 marL="11206">
              <a:spcBef>
                <a:spcPts val="101"/>
              </a:spcBef>
            </a:pPr>
            <a:r>
              <a:rPr sz="838" spc="9" dirty="0">
                <a:solidFill>
                  <a:srgbClr val="605D5C"/>
                </a:solidFill>
                <a:latin typeface="Segoe UI"/>
                <a:cs typeface="Segoe UI"/>
              </a:rPr>
              <a:t>60%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5344669" y="1966255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32" name="object 132"/>
          <p:cNvSpPr/>
          <p:nvPr/>
        </p:nvSpPr>
        <p:spPr>
          <a:xfrm>
            <a:off x="5398858" y="1966255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33" name="object 133"/>
          <p:cNvSpPr/>
          <p:nvPr/>
        </p:nvSpPr>
        <p:spPr>
          <a:xfrm>
            <a:off x="6103317" y="1966255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34" name="object 134"/>
          <p:cNvSpPr/>
          <p:nvPr/>
        </p:nvSpPr>
        <p:spPr>
          <a:xfrm>
            <a:off x="6807775" y="1966255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35" name="object 135"/>
          <p:cNvSpPr/>
          <p:nvPr/>
        </p:nvSpPr>
        <p:spPr>
          <a:xfrm>
            <a:off x="7512233" y="1966255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36" name="object 136"/>
          <p:cNvSpPr/>
          <p:nvPr/>
        </p:nvSpPr>
        <p:spPr>
          <a:xfrm>
            <a:off x="8216692" y="1966255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37" name="object 137"/>
          <p:cNvSpPr/>
          <p:nvPr/>
        </p:nvSpPr>
        <p:spPr>
          <a:xfrm>
            <a:off x="8921151" y="1966255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38" name="object 138"/>
          <p:cNvSpPr/>
          <p:nvPr/>
        </p:nvSpPr>
        <p:spPr>
          <a:xfrm>
            <a:off x="9625610" y="1966255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39" name="object 139"/>
          <p:cNvSpPr/>
          <p:nvPr/>
        </p:nvSpPr>
        <p:spPr>
          <a:xfrm>
            <a:off x="9679799" y="1966255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40" name="object 140"/>
          <p:cNvSpPr/>
          <p:nvPr/>
        </p:nvSpPr>
        <p:spPr>
          <a:xfrm>
            <a:off x="10330068" y="1966255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41" name="object 141"/>
          <p:cNvSpPr/>
          <p:nvPr/>
        </p:nvSpPr>
        <p:spPr>
          <a:xfrm>
            <a:off x="10384257" y="1966255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42" name="object 142"/>
          <p:cNvSpPr/>
          <p:nvPr/>
        </p:nvSpPr>
        <p:spPr>
          <a:xfrm>
            <a:off x="11034526" y="1966255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43" name="object 143"/>
          <p:cNvSpPr/>
          <p:nvPr/>
        </p:nvSpPr>
        <p:spPr>
          <a:xfrm>
            <a:off x="11088716" y="1966255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44" name="object 144"/>
          <p:cNvSpPr txBox="1"/>
          <p:nvPr/>
        </p:nvSpPr>
        <p:spPr>
          <a:xfrm>
            <a:off x="4441530" y="1885906"/>
            <a:ext cx="228040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 marL="11206">
              <a:spcBef>
                <a:spcPts val="101"/>
              </a:spcBef>
            </a:pPr>
            <a:r>
              <a:rPr sz="838" spc="9" dirty="0">
                <a:solidFill>
                  <a:srgbClr val="605D5C"/>
                </a:solidFill>
                <a:latin typeface="Segoe UI"/>
                <a:cs typeface="Segoe UI"/>
              </a:rPr>
              <a:t>80%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5398858" y="1593593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46" name="object 146"/>
          <p:cNvSpPr/>
          <p:nvPr/>
        </p:nvSpPr>
        <p:spPr>
          <a:xfrm>
            <a:off x="6103317" y="1593593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47" name="object 147"/>
          <p:cNvSpPr/>
          <p:nvPr/>
        </p:nvSpPr>
        <p:spPr>
          <a:xfrm>
            <a:off x="6807775" y="1593593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48" name="object 148"/>
          <p:cNvSpPr/>
          <p:nvPr/>
        </p:nvSpPr>
        <p:spPr>
          <a:xfrm>
            <a:off x="7512233" y="1593593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49" name="object 149"/>
          <p:cNvSpPr/>
          <p:nvPr/>
        </p:nvSpPr>
        <p:spPr>
          <a:xfrm>
            <a:off x="8216692" y="1593593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50" name="object 150"/>
          <p:cNvSpPr/>
          <p:nvPr/>
        </p:nvSpPr>
        <p:spPr>
          <a:xfrm>
            <a:off x="8921151" y="1593593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51" name="object 151"/>
          <p:cNvSpPr/>
          <p:nvPr/>
        </p:nvSpPr>
        <p:spPr>
          <a:xfrm>
            <a:off x="9625610" y="1593593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52" name="object 152"/>
          <p:cNvSpPr/>
          <p:nvPr/>
        </p:nvSpPr>
        <p:spPr>
          <a:xfrm>
            <a:off x="10330068" y="1593593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53" name="object 153"/>
          <p:cNvSpPr/>
          <p:nvPr/>
        </p:nvSpPr>
        <p:spPr>
          <a:xfrm>
            <a:off x="11088716" y="1593593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235" y="10230"/>
                </a:moveTo>
                <a:lnTo>
                  <a:pt x="0" y="10230"/>
                </a:lnTo>
                <a:lnTo>
                  <a:pt x="0" y="0"/>
                </a:lnTo>
                <a:lnTo>
                  <a:pt x="10235" y="0"/>
                </a:lnTo>
                <a:lnTo>
                  <a:pt x="10235" y="10230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54" name="object 154"/>
          <p:cNvSpPr txBox="1"/>
          <p:nvPr/>
        </p:nvSpPr>
        <p:spPr>
          <a:xfrm>
            <a:off x="4383107" y="1513245"/>
            <a:ext cx="286871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 marL="11206">
              <a:spcBef>
                <a:spcPts val="101"/>
              </a:spcBef>
            </a:pPr>
            <a:r>
              <a:rPr sz="838" spc="9" dirty="0">
                <a:solidFill>
                  <a:srgbClr val="605D5C"/>
                </a:solidFill>
                <a:latin typeface="Segoe UI"/>
                <a:cs typeface="Segoe UI"/>
              </a:rPr>
              <a:t>100%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155" name="object 155"/>
          <p:cNvSpPr txBox="1"/>
          <p:nvPr/>
        </p:nvSpPr>
        <p:spPr>
          <a:xfrm>
            <a:off x="6994856" y="3471359"/>
            <a:ext cx="2183441" cy="571322"/>
          </a:xfrm>
          <a:prstGeom prst="rect">
            <a:avLst/>
          </a:prstGeom>
        </p:spPr>
        <p:txBody>
          <a:bodyPr vert="horz" wrap="square" lIns="0" tIns="28015" rIns="0" bIns="0" rtlCol="0">
            <a:spAutoFit/>
          </a:bodyPr>
          <a:lstStyle/>
          <a:p>
            <a:pPr marL="138400">
              <a:spcBef>
                <a:spcPts val="221"/>
              </a:spcBef>
              <a:tabLst>
                <a:tab pos="848331" algn="l"/>
                <a:tab pos="1529685" algn="l"/>
              </a:tabLst>
            </a:pPr>
            <a:r>
              <a:rPr sz="838" spc="4" dirty="0">
                <a:solidFill>
                  <a:srgbClr val="605D5C"/>
                </a:solidFill>
                <a:latin typeface="Segoe UI"/>
                <a:cs typeface="Segoe UI"/>
              </a:rPr>
              <a:t>6	8	10</a:t>
            </a:r>
            <a:endParaRPr sz="838" dirty="0">
              <a:latin typeface="Segoe UI"/>
              <a:cs typeface="Segoe UI"/>
            </a:endParaRPr>
          </a:p>
          <a:p>
            <a:pPr marL="777730">
              <a:spcBef>
                <a:spcPts val="194"/>
              </a:spcBef>
            </a:pPr>
            <a:r>
              <a:rPr sz="1200" spc="53" dirty="0">
                <a:solidFill>
                  <a:srgbClr val="252423"/>
                </a:solidFill>
                <a:latin typeface="Arial Narrow"/>
                <a:cs typeface="Arial Narrow"/>
              </a:rPr>
              <a:t>Sentence</a:t>
            </a:r>
            <a:r>
              <a:rPr sz="1200" spc="-4" dirty="0">
                <a:solidFill>
                  <a:srgbClr val="252423"/>
                </a:solidFill>
                <a:latin typeface="Arial Narrow"/>
                <a:cs typeface="Arial Narrow"/>
              </a:rPr>
              <a:t> </a:t>
            </a:r>
            <a:r>
              <a:rPr sz="1200" spc="49" dirty="0">
                <a:solidFill>
                  <a:srgbClr val="252423"/>
                </a:solidFill>
                <a:latin typeface="Arial Narrow"/>
                <a:cs typeface="Arial Narrow"/>
              </a:rPr>
              <a:t>Count</a:t>
            </a:r>
            <a:endParaRPr sz="1200" dirty="0">
              <a:latin typeface="Arial Narrow"/>
              <a:cs typeface="Arial Narrow"/>
            </a:endParaRPr>
          </a:p>
          <a:p>
            <a:pPr marL="11206">
              <a:spcBef>
                <a:spcPts val="44"/>
              </a:spcBef>
            </a:pPr>
            <a:endParaRPr lang="en-US" sz="1324" spc="44" dirty="0">
              <a:solidFill>
                <a:srgbClr val="252423"/>
              </a:solidFill>
              <a:latin typeface="Arial Narrow"/>
              <a:cs typeface="Arial Narrow"/>
            </a:endParaRPr>
          </a:p>
        </p:txBody>
      </p:sp>
      <p:sp>
        <p:nvSpPr>
          <p:cNvPr id="156" name="object 156"/>
          <p:cNvSpPr txBox="1"/>
          <p:nvPr/>
        </p:nvSpPr>
        <p:spPr>
          <a:xfrm>
            <a:off x="4156965" y="1723703"/>
            <a:ext cx="153888" cy="13854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1206">
              <a:lnSpc>
                <a:spcPts val="1196"/>
              </a:lnSpc>
            </a:pPr>
            <a:r>
              <a:rPr sz="1200" spc="75" dirty="0">
                <a:solidFill>
                  <a:srgbClr val="252423"/>
                </a:solidFill>
                <a:latin typeface="Arial Narrow"/>
                <a:cs typeface="Arial Narrow"/>
              </a:rPr>
              <a:t>Number </a:t>
            </a:r>
            <a:r>
              <a:rPr sz="1200" spc="53" dirty="0">
                <a:solidFill>
                  <a:srgbClr val="252423"/>
                </a:solidFill>
                <a:latin typeface="Arial Narrow"/>
                <a:cs typeface="Arial Narrow"/>
              </a:rPr>
              <a:t>of</a:t>
            </a:r>
            <a:r>
              <a:rPr sz="1200" spc="-97" dirty="0">
                <a:solidFill>
                  <a:srgbClr val="252423"/>
                </a:solidFill>
                <a:latin typeface="Arial Narrow"/>
                <a:cs typeface="Arial Narrow"/>
              </a:rPr>
              <a:t> </a:t>
            </a:r>
            <a:r>
              <a:rPr sz="1200" spc="62" dirty="0">
                <a:solidFill>
                  <a:srgbClr val="252423"/>
                </a:solidFill>
                <a:latin typeface="Arial Narrow"/>
                <a:cs typeface="Arial Narrow"/>
              </a:rPr>
              <a:t>Reviews</a:t>
            </a:r>
            <a:endParaRPr sz="1200" dirty="0">
              <a:latin typeface="Arial Narrow"/>
              <a:cs typeface="Arial Narrow"/>
            </a:endParaRPr>
          </a:p>
        </p:txBody>
      </p:sp>
      <p:sp>
        <p:nvSpPr>
          <p:cNvPr id="157" name="object 157"/>
          <p:cNvSpPr txBox="1"/>
          <p:nvPr/>
        </p:nvSpPr>
        <p:spPr>
          <a:xfrm>
            <a:off x="4992202" y="3486316"/>
            <a:ext cx="81243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 marL="11206">
              <a:spcBef>
                <a:spcPts val="101"/>
              </a:spcBef>
            </a:pPr>
            <a:r>
              <a:rPr sz="838" spc="4" dirty="0">
                <a:solidFill>
                  <a:srgbClr val="605D5C"/>
                </a:solidFill>
                <a:latin typeface="Segoe UI"/>
                <a:cs typeface="Segoe UI"/>
              </a:rPr>
              <a:t>0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158" name="object 158"/>
          <p:cNvSpPr txBox="1"/>
          <p:nvPr/>
        </p:nvSpPr>
        <p:spPr>
          <a:xfrm>
            <a:off x="5702280" y="3486316"/>
            <a:ext cx="81243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 marL="11206">
              <a:spcBef>
                <a:spcPts val="101"/>
              </a:spcBef>
            </a:pPr>
            <a:r>
              <a:rPr sz="838" spc="4" dirty="0">
                <a:solidFill>
                  <a:srgbClr val="605D5C"/>
                </a:solidFill>
                <a:latin typeface="Segoe UI"/>
                <a:cs typeface="Segoe UI"/>
              </a:rPr>
              <a:t>2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159" name="object 159"/>
          <p:cNvSpPr txBox="1"/>
          <p:nvPr/>
        </p:nvSpPr>
        <p:spPr>
          <a:xfrm>
            <a:off x="6412358" y="3486316"/>
            <a:ext cx="81243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 marL="11206">
              <a:spcBef>
                <a:spcPts val="101"/>
              </a:spcBef>
            </a:pPr>
            <a:r>
              <a:rPr sz="838" spc="4" dirty="0">
                <a:solidFill>
                  <a:srgbClr val="605D5C"/>
                </a:solidFill>
                <a:latin typeface="Segoe UI"/>
                <a:cs typeface="Segoe UI"/>
              </a:rPr>
              <a:t>4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160" name="object 160"/>
          <p:cNvSpPr txBox="1"/>
          <p:nvPr/>
        </p:nvSpPr>
        <p:spPr>
          <a:xfrm>
            <a:off x="9223460" y="3486316"/>
            <a:ext cx="139513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 marL="11206">
              <a:spcBef>
                <a:spcPts val="101"/>
              </a:spcBef>
            </a:pPr>
            <a:r>
              <a:rPr sz="838" spc="4" dirty="0">
                <a:solidFill>
                  <a:srgbClr val="605D5C"/>
                </a:solidFill>
                <a:latin typeface="Segoe UI"/>
                <a:cs typeface="Segoe UI"/>
              </a:rPr>
              <a:t>12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161" name="object 161"/>
          <p:cNvSpPr txBox="1"/>
          <p:nvPr/>
        </p:nvSpPr>
        <p:spPr>
          <a:xfrm>
            <a:off x="9933537" y="3486316"/>
            <a:ext cx="139513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 marL="11206">
              <a:spcBef>
                <a:spcPts val="101"/>
              </a:spcBef>
            </a:pPr>
            <a:r>
              <a:rPr sz="838" spc="4" dirty="0">
                <a:solidFill>
                  <a:srgbClr val="605D5C"/>
                </a:solidFill>
                <a:latin typeface="Segoe UI"/>
                <a:cs typeface="Segoe UI"/>
              </a:rPr>
              <a:t>14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162" name="object 162"/>
          <p:cNvSpPr txBox="1"/>
          <p:nvPr/>
        </p:nvSpPr>
        <p:spPr>
          <a:xfrm>
            <a:off x="10643614" y="3486316"/>
            <a:ext cx="139513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 marL="11206">
              <a:spcBef>
                <a:spcPts val="101"/>
              </a:spcBef>
            </a:pPr>
            <a:r>
              <a:rPr sz="838" spc="4" dirty="0">
                <a:solidFill>
                  <a:srgbClr val="605D5C"/>
                </a:solidFill>
                <a:latin typeface="Segoe UI"/>
                <a:cs typeface="Segoe UI"/>
              </a:rPr>
              <a:t>16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163" name="object 163"/>
          <p:cNvSpPr txBox="1"/>
          <p:nvPr/>
        </p:nvSpPr>
        <p:spPr>
          <a:xfrm>
            <a:off x="11353693" y="3486316"/>
            <a:ext cx="139513" cy="141958"/>
          </a:xfrm>
          <a:prstGeom prst="rect">
            <a:avLst/>
          </a:prstGeom>
        </p:spPr>
        <p:txBody>
          <a:bodyPr vert="horz" wrap="square" lIns="0" tIns="12886" rIns="0" bIns="0" rtlCol="0">
            <a:spAutoFit/>
          </a:bodyPr>
          <a:lstStyle/>
          <a:p>
            <a:pPr marL="11206">
              <a:spcBef>
                <a:spcPts val="101"/>
              </a:spcBef>
            </a:pPr>
            <a:r>
              <a:rPr sz="838" spc="4" dirty="0">
                <a:solidFill>
                  <a:srgbClr val="605D5C"/>
                </a:solidFill>
                <a:latin typeface="Segoe UI"/>
                <a:cs typeface="Segoe UI"/>
              </a:rPr>
              <a:t>18</a:t>
            </a:r>
            <a:endParaRPr sz="838" dirty="0">
              <a:latin typeface="Segoe UI"/>
              <a:cs typeface="Segoe UI"/>
            </a:endParaRPr>
          </a:p>
        </p:txBody>
      </p:sp>
      <p:sp>
        <p:nvSpPr>
          <p:cNvPr id="164" name="object 164"/>
          <p:cNvSpPr txBox="1"/>
          <p:nvPr/>
        </p:nvSpPr>
        <p:spPr>
          <a:xfrm>
            <a:off x="4179122" y="1273838"/>
            <a:ext cx="589429" cy="170907"/>
          </a:xfrm>
          <a:prstGeom prst="rect">
            <a:avLst/>
          </a:prstGeom>
        </p:spPr>
        <p:txBody>
          <a:bodyPr vert="horz" wrap="square" lIns="0" tIns="14568" rIns="0" bIns="0" rtlCol="0">
            <a:spAutoFit/>
          </a:bodyPr>
          <a:lstStyle/>
          <a:p>
            <a:pPr marL="11206">
              <a:spcBef>
                <a:spcPts val="115"/>
              </a:spcBef>
            </a:pPr>
            <a:r>
              <a:rPr sz="1015" b="1" spc="13" dirty="0">
                <a:solidFill>
                  <a:srgbClr val="605D5C"/>
                </a:solidFill>
                <a:latin typeface="Calibri"/>
                <a:cs typeface="Calibri"/>
              </a:rPr>
              <a:t>Se</a:t>
            </a:r>
            <a:r>
              <a:rPr sz="1015" b="1" dirty="0">
                <a:solidFill>
                  <a:srgbClr val="605D5C"/>
                </a:solidFill>
                <a:latin typeface="Calibri"/>
                <a:cs typeface="Calibri"/>
              </a:rPr>
              <a:t>n</a:t>
            </a:r>
            <a:r>
              <a:rPr sz="1015" b="1" spc="4" dirty="0">
                <a:solidFill>
                  <a:srgbClr val="605D5C"/>
                </a:solidFill>
                <a:latin typeface="Calibri"/>
                <a:cs typeface="Calibri"/>
              </a:rPr>
              <a:t>ti</a:t>
            </a:r>
            <a:r>
              <a:rPr sz="1015" b="1" spc="18" dirty="0">
                <a:solidFill>
                  <a:srgbClr val="605D5C"/>
                </a:solidFill>
                <a:latin typeface="Calibri"/>
                <a:cs typeface="Calibri"/>
              </a:rPr>
              <a:t>me</a:t>
            </a:r>
            <a:r>
              <a:rPr sz="1015" b="1" dirty="0">
                <a:solidFill>
                  <a:srgbClr val="605D5C"/>
                </a:solidFill>
                <a:latin typeface="Calibri"/>
                <a:cs typeface="Calibri"/>
              </a:rPr>
              <a:t>n</a:t>
            </a:r>
            <a:r>
              <a:rPr sz="1015" b="1" spc="9" dirty="0">
                <a:solidFill>
                  <a:srgbClr val="605D5C"/>
                </a:solidFill>
                <a:latin typeface="Calibri"/>
                <a:cs typeface="Calibri"/>
              </a:rPr>
              <a:t>t</a:t>
            </a:r>
            <a:endParaRPr sz="1015" dirty="0">
              <a:latin typeface="Calibri"/>
              <a:cs typeface="Calibri"/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4835132" y="1327774"/>
            <a:ext cx="92801" cy="9136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66" name="object 166"/>
          <p:cNvSpPr txBox="1"/>
          <p:nvPr/>
        </p:nvSpPr>
        <p:spPr>
          <a:xfrm>
            <a:off x="4937193" y="1273838"/>
            <a:ext cx="494179" cy="170907"/>
          </a:xfrm>
          <a:prstGeom prst="rect">
            <a:avLst/>
          </a:prstGeom>
        </p:spPr>
        <p:txBody>
          <a:bodyPr vert="horz" wrap="square" lIns="0" tIns="14568" rIns="0" bIns="0" rtlCol="0">
            <a:spAutoFit/>
          </a:bodyPr>
          <a:lstStyle/>
          <a:p>
            <a:pPr marL="11206">
              <a:spcBef>
                <a:spcPts val="115"/>
              </a:spcBef>
            </a:pPr>
            <a:r>
              <a:rPr sz="1015" spc="13" dirty="0">
                <a:solidFill>
                  <a:srgbClr val="605D5C"/>
                </a:solidFill>
                <a:latin typeface="Calibri"/>
                <a:cs typeface="Calibri"/>
              </a:rPr>
              <a:t>Ne</a:t>
            </a:r>
            <a:r>
              <a:rPr sz="1015" spc="-9" dirty="0">
                <a:solidFill>
                  <a:srgbClr val="605D5C"/>
                </a:solidFill>
                <a:latin typeface="Calibri"/>
                <a:cs typeface="Calibri"/>
              </a:rPr>
              <a:t>g</a:t>
            </a:r>
            <a:r>
              <a:rPr sz="1015" dirty="0">
                <a:solidFill>
                  <a:srgbClr val="605D5C"/>
                </a:solidFill>
                <a:latin typeface="Calibri"/>
                <a:cs typeface="Calibri"/>
              </a:rPr>
              <a:t>ati</a:t>
            </a:r>
            <a:r>
              <a:rPr sz="1015" spc="-4" dirty="0">
                <a:solidFill>
                  <a:srgbClr val="605D5C"/>
                </a:solidFill>
                <a:latin typeface="Calibri"/>
                <a:cs typeface="Calibri"/>
              </a:rPr>
              <a:t>v</a:t>
            </a:r>
            <a:r>
              <a:rPr sz="1015" spc="13" dirty="0">
                <a:solidFill>
                  <a:srgbClr val="605D5C"/>
                </a:solidFill>
                <a:latin typeface="Calibri"/>
                <a:cs typeface="Calibri"/>
              </a:rPr>
              <a:t>e</a:t>
            </a:r>
            <a:endParaRPr sz="1015" dirty="0">
              <a:latin typeface="Calibri"/>
              <a:cs typeface="Calibri"/>
            </a:endParaRPr>
          </a:p>
        </p:txBody>
      </p:sp>
      <p:sp>
        <p:nvSpPr>
          <p:cNvPr id="167" name="object 167"/>
          <p:cNvSpPr/>
          <p:nvPr/>
        </p:nvSpPr>
        <p:spPr>
          <a:xfrm>
            <a:off x="5476600" y="1327774"/>
            <a:ext cx="92801" cy="9136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68" name="object 168"/>
          <p:cNvSpPr txBox="1"/>
          <p:nvPr/>
        </p:nvSpPr>
        <p:spPr>
          <a:xfrm>
            <a:off x="5580496" y="1273838"/>
            <a:ext cx="425263" cy="170907"/>
          </a:xfrm>
          <a:prstGeom prst="rect">
            <a:avLst/>
          </a:prstGeom>
        </p:spPr>
        <p:txBody>
          <a:bodyPr vert="horz" wrap="square" lIns="0" tIns="14568" rIns="0" bIns="0" rtlCol="0">
            <a:spAutoFit/>
          </a:bodyPr>
          <a:lstStyle/>
          <a:p>
            <a:pPr marL="11206">
              <a:spcBef>
                <a:spcPts val="115"/>
              </a:spcBef>
            </a:pPr>
            <a:r>
              <a:rPr sz="1015" spc="13" dirty="0">
                <a:solidFill>
                  <a:srgbClr val="605D5C"/>
                </a:solidFill>
                <a:latin typeface="Calibri"/>
                <a:cs typeface="Calibri"/>
              </a:rPr>
              <a:t>Neut</a:t>
            </a:r>
            <a:r>
              <a:rPr sz="1015" spc="-13" dirty="0">
                <a:solidFill>
                  <a:srgbClr val="605D5C"/>
                </a:solidFill>
                <a:latin typeface="Calibri"/>
                <a:cs typeface="Calibri"/>
              </a:rPr>
              <a:t>r</a:t>
            </a:r>
            <a:r>
              <a:rPr sz="1015" spc="9" dirty="0">
                <a:solidFill>
                  <a:srgbClr val="605D5C"/>
                </a:solidFill>
                <a:latin typeface="Calibri"/>
                <a:cs typeface="Calibri"/>
              </a:rPr>
              <a:t>al</a:t>
            </a:r>
            <a:endParaRPr sz="1015" dirty="0">
              <a:latin typeface="Calibri"/>
              <a:cs typeface="Calibri"/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6054824" y="1327774"/>
            <a:ext cx="92801" cy="9136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170" name="object 170"/>
          <p:cNvSpPr txBox="1"/>
          <p:nvPr/>
        </p:nvSpPr>
        <p:spPr>
          <a:xfrm>
            <a:off x="6154766" y="1273838"/>
            <a:ext cx="438710" cy="170907"/>
          </a:xfrm>
          <a:prstGeom prst="rect">
            <a:avLst/>
          </a:prstGeom>
        </p:spPr>
        <p:txBody>
          <a:bodyPr vert="horz" wrap="square" lIns="0" tIns="14568" rIns="0" bIns="0" rtlCol="0">
            <a:spAutoFit/>
          </a:bodyPr>
          <a:lstStyle/>
          <a:p>
            <a:pPr marL="11206">
              <a:spcBef>
                <a:spcPts val="115"/>
              </a:spcBef>
            </a:pPr>
            <a:r>
              <a:rPr sz="1015" spc="-9" dirty="0">
                <a:solidFill>
                  <a:srgbClr val="605D5C"/>
                </a:solidFill>
                <a:latin typeface="Calibri"/>
                <a:cs typeface="Calibri"/>
              </a:rPr>
              <a:t>P</a:t>
            </a:r>
            <a:r>
              <a:rPr sz="1015" spc="9" dirty="0">
                <a:solidFill>
                  <a:srgbClr val="605D5C"/>
                </a:solidFill>
                <a:latin typeface="Calibri"/>
                <a:cs typeface="Calibri"/>
              </a:rPr>
              <a:t>osi</a:t>
            </a:r>
            <a:r>
              <a:rPr sz="1015" dirty="0">
                <a:solidFill>
                  <a:srgbClr val="605D5C"/>
                </a:solidFill>
                <a:latin typeface="Calibri"/>
                <a:cs typeface="Calibri"/>
              </a:rPr>
              <a:t>ti</a:t>
            </a:r>
            <a:r>
              <a:rPr sz="1015" spc="-4" dirty="0">
                <a:solidFill>
                  <a:srgbClr val="605D5C"/>
                </a:solidFill>
                <a:latin typeface="Calibri"/>
                <a:cs typeface="Calibri"/>
              </a:rPr>
              <a:t>v</a:t>
            </a:r>
            <a:r>
              <a:rPr sz="1015" spc="13" dirty="0">
                <a:solidFill>
                  <a:srgbClr val="605D5C"/>
                </a:solidFill>
                <a:latin typeface="Calibri"/>
                <a:cs typeface="Calibri"/>
              </a:rPr>
              <a:t>e</a:t>
            </a:r>
            <a:endParaRPr sz="1015" dirty="0">
              <a:latin typeface="Calibri"/>
              <a:cs typeface="Calibri"/>
            </a:endParaRPr>
          </a:p>
        </p:txBody>
      </p:sp>
      <p:grpSp>
        <p:nvGrpSpPr>
          <p:cNvPr id="581" name="Group 580">
            <a:extLst>
              <a:ext uri="{FF2B5EF4-FFF2-40B4-BE49-F238E27FC236}">
                <a16:creationId xmlns:a16="http://schemas.microsoft.com/office/drawing/2014/main" id="{5A90C084-DEA2-4728-A027-E2A06DF4277C}"/>
              </a:ext>
            </a:extLst>
          </p:cNvPr>
          <p:cNvGrpSpPr/>
          <p:nvPr/>
        </p:nvGrpSpPr>
        <p:grpSpPr>
          <a:xfrm>
            <a:off x="6859367" y="154177"/>
            <a:ext cx="2364586" cy="639893"/>
            <a:chOff x="6391616" y="167677"/>
            <a:chExt cx="2364586" cy="639893"/>
          </a:xfrm>
        </p:grpSpPr>
        <p:sp>
          <p:nvSpPr>
            <p:cNvPr id="582" name="object 29">
              <a:extLst>
                <a:ext uri="{FF2B5EF4-FFF2-40B4-BE49-F238E27FC236}">
                  <a16:creationId xmlns:a16="http://schemas.microsoft.com/office/drawing/2014/main" id="{195CA49F-731A-4070-B8FA-DC5DDF3C2605}"/>
                </a:ext>
              </a:extLst>
            </p:cNvPr>
            <p:cNvSpPr txBox="1"/>
            <p:nvPr/>
          </p:nvSpPr>
          <p:spPr>
            <a:xfrm>
              <a:off x="6413556" y="167677"/>
              <a:ext cx="1406244" cy="228455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1400" b="1" spc="9" dirty="0">
                  <a:solidFill>
                    <a:srgbClr val="252423"/>
                  </a:solidFill>
                  <a:cs typeface="Arial Black"/>
                </a:rPr>
                <a:t>Sentiment</a:t>
              </a:r>
              <a:endParaRPr sz="1400" b="1" dirty="0">
                <a:cs typeface="Arial Black"/>
              </a:endParaRPr>
            </a:p>
          </p:txBody>
        </p:sp>
        <p:grpSp>
          <p:nvGrpSpPr>
            <p:cNvPr id="583" name="Group 582">
              <a:extLst>
                <a:ext uri="{FF2B5EF4-FFF2-40B4-BE49-F238E27FC236}">
                  <a16:creationId xmlns:a16="http://schemas.microsoft.com/office/drawing/2014/main" id="{CFE5BD2F-ABDF-4C09-AE05-33659C8457A6}"/>
                </a:ext>
              </a:extLst>
            </p:cNvPr>
            <p:cNvGrpSpPr/>
            <p:nvPr/>
          </p:nvGrpSpPr>
          <p:grpSpPr>
            <a:xfrm>
              <a:off x="6391616" y="409039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590" name="Rectangle: Rounded Corners 589">
                <a:extLst>
                  <a:ext uri="{FF2B5EF4-FFF2-40B4-BE49-F238E27FC236}">
                    <a16:creationId xmlns:a16="http://schemas.microsoft.com/office/drawing/2014/main" id="{C8A64AA2-CBCB-4481-9437-12500B85C0F0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91" name="Rectangle: Rounded Corners 4">
                <a:extLst>
                  <a:ext uri="{FF2B5EF4-FFF2-40B4-BE49-F238E27FC236}">
                    <a16:creationId xmlns:a16="http://schemas.microsoft.com/office/drawing/2014/main" id="{B2E79774-7F05-4910-A434-124F4C663D44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Negative</a:t>
                </a:r>
              </a:p>
            </p:txBody>
          </p:sp>
        </p:grpSp>
        <p:grpSp>
          <p:nvGrpSpPr>
            <p:cNvPr id="584" name="Group 583">
              <a:extLst>
                <a:ext uri="{FF2B5EF4-FFF2-40B4-BE49-F238E27FC236}">
                  <a16:creationId xmlns:a16="http://schemas.microsoft.com/office/drawing/2014/main" id="{1036B2BB-5C32-44FF-BC6E-90A66AA25ADC}"/>
                </a:ext>
              </a:extLst>
            </p:cNvPr>
            <p:cNvGrpSpPr/>
            <p:nvPr/>
          </p:nvGrpSpPr>
          <p:grpSpPr>
            <a:xfrm>
              <a:off x="7189955" y="412283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588" name="Rectangle: Rounded Corners 587">
                <a:extLst>
                  <a:ext uri="{FF2B5EF4-FFF2-40B4-BE49-F238E27FC236}">
                    <a16:creationId xmlns:a16="http://schemas.microsoft.com/office/drawing/2014/main" id="{7E3C91CE-153E-452E-9A65-F169BC363AA4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89" name="Rectangle: Rounded Corners 4">
                <a:extLst>
                  <a:ext uri="{FF2B5EF4-FFF2-40B4-BE49-F238E27FC236}">
                    <a16:creationId xmlns:a16="http://schemas.microsoft.com/office/drawing/2014/main" id="{5FF38B2B-DD28-47FA-9E70-0250EE4E9B96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Neutral</a:t>
                </a:r>
              </a:p>
            </p:txBody>
          </p:sp>
        </p:grpSp>
        <p:grpSp>
          <p:nvGrpSpPr>
            <p:cNvPr id="585" name="Group 584">
              <a:extLst>
                <a:ext uri="{FF2B5EF4-FFF2-40B4-BE49-F238E27FC236}">
                  <a16:creationId xmlns:a16="http://schemas.microsoft.com/office/drawing/2014/main" id="{767CE8C5-2449-4F24-89BB-D3A11BCA7DFD}"/>
                </a:ext>
              </a:extLst>
            </p:cNvPr>
            <p:cNvGrpSpPr/>
            <p:nvPr/>
          </p:nvGrpSpPr>
          <p:grpSpPr>
            <a:xfrm>
              <a:off x="7988106" y="416488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586" name="Rectangle: Rounded Corners 585">
                <a:extLst>
                  <a:ext uri="{FF2B5EF4-FFF2-40B4-BE49-F238E27FC236}">
                    <a16:creationId xmlns:a16="http://schemas.microsoft.com/office/drawing/2014/main" id="{68D5EE4A-9EEC-4173-A7BF-0737A42DB3EE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87" name="Rectangle: Rounded Corners 4">
                <a:extLst>
                  <a:ext uri="{FF2B5EF4-FFF2-40B4-BE49-F238E27FC236}">
                    <a16:creationId xmlns:a16="http://schemas.microsoft.com/office/drawing/2014/main" id="{63BF5C46-081E-452B-AA78-F78FA5948294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Positive</a:t>
                </a:r>
              </a:p>
            </p:txBody>
          </p:sp>
        </p:grpSp>
      </p:grpSp>
      <p:grpSp>
        <p:nvGrpSpPr>
          <p:cNvPr id="592" name="Group 591">
            <a:extLst>
              <a:ext uri="{FF2B5EF4-FFF2-40B4-BE49-F238E27FC236}">
                <a16:creationId xmlns:a16="http://schemas.microsoft.com/office/drawing/2014/main" id="{122AD9AF-D29C-4C2A-A1A9-1081505E5981}"/>
              </a:ext>
            </a:extLst>
          </p:cNvPr>
          <p:cNvGrpSpPr/>
          <p:nvPr/>
        </p:nvGrpSpPr>
        <p:grpSpPr>
          <a:xfrm>
            <a:off x="9490130" y="167677"/>
            <a:ext cx="2373835" cy="651351"/>
            <a:chOff x="9138521" y="167673"/>
            <a:chExt cx="2373835" cy="651351"/>
          </a:xfrm>
        </p:grpSpPr>
        <p:sp>
          <p:nvSpPr>
            <p:cNvPr id="593" name="object 2">
              <a:extLst>
                <a:ext uri="{FF2B5EF4-FFF2-40B4-BE49-F238E27FC236}">
                  <a16:creationId xmlns:a16="http://schemas.microsoft.com/office/drawing/2014/main" id="{1D0BF44F-6442-4174-B0C2-E78AAD75BE75}"/>
                </a:ext>
              </a:extLst>
            </p:cNvPr>
            <p:cNvSpPr txBox="1"/>
            <p:nvPr/>
          </p:nvSpPr>
          <p:spPr>
            <a:xfrm>
              <a:off x="9138521" y="167673"/>
              <a:ext cx="1553301" cy="228455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lang="en-US" sz="1400" b="1" dirty="0">
                  <a:solidFill>
                    <a:srgbClr val="252423"/>
                  </a:solidFill>
                  <a:cs typeface="Arial Black"/>
                </a:rPr>
                <a:t>Review Category</a:t>
              </a:r>
            </a:p>
          </p:txBody>
        </p:sp>
        <p:grpSp>
          <p:nvGrpSpPr>
            <p:cNvPr id="594" name="Group 593">
              <a:extLst>
                <a:ext uri="{FF2B5EF4-FFF2-40B4-BE49-F238E27FC236}">
                  <a16:creationId xmlns:a16="http://schemas.microsoft.com/office/drawing/2014/main" id="{E9D062F7-B967-4BFB-828D-5217F24E7EFF}"/>
                </a:ext>
              </a:extLst>
            </p:cNvPr>
            <p:cNvGrpSpPr/>
            <p:nvPr/>
          </p:nvGrpSpPr>
          <p:grpSpPr>
            <a:xfrm>
              <a:off x="9147770" y="420493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601" name="Rectangle: Rounded Corners 600">
                <a:extLst>
                  <a:ext uri="{FF2B5EF4-FFF2-40B4-BE49-F238E27FC236}">
                    <a16:creationId xmlns:a16="http://schemas.microsoft.com/office/drawing/2014/main" id="{AA090CE2-F40C-4BF0-ADF3-9AA841E19D5E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02" name="Rectangle: Rounded Corners 4">
                <a:extLst>
                  <a:ext uri="{FF2B5EF4-FFF2-40B4-BE49-F238E27FC236}">
                    <a16:creationId xmlns:a16="http://schemas.microsoft.com/office/drawing/2014/main" id="{AD12B9BF-30A7-4A32-A40C-A991F02C2F2E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Books</a:t>
                </a:r>
              </a:p>
            </p:txBody>
          </p:sp>
        </p:grpSp>
        <p:grpSp>
          <p:nvGrpSpPr>
            <p:cNvPr id="595" name="Group 594">
              <a:extLst>
                <a:ext uri="{FF2B5EF4-FFF2-40B4-BE49-F238E27FC236}">
                  <a16:creationId xmlns:a16="http://schemas.microsoft.com/office/drawing/2014/main" id="{6FE71491-07B0-4100-8D58-BB0595F1F170}"/>
                </a:ext>
              </a:extLst>
            </p:cNvPr>
            <p:cNvGrpSpPr/>
            <p:nvPr/>
          </p:nvGrpSpPr>
          <p:grpSpPr>
            <a:xfrm>
              <a:off x="9946109" y="423737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599" name="Rectangle: Rounded Corners 598">
                <a:extLst>
                  <a:ext uri="{FF2B5EF4-FFF2-40B4-BE49-F238E27FC236}">
                    <a16:creationId xmlns:a16="http://schemas.microsoft.com/office/drawing/2014/main" id="{1C668880-ABFB-4361-9DDB-444D42737493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00" name="Rectangle: Rounded Corners 4">
                <a:extLst>
                  <a:ext uri="{FF2B5EF4-FFF2-40B4-BE49-F238E27FC236}">
                    <a16:creationId xmlns:a16="http://schemas.microsoft.com/office/drawing/2014/main" id="{1D399029-9432-4025-B545-227A72AF6113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Home &amp; Kitchen</a:t>
                </a:r>
              </a:p>
            </p:txBody>
          </p:sp>
        </p:grpSp>
        <p:grpSp>
          <p:nvGrpSpPr>
            <p:cNvPr id="596" name="Group 595">
              <a:extLst>
                <a:ext uri="{FF2B5EF4-FFF2-40B4-BE49-F238E27FC236}">
                  <a16:creationId xmlns:a16="http://schemas.microsoft.com/office/drawing/2014/main" id="{DCC59407-91AE-40FC-ABFA-0199F17D730D}"/>
                </a:ext>
              </a:extLst>
            </p:cNvPr>
            <p:cNvGrpSpPr/>
            <p:nvPr/>
          </p:nvGrpSpPr>
          <p:grpSpPr>
            <a:xfrm>
              <a:off x="10744260" y="427942"/>
              <a:ext cx="768096" cy="391082"/>
              <a:chOff x="0" y="2243705"/>
              <a:chExt cx="2173799" cy="746836"/>
            </a:xfrm>
            <a:solidFill>
              <a:schemeClr val="bg1">
                <a:lumMod val="75000"/>
              </a:schemeClr>
            </a:solidFill>
          </p:grpSpPr>
          <p:sp>
            <p:nvSpPr>
              <p:cNvPr id="597" name="Rectangle: Rounded Corners 596">
                <a:extLst>
                  <a:ext uri="{FF2B5EF4-FFF2-40B4-BE49-F238E27FC236}">
                    <a16:creationId xmlns:a16="http://schemas.microsoft.com/office/drawing/2014/main" id="{0C4A375B-4B5E-4028-9F6B-73A7892C86FC}"/>
                  </a:ext>
                </a:extLst>
              </p:cNvPr>
              <p:cNvSpPr/>
              <p:nvPr/>
            </p:nvSpPr>
            <p:spPr>
              <a:xfrm>
                <a:off x="0" y="2243705"/>
                <a:ext cx="2173799" cy="746836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98" name="Rectangle: Rounded Corners 4">
                <a:extLst>
                  <a:ext uri="{FF2B5EF4-FFF2-40B4-BE49-F238E27FC236}">
                    <a16:creationId xmlns:a16="http://schemas.microsoft.com/office/drawing/2014/main" id="{D9B631BA-D5EF-4B02-8BE7-EEAC38C77DBD}"/>
                  </a:ext>
                </a:extLst>
              </p:cNvPr>
              <p:cNvSpPr txBox="1"/>
              <p:nvPr/>
            </p:nvSpPr>
            <p:spPr>
              <a:xfrm>
                <a:off x="21874" y="2265579"/>
                <a:ext cx="2130051" cy="703088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CA" sz="1300" b="1" kern="1200" dirty="0">
                    <a:solidFill>
                      <a:schemeClr val="tx1"/>
                    </a:solidFill>
                  </a:rPr>
                  <a:t>Video games</a:t>
                </a:r>
              </a:p>
            </p:txBody>
          </p:sp>
        </p:grpSp>
      </p:grpSp>
      <p:grpSp>
        <p:nvGrpSpPr>
          <p:cNvPr id="632" name="Group 631">
            <a:extLst>
              <a:ext uri="{FF2B5EF4-FFF2-40B4-BE49-F238E27FC236}">
                <a16:creationId xmlns:a16="http://schemas.microsoft.com/office/drawing/2014/main" id="{31FFF963-B2F8-46EB-A0AB-420E47487117}"/>
              </a:ext>
            </a:extLst>
          </p:cNvPr>
          <p:cNvGrpSpPr/>
          <p:nvPr/>
        </p:nvGrpSpPr>
        <p:grpSpPr>
          <a:xfrm>
            <a:off x="118291" y="327590"/>
            <a:ext cx="6563537" cy="488016"/>
            <a:chOff x="118291" y="327590"/>
            <a:chExt cx="6563537" cy="488016"/>
          </a:xfrm>
        </p:grpSpPr>
        <p:sp>
          <p:nvSpPr>
            <p:cNvPr id="578" name="object 7">
              <a:extLst>
                <a:ext uri="{FF2B5EF4-FFF2-40B4-BE49-F238E27FC236}">
                  <a16:creationId xmlns:a16="http://schemas.microsoft.com/office/drawing/2014/main" id="{EBC5ADEF-AE28-44BE-83EF-967006655E79}"/>
                </a:ext>
              </a:extLst>
            </p:cNvPr>
            <p:cNvSpPr/>
            <p:nvPr/>
          </p:nvSpPr>
          <p:spPr>
            <a:xfrm>
              <a:off x="274622" y="327590"/>
              <a:ext cx="6235114" cy="488016"/>
            </a:xfrm>
            <a:custGeom>
              <a:avLst/>
              <a:gdLst/>
              <a:ahLst/>
              <a:cxnLst/>
              <a:rect l="l" t="t" r="r" b="b"/>
              <a:pathLst>
                <a:path w="6656070" h="553085">
                  <a:moveTo>
                    <a:pt x="6655593" y="552926"/>
                  </a:moveTo>
                  <a:lnTo>
                    <a:pt x="0" y="552926"/>
                  </a:lnTo>
                  <a:lnTo>
                    <a:pt x="0" y="0"/>
                  </a:lnTo>
                  <a:lnTo>
                    <a:pt x="6655593" y="0"/>
                  </a:lnTo>
                  <a:lnTo>
                    <a:pt x="6655593" y="552926"/>
                  </a:lnTo>
                  <a:close/>
                </a:path>
              </a:pathLst>
            </a:custGeom>
            <a:solidFill>
              <a:srgbClr val="FFB618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79" name="object 8">
              <a:extLst>
                <a:ext uri="{FF2B5EF4-FFF2-40B4-BE49-F238E27FC236}">
                  <a16:creationId xmlns:a16="http://schemas.microsoft.com/office/drawing/2014/main" id="{DCDE5193-78B8-4400-8E3A-5B18C9453CF7}"/>
                </a:ext>
              </a:extLst>
            </p:cNvPr>
            <p:cNvSpPr txBox="1"/>
            <p:nvPr/>
          </p:nvSpPr>
          <p:spPr>
            <a:xfrm>
              <a:off x="1004865" y="408534"/>
              <a:ext cx="4448175" cy="303255"/>
            </a:xfrm>
            <a:prstGeom prst="rect">
              <a:avLst/>
            </a:prstGeom>
          </p:spPr>
          <p:txBody>
            <a:bodyPr vert="horz" wrap="square" lIns="0" tIns="11206" rIns="0" bIns="0" rtlCol="0">
              <a:spAutoFit/>
            </a:bodyPr>
            <a:lstStyle/>
            <a:p>
              <a:pPr marL="11206">
                <a:spcBef>
                  <a:spcPts val="88"/>
                </a:spcBef>
              </a:pPr>
              <a:r>
                <a:rPr sz="1897" b="1" i="1" dirty="0">
                  <a:latin typeface="Calibri"/>
                  <a:cs typeface="Calibri"/>
                </a:rPr>
                <a:t>What are the </a:t>
              </a:r>
              <a:r>
                <a:rPr sz="1897" b="1" i="1" spc="-4" dirty="0">
                  <a:latin typeface="Calibri"/>
                  <a:cs typeface="Calibri"/>
                </a:rPr>
                <a:t>reviewing </a:t>
              </a:r>
              <a:r>
                <a:rPr sz="1897" b="1" i="1" dirty="0">
                  <a:latin typeface="Calibri"/>
                  <a:cs typeface="Calibri"/>
                </a:rPr>
                <a:t>habits of</a:t>
              </a:r>
              <a:r>
                <a:rPr sz="1897" b="1" i="1" spc="-97" dirty="0">
                  <a:latin typeface="Calibri"/>
                  <a:cs typeface="Calibri"/>
                </a:rPr>
                <a:t> </a:t>
              </a:r>
              <a:r>
                <a:rPr sz="1897" b="1" i="1" spc="-4" dirty="0">
                  <a:latin typeface="Calibri"/>
                  <a:cs typeface="Calibri"/>
                </a:rPr>
                <a:t>reviewers?</a:t>
              </a:r>
              <a:endParaRPr sz="1897" b="1" dirty="0">
                <a:latin typeface="Calibri"/>
                <a:cs typeface="Calibri"/>
              </a:endParaRPr>
            </a:p>
          </p:txBody>
        </p:sp>
        <p:cxnSp>
          <p:nvCxnSpPr>
            <p:cNvPr id="580" name="Google Shape;1480;p34">
              <a:extLst>
                <a:ext uri="{FF2B5EF4-FFF2-40B4-BE49-F238E27FC236}">
                  <a16:creationId xmlns:a16="http://schemas.microsoft.com/office/drawing/2014/main" id="{33A08EF3-9793-4780-B3E1-2B4C046F6645}"/>
                </a:ext>
              </a:extLst>
            </p:cNvPr>
            <p:cNvCxnSpPr>
              <a:cxnSpLocks/>
            </p:cNvCxnSpPr>
            <p:nvPr/>
          </p:nvCxnSpPr>
          <p:spPr>
            <a:xfrm>
              <a:off x="5463930" y="576905"/>
              <a:ext cx="1217898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603" name="Google Shape;1480;p34">
              <a:extLst>
                <a:ext uri="{FF2B5EF4-FFF2-40B4-BE49-F238E27FC236}">
                  <a16:creationId xmlns:a16="http://schemas.microsoft.com/office/drawing/2014/main" id="{B2BF286A-FF10-417F-98DF-50AE20640825}"/>
                </a:ext>
              </a:extLst>
            </p:cNvPr>
            <p:cNvCxnSpPr>
              <a:cxnSpLocks/>
            </p:cNvCxnSpPr>
            <p:nvPr/>
          </p:nvCxnSpPr>
          <p:spPr>
            <a:xfrm>
              <a:off x="118291" y="572785"/>
              <a:ext cx="846378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633" name="Group 632">
            <a:extLst>
              <a:ext uri="{FF2B5EF4-FFF2-40B4-BE49-F238E27FC236}">
                <a16:creationId xmlns:a16="http://schemas.microsoft.com/office/drawing/2014/main" id="{BD54C373-EEBF-44F7-9717-DE82FAA866B0}"/>
              </a:ext>
            </a:extLst>
          </p:cNvPr>
          <p:cNvGrpSpPr/>
          <p:nvPr/>
        </p:nvGrpSpPr>
        <p:grpSpPr>
          <a:xfrm>
            <a:off x="699322" y="3951856"/>
            <a:ext cx="11099950" cy="2831698"/>
            <a:chOff x="699322" y="3951856"/>
            <a:chExt cx="11099950" cy="2831698"/>
          </a:xfrm>
        </p:grpSpPr>
        <p:grpSp>
          <p:nvGrpSpPr>
            <p:cNvPr id="607" name="Group 606">
              <a:extLst>
                <a:ext uri="{FF2B5EF4-FFF2-40B4-BE49-F238E27FC236}">
                  <a16:creationId xmlns:a16="http://schemas.microsoft.com/office/drawing/2014/main" id="{B74CFAC8-B595-4955-991F-41D139C8BC00}"/>
                </a:ext>
              </a:extLst>
            </p:cNvPr>
            <p:cNvGrpSpPr/>
            <p:nvPr/>
          </p:nvGrpSpPr>
          <p:grpSpPr>
            <a:xfrm>
              <a:off x="699322" y="3951856"/>
              <a:ext cx="3102350" cy="2497610"/>
              <a:chOff x="916357" y="3916577"/>
              <a:chExt cx="3102350" cy="2497610"/>
            </a:xfrm>
          </p:grpSpPr>
          <p:sp>
            <p:nvSpPr>
              <p:cNvPr id="20" name="object 20"/>
              <p:cNvSpPr txBox="1"/>
              <p:nvPr/>
            </p:nvSpPr>
            <p:spPr>
              <a:xfrm>
                <a:off x="1337472" y="3916577"/>
                <a:ext cx="1454927" cy="227324"/>
              </a:xfrm>
              <a:prstGeom prst="rect">
                <a:avLst/>
              </a:prstGeom>
            </p:spPr>
            <p:txBody>
              <a:bodyPr vert="horz" wrap="square" lIns="0" tIns="11766" rIns="0" bIns="0" rtlCol="0">
                <a:spAutoFit/>
              </a:bodyPr>
              <a:lstStyle/>
              <a:p>
                <a:pPr marL="11206">
                  <a:spcBef>
                    <a:spcPts val="93"/>
                  </a:spcBef>
                </a:pPr>
                <a:r>
                  <a:rPr sz="1400" b="1" spc="53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Review</a:t>
                </a:r>
                <a:r>
                  <a:rPr sz="1400" b="1" spc="-44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 </a:t>
                </a:r>
                <a:r>
                  <a:rPr sz="1400" b="1" spc="57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Usefulness</a:t>
                </a:r>
                <a:endParaRPr sz="1400" b="1" dirty="0">
                  <a:latin typeface="Arial Narrow"/>
                  <a:cs typeface="Arial Narrow"/>
                </a:endParaRPr>
              </a:p>
            </p:txBody>
          </p:sp>
          <p:grpSp>
            <p:nvGrpSpPr>
              <p:cNvPr id="21" name="object 21"/>
              <p:cNvGrpSpPr/>
              <p:nvPr/>
            </p:nvGrpSpPr>
            <p:grpSpPr>
              <a:xfrm>
                <a:off x="916357" y="4350668"/>
                <a:ext cx="2134252" cy="2063519"/>
                <a:chOff x="737691" y="5069086"/>
                <a:chExt cx="1996439" cy="1997075"/>
              </a:xfrm>
            </p:grpSpPr>
            <p:sp>
              <p:nvSpPr>
                <p:cNvPr id="22" name="object 22"/>
                <p:cNvSpPr/>
                <p:nvPr/>
              </p:nvSpPr>
              <p:spPr>
                <a:xfrm>
                  <a:off x="737691" y="5069086"/>
                  <a:ext cx="1996439" cy="19970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96439" h="1997075">
                      <a:moveTo>
                        <a:pt x="998193" y="1996750"/>
                      </a:moveTo>
                      <a:lnTo>
                        <a:pt x="944627" y="1995324"/>
                      </a:lnTo>
                      <a:lnTo>
                        <a:pt x="891214" y="1991025"/>
                      </a:lnTo>
                      <a:lnTo>
                        <a:pt x="838109" y="1983864"/>
                      </a:lnTo>
                      <a:lnTo>
                        <a:pt x="785464" y="1973862"/>
                      </a:lnTo>
                      <a:lnTo>
                        <a:pt x="733433" y="1961049"/>
                      </a:lnTo>
                      <a:lnTo>
                        <a:pt x="682163" y="1945459"/>
                      </a:lnTo>
                      <a:lnTo>
                        <a:pt x="631804" y="1927140"/>
                      </a:lnTo>
                      <a:lnTo>
                        <a:pt x="582501" y="1906143"/>
                      </a:lnTo>
                      <a:lnTo>
                        <a:pt x="534395" y="1882530"/>
                      </a:lnTo>
                      <a:lnTo>
                        <a:pt x="487625" y="1856367"/>
                      </a:lnTo>
                      <a:lnTo>
                        <a:pt x="442327" y="1827731"/>
                      </a:lnTo>
                      <a:lnTo>
                        <a:pt x="398630" y="1796704"/>
                      </a:lnTo>
                      <a:lnTo>
                        <a:pt x="356661" y="1763376"/>
                      </a:lnTo>
                      <a:lnTo>
                        <a:pt x="316540" y="1727843"/>
                      </a:lnTo>
                      <a:lnTo>
                        <a:pt x="278384" y="1690206"/>
                      </a:lnTo>
                      <a:lnTo>
                        <a:pt x="242303" y="1650575"/>
                      </a:lnTo>
                      <a:lnTo>
                        <a:pt x="208399" y="1609064"/>
                      </a:lnTo>
                      <a:lnTo>
                        <a:pt x="176772" y="1565793"/>
                      </a:lnTo>
                      <a:lnTo>
                        <a:pt x="147511" y="1520886"/>
                      </a:lnTo>
                      <a:lnTo>
                        <a:pt x="120703" y="1474472"/>
                      </a:lnTo>
                      <a:lnTo>
                        <a:pt x="96423" y="1426686"/>
                      </a:lnTo>
                      <a:lnTo>
                        <a:pt x="74742" y="1377666"/>
                      </a:lnTo>
                      <a:lnTo>
                        <a:pt x="55723" y="1327551"/>
                      </a:lnTo>
                      <a:lnTo>
                        <a:pt x="39419" y="1276488"/>
                      </a:lnTo>
                      <a:lnTo>
                        <a:pt x="25879" y="1224623"/>
                      </a:lnTo>
                      <a:lnTo>
                        <a:pt x="15141" y="1172106"/>
                      </a:lnTo>
                      <a:lnTo>
                        <a:pt x="7237" y="1119089"/>
                      </a:lnTo>
                      <a:lnTo>
                        <a:pt x="2188" y="1065723"/>
                      </a:lnTo>
                      <a:lnTo>
                        <a:pt x="10" y="1012163"/>
                      </a:lnTo>
                      <a:lnTo>
                        <a:pt x="0" y="985358"/>
                      </a:lnTo>
                      <a:lnTo>
                        <a:pt x="708" y="958563"/>
                      </a:lnTo>
                      <a:lnTo>
                        <a:pt x="4282" y="905078"/>
                      </a:lnTo>
                      <a:lnTo>
                        <a:pt x="10720" y="851862"/>
                      </a:lnTo>
                      <a:lnTo>
                        <a:pt x="20004" y="799068"/>
                      </a:lnTo>
                      <a:lnTo>
                        <a:pt x="32107" y="746849"/>
                      </a:lnTo>
                      <a:lnTo>
                        <a:pt x="46994" y="695355"/>
                      </a:lnTo>
                      <a:lnTo>
                        <a:pt x="64622" y="644734"/>
                      </a:lnTo>
                      <a:lnTo>
                        <a:pt x="84942" y="595133"/>
                      </a:lnTo>
                      <a:lnTo>
                        <a:pt x="96092" y="570760"/>
                      </a:lnTo>
                      <a:lnTo>
                        <a:pt x="997936" y="998375"/>
                      </a:lnTo>
                      <a:lnTo>
                        <a:pt x="997936" y="0"/>
                      </a:lnTo>
                      <a:lnTo>
                        <a:pt x="1051502" y="1439"/>
                      </a:lnTo>
                      <a:lnTo>
                        <a:pt x="1104913" y="5752"/>
                      </a:lnTo>
                      <a:lnTo>
                        <a:pt x="1158017" y="12926"/>
                      </a:lnTo>
                      <a:lnTo>
                        <a:pt x="1210658" y="22941"/>
                      </a:lnTo>
                      <a:lnTo>
                        <a:pt x="1262687" y="35769"/>
                      </a:lnTo>
                      <a:lnTo>
                        <a:pt x="1313952" y="51371"/>
                      </a:lnTo>
                      <a:lnTo>
                        <a:pt x="1364306" y="69703"/>
                      </a:lnTo>
                      <a:lnTo>
                        <a:pt x="1413605" y="90713"/>
                      </a:lnTo>
                      <a:lnTo>
                        <a:pt x="1461704" y="114339"/>
                      </a:lnTo>
                      <a:lnTo>
                        <a:pt x="1508467" y="140513"/>
                      </a:lnTo>
                      <a:lnTo>
                        <a:pt x="1553758" y="169161"/>
                      </a:lnTo>
                      <a:lnTo>
                        <a:pt x="1597447" y="200199"/>
                      </a:lnTo>
                      <a:lnTo>
                        <a:pt x="1639408" y="233538"/>
                      </a:lnTo>
                      <a:lnTo>
                        <a:pt x="1679519" y="269082"/>
                      </a:lnTo>
                      <a:lnTo>
                        <a:pt x="1717665" y="306728"/>
                      </a:lnTo>
                      <a:lnTo>
                        <a:pt x="1753737" y="346368"/>
                      </a:lnTo>
                      <a:lnTo>
                        <a:pt x="1787630" y="387888"/>
                      </a:lnTo>
                      <a:lnTo>
                        <a:pt x="1819246" y="431168"/>
                      </a:lnTo>
                      <a:lnTo>
                        <a:pt x="1848495" y="476083"/>
                      </a:lnTo>
                      <a:lnTo>
                        <a:pt x="1875291" y="522503"/>
                      </a:lnTo>
                      <a:lnTo>
                        <a:pt x="1899559" y="570295"/>
                      </a:lnTo>
                      <a:lnTo>
                        <a:pt x="1921227" y="619321"/>
                      </a:lnTo>
                      <a:lnTo>
                        <a:pt x="1940234" y="669441"/>
                      </a:lnTo>
                      <a:lnTo>
                        <a:pt x="1956524" y="720508"/>
                      </a:lnTo>
                      <a:lnTo>
                        <a:pt x="1970051" y="772376"/>
                      </a:lnTo>
                      <a:lnTo>
                        <a:pt x="1980775" y="824896"/>
                      </a:lnTo>
                      <a:lnTo>
                        <a:pt x="1988666" y="877916"/>
                      </a:lnTo>
                      <a:lnTo>
                        <a:pt x="1993701" y="931283"/>
                      </a:lnTo>
                      <a:lnTo>
                        <a:pt x="1995865" y="984844"/>
                      </a:lnTo>
                      <a:lnTo>
                        <a:pt x="1995869" y="1011648"/>
                      </a:lnTo>
                      <a:lnTo>
                        <a:pt x="1995153" y="1038443"/>
                      </a:lnTo>
                      <a:lnTo>
                        <a:pt x="1991566" y="1091927"/>
                      </a:lnTo>
                      <a:lnTo>
                        <a:pt x="1985114" y="1145142"/>
                      </a:lnTo>
                      <a:lnTo>
                        <a:pt x="1975817" y="1197933"/>
                      </a:lnTo>
                      <a:lnTo>
                        <a:pt x="1963700" y="1250149"/>
                      </a:lnTo>
                      <a:lnTo>
                        <a:pt x="1948800" y="1301639"/>
                      </a:lnTo>
                      <a:lnTo>
                        <a:pt x="1931158" y="1352255"/>
                      </a:lnTo>
                      <a:lnTo>
                        <a:pt x="1910826" y="1401851"/>
                      </a:lnTo>
                      <a:lnTo>
                        <a:pt x="1887862" y="1450284"/>
                      </a:lnTo>
                      <a:lnTo>
                        <a:pt x="1862333" y="1497414"/>
                      </a:lnTo>
                      <a:lnTo>
                        <a:pt x="1834312" y="1543105"/>
                      </a:lnTo>
                      <a:lnTo>
                        <a:pt x="1803880" y="1587226"/>
                      </a:lnTo>
                      <a:lnTo>
                        <a:pt x="1771125" y="1629649"/>
                      </a:lnTo>
                      <a:lnTo>
                        <a:pt x="1736140" y="1670253"/>
                      </a:lnTo>
                      <a:lnTo>
                        <a:pt x="1699028" y="1708919"/>
                      </a:lnTo>
                      <a:lnTo>
                        <a:pt x="1659894" y="1745538"/>
                      </a:lnTo>
                      <a:lnTo>
                        <a:pt x="1618852" y="1780002"/>
                      </a:lnTo>
                      <a:lnTo>
                        <a:pt x="1576021" y="1812213"/>
                      </a:lnTo>
                      <a:lnTo>
                        <a:pt x="1531522" y="1842078"/>
                      </a:lnTo>
                      <a:lnTo>
                        <a:pt x="1485486" y="1869511"/>
                      </a:lnTo>
                      <a:lnTo>
                        <a:pt x="1438044" y="1894433"/>
                      </a:lnTo>
                      <a:lnTo>
                        <a:pt x="1389333" y="1916771"/>
                      </a:lnTo>
                      <a:lnTo>
                        <a:pt x="1339494" y="1936462"/>
                      </a:lnTo>
                      <a:lnTo>
                        <a:pt x="1288670" y="1953448"/>
                      </a:lnTo>
                      <a:lnTo>
                        <a:pt x="1237008" y="1967682"/>
                      </a:lnTo>
                      <a:lnTo>
                        <a:pt x="1184657" y="1979121"/>
                      </a:lnTo>
                      <a:lnTo>
                        <a:pt x="1131768" y="1987732"/>
                      </a:lnTo>
                      <a:lnTo>
                        <a:pt x="1078493" y="1993492"/>
                      </a:lnTo>
                      <a:lnTo>
                        <a:pt x="1024986" y="1996383"/>
                      </a:lnTo>
                      <a:lnTo>
                        <a:pt x="998193" y="1996750"/>
                      </a:lnTo>
                      <a:close/>
                    </a:path>
                  </a:pathLst>
                </a:custGeom>
                <a:solidFill>
                  <a:srgbClr val="12239D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3" name="object 23"/>
                <p:cNvSpPr/>
                <p:nvPr/>
              </p:nvSpPr>
              <p:spPr>
                <a:xfrm>
                  <a:off x="833783" y="5069086"/>
                  <a:ext cx="902335" cy="9988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02335" h="998854">
                      <a:moveTo>
                        <a:pt x="901843" y="998375"/>
                      </a:moveTo>
                      <a:lnTo>
                        <a:pt x="0" y="570760"/>
                      </a:lnTo>
                      <a:lnTo>
                        <a:pt x="7676" y="554922"/>
                      </a:lnTo>
                      <a:lnTo>
                        <a:pt x="15627" y="539226"/>
                      </a:lnTo>
                      <a:lnTo>
                        <a:pt x="41129" y="493005"/>
                      </a:lnTo>
                      <a:lnTo>
                        <a:pt x="69034" y="448202"/>
                      </a:lnTo>
                      <a:lnTo>
                        <a:pt x="99268" y="404936"/>
                      </a:lnTo>
                      <a:lnTo>
                        <a:pt x="131749" y="363326"/>
                      </a:lnTo>
                      <a:lnTo>
                        <a:pt x="166383" y="323491"/>
                      </a:lnTo>
                      <a:lnTo>
                        <a:pt x="203070" y="285548"/>
                      </a:lnTo>
                      <a:lnTo>
                        <a:pt x="241710" y="249597"/>
                      </a:lnTo>
                      <a:lnTo>
                        <a:pt x="282200" y="215736"/>
                      </a:lnTo>
                      <a:lnTo>
                        <a:pt x="324423" y="184063"/>
                      </a:lnTo>
                      <a:lnTo>
                        <a:pt x="368256" y="154671"/>
                      </a:lnTo>
                      <a:lnTo>
                        <a:pt x="413581" y="127637"/>
                      </a:lnTo>
                      <a:lnTo>
                        <a:pt x="460276" y="103035"/>
                      </a:lnTo>
                      <a:lnTo>
                        <a:pt x="508205" y="80937"/>
                      </a:lnTo>
                      <a:lnTo>
                        <a:pt x="557230" y="61406"/>
                      </a:lnTo>
                      <a:lnTo>
                        <a:pt x="607218" y="44494"/>
                      </a:lnTo>
                      <a:lnTo>
                        <a:pt x="658036" y="30248"/>
                      </a:lnTo>
                      <a:lnTo>
                        <a:pt x="709535" y="18709"/>
                      </a:lnTo>
                      <a:lnTo>
                        <a:pt x="761566" y="9911"/>
                      </a:lnTo>
                      <a:lnTo>
                        <a:pt x="813990" y="3875"/>
                      </a:lnTo>
                      <a:lnTo>
                        <a:pt x="866665" y="620"/>
                      </a:lnTo>
                      <a:lnTo>
                        <a:pt x="901843" y="0"/>
                      </a:lnTo>
                      <a:lnTo>
                        <a:pt x="901843" y="998375"/>
                      </a:lnTo>
                      <a:close/>
                    </a:path>
                  </a:pathLst>
                </a:custGeom>
                <a:solidFill>
                  <a:srgbClr val="118CFF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</p:grpSp>
          <p:sp>
            <p:nvSpPr>
              <p:cNvPr id="24" name="object 24"/>
              <p:cNvSpPr txBox="1"/>
              <p:nvPr/>
            </p:nvSpPr>
            <p:spPr>
              <a:xfrm>
                <a:off x="2043442" y="5686227"/>
                <a:ext cx="386256" cy="344111"/>
              </a:xfrm>
              <a:prstGeom prst="rect">
                <a:avLst/>
              </a:prstGeom>
            </p:spPr>
            <p:txBody>
              <a:bodyPr vert="horz" wrap="square" lIns="0" tIns="10646" rIns="0" bIns="0" rtlCol="0">
                <a:spAutoFit/>
              </a:bodyPr>
              <a:lstStyle/>
              <a:p>
                <a:pPr marL="23534" marR="4483" indent="-12887">
                  <a:lnSpc>
                    <a:spcPct val="113300"/>
                  </a:lnSpc>
                  <a:spcBef>
                    <a:spcPts val="84"/>
                  </a:spcBef>
                </a:pPr>
                <a:r>
                  <a:rPr sz="1000" spc="4" dirty="0">
                    <a:solidFill>
                      <a:srgbClr val="FFFFFF"/>
                    </a:solidFill>
                    <a:latin typeface="Segoe UI"/>
                    <a:cs typeface="Segoe UI"/>
                  </a:rPr>
                  <a:t>2.86M  (82%)</a:t>
                </a:r>
                <a:endParaRPr sz="1000" dirty="0">
                  <a:latin typeface="Segoe UI"/>
                  <a:cs typeface="Segoe UI"/>
                </a:endParaRPr>
              </a:p>
            </p:txBody>
          </p:sp>
          <p:sp>
            <p:nvSpPr>
              <p:cNvPr id="25" name="object 25"/>
              <p:cNvSpPr txBox="1"/>
              <p:nvPr/>
            </p:nvSpPr>
            <p:spPr>
              <a:xfrm>
                <a:off x="1402212" y="4698018"/>
                <a:ext cx="386256" cy="344111"/>
              </a:xfrm>
              <a:prstGeom prst="rect">
                <a:avLst/>
              </a:prstGeom>
            </p:spPr>
            <p:txBody>
              <a:bodyPr vert="horz" wrap="square" lIns="0" tIns="10646" rIns="0" bIns="0" rtlCol="0">
                <a:spAutoFit/>
              </a:bodyPr>
              <a:lstStyle/>
              <a:p>
                <a:pPr marL="23534" marR="4483" indent="-12887">
                  <a:lnSpc>
                    <a:spcPct val="113300"/>
                  </a:lnSpc>
                  <a:spcBef>
                    <a:spcPts val="84"/>
                  </a:spcBef>
                </a:pPr>
                <a:r>
                  <a:rPr sz="1000" spc="4" dirty="0">
                    <a:solidFill>
                      <a:srgbClr val="FFFFFF"/>
                    </a:solidFill>
                    <a:latin typeface="Segoe UI"/>
                    <a:cs typeface="Segoe UI"/>
                  </a:rPr>
                  <a:t>0.63M  (18%)</a:t>
                </a:r>
                <a:endParaRPr sz="1000" dirty="0">
                  <a:latin typeface="Segoe UI"/>
                  <a:cs typeface="Segoe UI"/>
                </a:endParaRPr>
              </a:p>
            </p:txBody>
          </p:sp>
          <p:sp>
            <p:nvSpPr>
              <p:cNvPr id="26" name="object 26"/>
              <p:cNvSpPr/>
              <p:nvPr/>
            </p:nvSpPr>
            <p:spPr>
              <a:xfrm>
                <a:off x="3251294" y="5394033"/>
                <a:ext cx="89416" cy="89177"/>
              </a:xfrm>
              <a:prstGeom prst="rect">
                <a:avLst/>
              </a:prstGeom>
              <a:blipFill>
                <a:blip r:embed="rId5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7" name="object 27"/>
              <p:cNvSpPr/>
              <p:nvPr/>
            </p:nvSpPr>
            <p:spPr>
              <a:xfrm>
                <a:off x="3251294" y="5622817"/>
                <a:ext cx="89416" cy="92743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" name="object 28"/>
              <p:cNvSpPr txBox="1"/>
              <p:nvPr/>
            </p:nvSpPr>
            <p:spPr>
              <a:xfrm>
                <a:off x="3231116" y="5117193"/>
                <a:ext cx="787591" cy="662135"/>
              </a:xfrm>
              <a:prstGeom prst="rect">
                <a:avLst/>
              </a:prstGeom>
            </p:spPr>
            <p:txBody>
              <a:bodyPr vert="horz" wrap="square" lIns="0" tIns="58831" rIns="0" bIns="0" rtlCol="0">
                <a:spAutoFit/>
              </a:bodyPr>
              <a:lstStyle/>
              <a:p>
                <a:pPr marL="11206">
                  <a:spcBef>
                    <a:spcPts val="463"/>
                  </a:spcBef>
                </a:pPr>
                <a:r>
                  <a:rPr sz="1000" b="1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Usefulness</a:t>
                </a:r>
                <a:endParaRPr sz="1000" dirty="0">
                  <a:latin typeface="Segoe UI"/>
                  <a:cs typeface="Segoe UI"/>
                </a:endParaRPr>
              </a:p>
              <a:p>
                <a:pPr marL="129435">
                  <a:spcBef>
                    <a:spcPts val="383"/>
                  </a:spcBef>
                </a:pPr>
                <a:r>
                  <a:rPr sz="1000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Not</a:t>
                </a:r>
                <a:r>
                  <a:rPr sz="1000" spc="-4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 </a:t>
                </a:r>
                <a:r>
                  <a:rPr sz="1000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Useful</a:t>
                </a:r>
                <a:endParaRPr sz="1000" dirty="0">
                  <a:latin typeface="Segoe UI"/>
                  <a:cs typeface="Segoe UI"/>
                </a:endParaRPr>
              </a:p>
              <a:p>
                <a:pPr marL="129435">
                  <a:spcBef>
                    <a:spcPts val="666"/>
                  </a:spcBef>
                </a:pPr>
                <a:r>
                  <a:rPr sz="1000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Useful</a:t>
                </a:r>
                <a:endParaRPr sz="1000" dirty="0">
                  <a:latin typeface="Segoe UI"/>
                  <a:cs typeface="Segoe UI"/>
                </a:endParaRPr>
              </a:p>
            </p:txBody>
          </p:sp>
        </p:grpSp>
        <p:grpSp>
          <p:nvGrpSpPr>
            <p:cNvPr id="625" name="Group 624">
              <a:extLst>
                <a:ext uri="{FF2B5EF4-FFF2-40B4-BE49-F238E27FC236}">
                  <a16:creationId xmlns:a16="http://schemas.microsoft.com/office/drawing/2014/main" id="{58764351-C79F-4939-B7B2-B28CE4C963D0}"/>
                </a:ext>
              </a:extLst>
            </p:cNvPr>
            <p:cNvGrpSpPr/>
            <p:nvPr/>
          </p:nvGrpSpPr>
          <p:grpSpPr>
            <a:xfrm>
              <a:off x="4270913" y="4002335"/>
              <a:ext cx="7528359" cy="2781219"/>
              <a:chOff x="4270913" y="4002335"/>
              <a:chExt cx="7528359" cy="2781219"/>
            </a:xfrm>
          </p:grpSpPr>
          <p:grpSp>
            <p:nvGrpSpPr>
              <p:cNvPr id="616" name="Group 615">
                <a:extLst>
                  <a:ext uri="{FF2B5EF4-FFF2-40B4-BE49-F238E27FC236}">
                    <a16:creationId xmlns:a16="http://schemas.microsoft.com/office/drawing/2014/main" id="{845C1C1B-99C4-407F-ABFB-954C203D23C2}"/>
                  </a:ext>
                </a:extLst>
              </p:cNvPr>
              <p:cNvGrpSpPr/>
              <p:nvPr/>
            </p:nvGrpSpPr>
            <p:grpSpPr>
              <a:xfrm>
                <a:off x="4270913" y="4248512"/>
                <a:ext cx="7528359" cy="2535042"/>
                <a:chOff x="4270913" y="4248512"/>
                <a:chExt cx="7528359" cy="2535042"/>
              </a:xfrm>
            </p:grpSpPr>
            <p:grpSp>
              <p:nvGrpSpPr>
                <p:cNvPr id="171" name="object 171"/>
                <p:cNvGrpSpPr/>
                <p:nvPr/>
              </p:nvGrpSpPr>
              <p:grpSpPr>
                <a:xfrm>
                  <a:off x="4813284" y="5329674"/>
                  <a:ext cx="605118" cy="1081928"/>
                  <a:chOff x="4995426" y="5889223"/>
                  <a:chExt cx="685800" cy="1226185"/>
                </a:xfrm>
              </p:grpSpPr>
              <p:sp>
                <p:nvSpPr>
                  <p:cNvPr id="172" name="object 172"/>
                  <p:cNvSpPr/>
                  <p:nvPr/>
                </p:nvSpPr>
                <p:spPr>
                  <a:xfrm>
                    <a:off x="4995418" y="6447713"/>
                    <a:ext cx="685800" cy="66738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85800" h="667384">
                        <a:moveTo>
                          <a:pt x="10236" y="662101"/>
                        </a:moveTo>
                        <a:lnTo>
                          <a:pt x="0" y="662101"/>
                        </a:lnTo>
                        <a:lnTo>
                          <a:pt x="0" y="667207"/>
                        </a:lnTo>
                        <a:lnTo>
                          <a:pt x="10236" y="667207"/>
                        </a:lnTo>
                        <a:lnTo>
                          <a:pt x="10236" y="662101"/>
                        </a:lnTo>
                        <a:close/>
                      </a:path>
                      <a:path w="685800" h="667384">
                        <a:moveTo>
                          <a:pt x="71653" y="662101"/>
                        </a:moveTo>
                        <a:lnTo>
                          <a:pt x="61417" y="662101"/>
                        </a:lnTo>
                        <a:lnTo>
                          <a:pt x="61417" y="667207"/>
                        </a:lnTo>
                        <a:lnTo>
                          <a:pt x="71653" y="667207"/>
                        </a:lnTo>
                        <a:lnTo>
                          <a:pt x="71653" y="662101"/>
                        </a:lnTo>
                        <a:close/>
                      </a:path>
                      <a:path w="685800" h="667384">
                        <a:moveTo>
                          <a:pt x="133070" y="662101"/>
                        </a:moveTo>
                        <a:lnTo>
                          <a:pt x="122834" y="662101"/>
                        </a:lnTo>
                        <a:lnTo>
                          <a:pt x="122834" y="667207"/>
                        </a:lnTo>
                        <a:lnTo>
                          <a:pt x="133070" y="667207"/>
                        </a:lnTo>
                        <a:lnTo>
                          <a:pt x="133070" y="662101"/>
                        </a:lnTo>
                        <a:close/>
                      </a:path>
                      <a:path w="685800" h="667384">
                        <a:moveTo>
                          <a:pt x="194475" y="662101"/>
                        </a:moveTo>
                        <a:lnTo>
                          <a:pt x="184251" y="662101"/>
                        </a:lnTo>
                        <a:lnTo>
                          <a:pt x="184251" y="667207"/>
                        </a:lnTo>
                        <a:lnTo>
                          <a:pt x="194475" y="667207"/>
                        </a:lnTo>
                        <a:lnTo>
                          <a:pt x="194475" y="662101"/>
                        </a:lnTo>
                        <a:close/>
                      </a:path>
                      <a:path w="685800" h="667384">
                        <a:moveTo>
                          <a:pt x="255892" y="662101"/>
                        </a:moveTo>
                        <a:lnTo>
                          <a:pt x="245656" y="662101"/>
                        </a:lnTo>
                        <a:lnTo>
                          <a:pt x="245656" y="667207"/>
                        </a:lnTo>
                        <a:lnTo>
                          <a:pt x="255892" y="667207"/>
                        </a:lnTo>
                        <a:lnTo>
                          <a:pt x="255892" y="662101"/>
                        </a:lnTo>
                        <a:close/>
                      </a:path>
                      <a:path w="685800" h="667384">
                        <a:moveTo>
                          <a:pt x="317309" y="662101"/>
                        </a:moveTo>
                        <a:lnTo>
                          <a:pt x="307073" y="662101"/>
                        </a:lnTo>
                        <a:lnTo>
                          <a:pt x="307073" y="667207"/>
                        </a:lnTo>
                        <a:lnTo>
                          <a:pt x="317309" y="667207"/>
                        </a:lnTo>
                        <a:lnTo>
                          <a:pt x="317309" y="662101"/>
                        </a:lnTo>
                        <a:close/>
                      </a:path>
                      <a:path w="685800" h="667384">
                        <a:moveTo>
                          <a:pt x="378726" y="662101"/>
                        </a:moveTo>
                        <a:lnTo>
                          <a:pt x="368490" y="662101"/>
                        </a:lnTo>
                        <a:lnTo>
                          <a:pt x="368490" y="667207"/>
                        </a:lnTo>
                        <a:lnTo>
                          <a:pt x="378726" y="667207"/>
                        </a:lnTo>
                        <a:lnTo>
                          <a:pt x="378726" y="662101"/>
                        </a:lnTo>
                        <a:close/>
                      </a:path>
                      <a:path w="685800" h="667384">
                        <a:moveTo>
                          <a:pt x="440143" y="662101"/>
                        </a:moveTo>
                        <a:lnTo>
                          <a:pt x="429907" y="662101"/>
                        </a:lnTo>
                        <a:lnTo>
                          <a:pt x="429907" y="667207"/>
                        </a:lnTo>
                        <a:lnTo>
                          <a:pt x="440143" y="667207"/>
                        </a:lnTo>
                        <a:lnTo>
                          <a:pt x="440143" y="662101"/>
                        </a:lnTo>
                        <a:close/>
                      </a:path>
                      <a:path w="685800" h="667384">
                        <a:moveTo>
                          <a:pt x="501548" y="662101"/>
                        </a:moveTo>
                        <a:lnTo>
                          <a:pt x="491312" y="662101"/>
                        </a:lnTo>
                        <a:lnTo>
                          <a:pt x="491312" y="667207"/>
                        </a:lnTo>
                        <a:lnTo>
                          <a:pt x="501548" y="667207"/>
                        </a:lnTo>
                        <a:lnTo>
                          <a:pt x="501548" y="662101"/>
                        </a:lnTo>
                        <a:close/>
                      </a:path>
                      <a:path w="685800" h="667384">
                        <a:moveTo>
                          <a:pt x="562965" y="662101"/>
                        </a:moveTo>
                        <a:lnTo>
                          <a:pt x="552729" y="662101"/>
                        </a:lnTo>
                        <a:lnTo>
                          <a:pt x="552729" y="667207"/>
                        </a:lnTo>
                        <a:lnTo>
                          <a:pt x="562965" y="667207"/>
                        </a:lnTo>
                        <a:lnTo>
                          <a:pt x="562965" y="662101"/>
                        </a:lnTo>
                        <a:close/>
                      </a:path>
                      <a:path w="685800" h="667384">
                        <a:moveTo>
                          <a:pt x="624382" y="662101"/>
                        </a:moveTo>
                        <a:lnTo>
                          <a:pt x="614146" y="662101"/>
                        </a:lnTo>
                        <a:lnTo>
                          <a:pt x="614146" y="667207"/>
                        </a:lnTo>
                        <a:lnTo>
                          <a:pt x="624382" y="667207"/>
                        </a:lnTo>
                        <a:lnTo>
                          <a:pt x="624382" y="662101"/>
                        </a:lnTo>
                        <a:close/>
                      </a:path>
                      <a:path w="685800" h="667384">
                        <a:moveTo>
                          <a:pt x="685800" y="656996"/>
                        </a:moveTo>
                        <a:lnTo>
                          <a:pt x="675563" y="656996"/>
                        </a:lnTo>
                        <a:lnTo>
                          <a:pt x="675563" y="667207"/>
                        </a:lnTo>
                        <a:lnTo>
                          <a:pt x="685800" y="667207"/>
                        </a:lnTo>
                        <a:lnTo>
                          <a:pt x="685800" y="656996"/>
                        </a:lnTo>
                        <a:close/>
                      </a:path>
                      <a:path w="685800" h="667384">
                        <a:moveTo>
                          <a:pt x="685800" y="0"/>
                        </a:moveTo>
                        <a:lnTo>
                          <a:pt x="675563" y="0"/>
                        </a:lnTo>
                        <a:lnTo>
                          <a:pt x="675563" y="10210"/>
                        </a:lnTo>
                        <a:lnTo>
                          <a:pt x="685800" y="10210"/>
                        </a:lnTo>
                        <a:lnTo>
                          <a:pt x="685800" y="0"/>
                        </a:lnTo>
                        <a:close/>
                      </a:path>
                    </a:pathLst>
                  </a:custGeom>
                  <a:solidFill>
                    <a:srgbClr val="C7C6C3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173" name="object 173"/>
                  <p:cNvSpPr/>
                  <p:nvPr/>
                </p:nvSpPr>
                <p:spPr>
                  <a:xfrm>
                    <a:off x="4995426" y="5955190"/>
                    <a:ext cx="646430" cy="115506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1155065">
                        <a:moveTo>
                          <a:pt x="646310" y="1154620"/>
                        </a:moveTo>
                        <a:lnTo>
                          <a:pt x="0" y="1154620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1154620"/>
                        </a:lnTo>
                        <a:close/>
                      </a:path>
                    </a:pathLst>
                  </a:custGeom>
                  <a:solidFill>
                    <a:srgbClr val="12239D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174" name="object 174"/>
                  <p:cNvSpPr/>
                  <p:nvPr/>
                </p:nvSpPr>
                <p:spPr>
                  <a:xfrm>
                    <a:off x="4995426" y="5889223"/>
                    <a:ext cx="646430" cy="660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66039">
                        <a:moveTo>
                          <a:pt x="646310" y="65966"/>
                        </a:moveTo>
                        <a:lnTo>
                          <a:pt x="0" y="65966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65966"/>
                        </a:lnTo>
                        <a:close/>
                      </a:path>
                    </a:pathLst>
                  </a:custGeom>
                  <a:solidFill>
                    <a:srgbClr val="118CFF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</p:grpSp>
            <p:sp>
              <p:nvSpPr>
                <p:cNvPr id="175" name="object 175"/>
                <p:cNvSpPr/>
                <p:nvPr/>
              </p:nvSpPr>
              <p:spPr>
                <a:xfrm>
                  <a:off x="5463554" y="6402157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grpSp>
              <p:nvGrpSpPr>
                <p:cNvPr id="176" name="object 176"/>
                <p:cNvGrpSpPr/>
                <p:nvPr/>
              </p:nvGrpSpPr>
              <p:grpSpPr>
                <a:xfrm>
                  <a:off x="5517743" y="4782723"/>
                  <a:ext cx="605118" cy="1628775"/>
                  <a:chOff x="5793813" y="5269346"/>
                  <a:chExt cx="685800" cy="1845945"/>
                </a:xfrm>
              </p:grpSpPr>
              <p:sp>
                <p:nvSpPr>
                  <p:cNvPr id="177" name="object 177"/>
                  <p:cNvSpPr/>
                  <p:nvPr/>
                </p:nvSpPr>
                <p:spPr>
                  <a:xfrm>
                    <a:off x="5793803" y="5790717"/>
                    <a:ext cx="685800" cy="132461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85800" h="1324609">
                        <a:moveTo>
                          <a:pt x="9499" y="656996"/>
                        </a:moveTo>
                        <a:lnTo>
                          <a:pt x="0" y="656996"/>
                        </a:lnTo>
                        <a:lnTo>
                          <a:pt x="0" y="667207"/>
                        </a:lnTo>
                        <a:lnTo>
                          <a:pt x="9499" y="667207"/>
                        </a:lnTo>
                        <a:lnTo>
                          <a:pt x="9499" y="656996"/>
                        </a:lnTo>
                        <a:close/>
                      </a:path>
                      <a:path w="685800" h="1324609">
                        <a:moveTo>
                          <a:pt x="9499" y="0"/>
                        </a:moveTo>
                        <a:lnTo>
                          <a:pt x="0" y="0"/>
                        </a:lnTo>
                        <a:lnTo>
                          <a:pt x="0" y="10210"/>
                        </a:lnTo>
                        <a:lnTo>
                          <a:pt x="9499" y="10210"/>
                        </a:lnTo>
                        <a:lnTo>
                          <a:pt x="9499" y="0"/>
                        </a:lnTo>
                        <a:close/>
                      </a:path>
                      <a:path w="685800" h="1324609">
                        <a:moveTo>
                          <a:pt x="10236" y="1313992"/>
                        </a:moveTo>
                        <a:lnTo>
                          <a:pt x="0" y="1313992"/>
                        </a:lnTo>
                        <a:lnTo>
                          <a:pt x="0" y="1319098"/>
                        </a:lnTo>
                        <a:lnTo>
                          <a:pt x="0" y="1324203"/>
                        </a:lnTo>
                        <a:lnTo>
                          <a:pt x="10236" y="1324203"/>
                        </a:lnTo>
                        <a:lnTo>
                          <a:pt x="10236" y="1319098"/>
                        </a:lnTo>
                        <a:lnTo>
                          <a:pt x="10236" y="1313992"/>
                        </a:lnTo>
                        <a:close/>
                      </a:path>
                      <a:path w="685800" h="1324609">
                        <a:moveTo>
                          <a:pt x="71653" y="1319098"/>
                        </a:moveTo>
                        <a:lnTo>
                          <a:pt x="61417" y="1319098"/>
                        </a:lnTo>
                        <a:lnTo>
                          <a:pt x="61417" y="1324203"/>
                        </a:lnTo>
                        <a:lnTo>
                          <a:pt x="71653" y="1324203"/>
                        </a:lnTo>
                        <a:lnTo>
                          <a:pt x="71653" y="1319098"/>
                        </a:lnTo>
                        <a:close/>
                      </a:path>
                      <a:path w="685800" h="1324609">
                        <a:moveTo>
                          <a:pt x="133070" y="1319098"/>
                        </a:moveTo>
                        <a:lnTo>
                          <a:pt x="122834" y="1319098"/>
                        </a:lnTo>
                        <a:lnTo>
                          <a:pt x="122834" y="1324203"/>
                        </a:lnTo>
                        <a:lnTo>
                          <a:pt x="133070" y="1324203"/>
                        </a:lnTo>
                        <a:lnTo>
                          <a:pt x="133070" y="1319098"/>
                        </a:lnTo>
                        <a:close/>
                      </a:path>
                      <a:path w="685800" h="1324609">
                        <a:moveTo>
                          <a:pt x="194487" y="1319098"/>
                        </a:moveTo>
                        <a:lnTo>
                          <a:pt x="184251" y="1319098"/>
                        </a:lnTo>
                        <a:lnTo>
                          <a:pt x="184251" y="1324203"/>
                        </a:lnTo>
                        <a:lnTo>
                          <a:pt x="194487" y="1324203"/>
                        </a:lnTo>
                        <a:lnTo>
                          <a:pt x="194487" y="1319098"/>
                        </a:lnTo>
                        <a:close/>
                      </a:path>
                      <a:path w="685800" h="1324609">
                        <a:moveTo>
                          <a:pt x="255892" y="1319098"/>
                        </a:moveTo>
                        <a:lnTo>
                          <a:pt x="245656" y="1319098"/>
                        </a:lnTo>
                        <a:lnTo>
                          <a:pt x="245656" y="1324203"/>
                        </a:lnTo>
                        <a:lnTo>
                          <a:pt x="255892" y="1324203"/>
                        </a:lnTo>
                        <a:lnTo>
                          <a:pt x="255892" y="1319098"/>
                        </a:lnTo>
                        <a:close/>
                      </a:path>
                      <a:path w="685800" h="1324609">
                        <a:moveTo>
                          <a:pt x="317309" y="1319098"/>
                        </a:moveTo>
                        <a:lnTo>
                          <a:pt x="307073" y="1319098"/>
                        </a:lnTo>
                        <a:lnTo>
                          <a:pt x="307073" y="1324203"/>
                        </a:lnTo>
                        <a:lnTo>
                          <a:pt x="317309" y="1324203"/>
                        </a:lnTo>
                        <a:lnTo>
                          <a:pt x="317309" y="1319098"/>
                        </a:lnTo>
                        <a:close/>
                      </a:path>
                      <a:path w="685800" h="1324609">
                        <a:moveTo>
                          <a:pt x="378726" y="1319098"/>
                        </a:moveTo>
                        <a:lnTo>
                          <a:pt x="368490" y="1319098"/>
                        </a:lnTo>
                        <a:lnTo>
                          <a:pt x="368490" y="1324203"/>
                        </a:lnTo>
                        <a:lnTo>
                          <a:pt x="378726" y="1324203"/>
                        </a:lnTo>
                        <a:lnTo>
                          <a:pt x="378726" y="1319098"/>
                        </a:lnTo>
                        <a:close/>
                      </a:path>
                      <a:path w="685800" h="1324609">
                        <a:moveTo>
                          <a:pt x="440143" y="1319098"/>
                        </a:moveTo>
                        <a:lnTo>
                          <a:pt x="429907" y="1319098"/>
                        </a:lnTo>
                        <a:lnTo>
                          <a:pt x="429907" y="1324203"/>
                        </a:lnTo>
                        <a:lnTo>
                          <a:pt x="440143" y="1324203"/>
                        </a:lnTo>
                        <a:lnTo>
                          <a:pt x="440143" y="1319098"/>
                        </a:lnTo>
                        <a:close/>
                      </a:path>
                      <a:path w="685800" h="1324609">
                        <a:moveTo>
                          <a:pt x="501548" y="1319098"/>
                        </a:moveTo>
                        <a:lnTo>
                          <a:pt x="491312" y="1319098"/>
                        </a:lnTo>
                        <a:lnTo>
                          <a:pt x="491312" y="1324203"/>
                        </a:lnTo>
                        <a:lnTo>
                          <a:pt x="501548" y="1324203"/>
                        </a:lnTo>
                        <a:lnTo>
                          <a:pt x="501548" y="1319098"/>
                        </a:lnTo>
                        <a:close/>
                      </a:path>
                      <a:path w="685800" h="1324609">
                        <a:moveTo>
                          <a:pt x="562965" y="1319098"/>
                        </a:moveTo>
                        <a:lnTo>
                          <a:pt x="552729" y="1319098"/>
                        </a:lnTo>
                        <a:lnTo>
                          <a:pt x="552729" y="1324203"/>
                        </a:lnTo>
                        <a:lnTo>
                          <a:pt x="562965" y="1324203"/>
                        </a:lnTo>
                        <a:lnTo>
                          <a:pt x="562965" y="1319098"/>
                        </a:lnTo>
                        <a:close/>
                      </a:path>
                      <a:path w="685800" h="1324609">
                        <a:moveTo>
                          <a:pt x="624382" y="1319098"/>
                        </a:moveTo>
                        <a:lnTo>
                          <a:pt x="614146" y="1319098"/>
                        </a:lnTo>
                        <a:lnTo>
                          <a:pt x="614146" y="1324203"/>
                        </a:lnTo>
                        <a:lnTo>
                          <a:pt x="624382" y="1324203"/>
                        </a:lnTo>
                        <a:lnTo>
                          <a:pt x="624382" y="1319098"/>
                        </a:lnTo>
                        <a:close/>
                      </a:path>
                      <a:path w="685800" h="1324609">
                        <a:moveTo>
                          <a:pt x="685800" y="1313992"/>
                        </a:moveTo>
                        <a:lnTo>
                          <a:pt x="675563" y="1313992"/>
                        </a:lnTo>
                        <a:lnTo>
                          <a:pt x="675563" y="1324203"/>
                        </a:lnTo>
                        <a:lnTo>
                          <a:pt x="685800" y="1324203"/>
                        </a:lnTo>
                        <a:lnTo>
                          <a:pt x="685800" y="1313992"/>
                        </a:lnTo>
                        <a:close/>
                      </a:path>
                      <a:path w="685800" h="1324609">
                        <a:moveTo>
                          <a:pt x="685800" y="656996"/>
                        </a:moveTo>
                        <a:lnTo>
                          <a:pt x="675563" y="656996"/>
                        </a:lnTo>
                        <a:lnTo>
                          <a:pt x="675563" y="667207"/>
                        </a:lnTo>
                        <a:lnTo>
                          <a:pt x="685800" y="667207"/>
                        </a:lnTo>
                        <a:lnTo>
                          <a:pt x="685800" y="656996"/>
                        </a:lnTo>
                        <a:close/>
                      </a:path>
                      <a:path w="685800" h="1324609">
                        <a:moveTo>
                          <a:pt x="685800" y="0"/>
                        </a:moveTo>
                        <a:lnTo>
                          <a:pt x="675563" y="0"/>
                        </a:lnTo>
                        <a:lnTo>
                          <a:pt x="675563" y="10210"/>
                        </a:lnTo>
                        <a:lnTo>
                          <a:pt x="685800" y="10210"/>
                        </a:lnTo>
                        <a:lnTo>
                          <a:pt x="685800" y="0"/>
                        </a:lnTo>
                        <a:close/>
                      </a:path>
                    </a:pathLst>
                  </a:custGeom>
                  <a:solidFill>
                    <a:srgbClr val="C7C6C3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178" name="object 178"/>
                  <p:cNvSpPr/>
                  <p:nvPr/>
                </p:nvSpPr>
                <p:spPr>
                  <a:xfrm>
                    <a:off x="5803315" y="5502707"/>
                    <a:ext cx="646430" cy="160718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1607184">
                        <a:moveTo>
                          <a:pt x="646310" y="1607103"/>
                        </a:moveTo>
                        <a:lnTo>
                          <a:pt x="0" y="1607103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1607103"/>
                        </a:lnTo>
                        <a:close/>
                      </a:path>
                    </a:pathLst>
                  </a:custGeom>
                  <a:solidFill>
                    <a:srgbClr val="12239D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179" name="object 179"/>
                  <p:cNvSpPr/>
                  <p:nvPr/>
                </p:nvSpPr>
                <p:spPr>
                  <a:xfrm>
                    <a:off x="5803315" y="5269346"/>
                    <a:ext cx="646430" cy="23367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233679">
                        <a:moveTo>
                          <a:pt x="646310" y="233360"/>
                        </a:moveTo>
                        <a:lnTo>
                          <a:pt x="0" y="233360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233360"/>
                        </a:lnTo>
                        <a:close/>
                      </a:path>
                    </a:pathLst>
                  </a:custGeom>
                  <a:solidFill>
                    <a:srgbClr val="118CFF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</p:grpSp>
            <p:sp>
              <p:nvSpPr>
                <p:cNvPr id="180" name="object 180"/>
                <p:cNvSpPr/>
                <p:nvPr/>
              </p:nvSpPr>
              <p:spPr>
                <a:xfrm>
                  <a:off x="6168014" y="6402157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grpSp>
              <p:nvGrpSpPr>
                <p:cNvPr id="181" name="object 181"/>
                <p:cNvGrpSpPr/>
                <p:nvPr/>
              </p:nvGrpSpPr>
              <p:grpSpPr>
                <a:xfrm>
                  <a:off x="6222202" y="5665226"/>
                  <a:ext cx="605118" cy="746311"/>
                  <a:chOff x="6592199" y="6269516"/>
                  <a:chExt cx="685800" cy="845819"/>
                </a:xfrm>
              </p:grpSpPr>
              <p:sp>
                <p:nvSpPr>
                  <p:cNvPr id="182" name="object 182"/>
                  <p:cNvSpPr/>
                  <p:nvPr/>
                </p:nvSpPr>
                <p:spPr>
                  <a:xfrm>
                    <a:off x="6592189" y="6447713"/>
                    <a:ext cx="685800" cy="66738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85800" h="667384">
                        <a:moveTo>
                          <a:pt x="10236" y="656996"/>
                        </a:moveTo>
                        <a:lnTo>
                          <a:pt x="0" y="656996"/>
                        </a:lnTo>
                        <a:lnTo>
                          <a:pt x="0" y="667207"/>
                        </a:lnTo>
                        <a:lnTo>
                          <a:pt x="10236" y="667207"/>
                        </a:lnTo>
                        <a:lnTo>
                          <a:pt x="10236" y="656996"/>
                        </a:lnTo>
                        <a:close/>
                      </a:path>
                      <a:path w="685800" h="667384">
                        <a:moveTo>
                          <a:pt x="10236" y="0"/>
                        </a:moveTo>
                        <a:lnTo>
                          <a:pt x="0" y="0"/>
                        </a:lnTo>
                        <a:lnTo>
                          <a:pt x="0" y="10210"/>
                        </a:lnTo>
                        <a:lnTo>
                          <a:pt x="10236" y="10210"/>
                        </a:lnTo>
                        <a:lnTo>
                          <a:pt x="10236" y="0"/>
                        </a:lnTo>
                        <a:close/>
                      </a:path>
                      <a:path w="685800" h="667384">
                        <a:moveTo>
                          <a:pt x="71653" y="662101"/>
                        </a:moveTo>
                        <a:lnTo>
                          <a:pt x="61417" y="662101"/>
                        </a:lnTo>
                        <a:lnTo>
                          <a:pt x="61417" y="667207"/>
                        </a:lnTo>
                        <a:lnTo>
                          <a:pt x="71653" y="667207"/>
                        </a:lnTo>
                        <a:lnTo>
                          <a:pt x="71653" y="662101"/>
                        </a:lnTo>
                        <a:close/>
                      </a:path>
                      <a:path w="685800" h="667384">
                        <a:moveTo>
                          <a:pt x="133070" y="662101"/>
                        </a:moveTo>
                        <a:lnTo>
                          <a:pt x="122834" y="662101"/>
                        </a:lnTo>
                        <a:lnTo>
                          <a:pt x="122834" y="667207"/>
                        </a:lnTo>
                        <a:lnTo>
                          <a:pt x="133070" y="667207"/>
                        </a:lnTo>
                        <a:lnTo>
                          <a:pt x="133070" y="662101"/>
                        </a:lnTo>
                        <a:close/>
                      </a:path>
                      <a:path w="685800" h="667384">
                        <a:moveTo>
                          <a:pt x="194487" y="662101"/>
                        </a:moveTo>
                        <a:lnTo>
                          <a:pt x="184251" y="662101"/>
                        </a:lnTo>
                        <a:lnTo>
                          <a:pt x="184251" y="667207"/>
                        </a:lnTo>
                        <a:lnTo>
                          <a:pt x="194487" y="667207"/>
                        </a:lnTo>
                        <a:lnTo>
                          <a:pt x="194487" y="662101"/>
                        </a:lnTo>
                        <a:close/>
                      </a:path>
                      <a:path w="685800" h="667384">
                        <a:moveTo>
                          <a:pt x="255892" y="662101"/>
                        </a:moveTo>
                        <a:lnTo>
                          <a:pt x="245656" y="662101"/>
                        </a:lnTo>
                        <a:lnTo>
                          <a:pt x="245656" y="667207"/>
                        </a:lnTo>
                        <a:lnTo>
                          <a:pt x="255892" y="667207"/>
                        </a:lnTo>
                        <a:lnTo>
                          <a:pt x="255892" y="662101"/>
                        </a:lnTo>
                        <a:close/>
                      </a:path>
                      <a:path w="685800" h="667384">
                        <a:moveTo>
                          <a:pt x="317309" y="662101"/>
                        </a:moveTo>
                        <a:lnTo>
                          <a:pt x="307073" y="662101"/>
                        </a:lnTo>
                        <a:lnTo>
                          <a:pt x="307073" y="667207"/>
                        </a:lnTo>
                        <a:lnTo>
                          <a:pt x="317309" y="667207"/>
                        </a:lnTo>
                        <a:lnTo>
                          <a:pt x="317309" y="662101"/>
                        </a:lnTo>
                        <a:close/>
                      </a:path>
                      <a:path w="685800" h="667384">
                        <a:moveTo>
                          <a:pt x="378726" y="662101"/>
                        </a:moveTo>
                        <a:lnTo>
                          <a:pt x="368490" y="662101"/>
                        </a:lnTo>
                        <a:lnTo>
                          <a:pt x="368490" y="667207"/>
                        </a:lnTo>
                        <a:lnTo>
                          <a:pt x="378726" y="667207"/>
                        </a:lnTo>
                        <a:lnTo>
                          <a:pt x="378726" y="662101"/>
                        </a:lnTo>
                        <a:close/>
                      </a:path>
                      <a:path w="685800" h="667384">
                        <a:moveTo>
                          <a:pt x="440143" y="662101"/>
                        </a:moveTo>
                        <a:lnTo>
                          <a:pt x="429907" y="662101"/>
                        </a:lnTo>
                        <a:lnTo>
                          <a:pt x="429907" y="667207"/>
                        </a:lnTo>
                        <a:lnTo>
                          <a:pt x="440143" y="667207"/>
                        </a:lnTo>
                        <a:lnTo>
                          <a:pt x="440143" y="662101"/>
                        </a:lnTo>
                        <a:close/>
                      </a:path>
                      <a:path w="685800" h="667384">
                        <a:moveTo>
                          <a:pt x="501548" y="662101"/>
                        </a:moveTo>
                        <a:lnTo>
                          <a:pt x="491324" y="662101"/>
                        </a:lnTo>
                        <a:lnTo>
                          <a:pt x="491324" y="667207"/>
                        </a:lnTo>
                        <a:lnTo>
                          <a:pt x="501548" y="667207"/>
                        </a:lnTo>
                        <a:lnTo>
                          <a:pt x="501548" y="662101"/>
                        </a:lnTo>
                        <a:close/>
                      </a:path>
                      <a:path w="685800" h="667384">
                        <a:moveTo>
                          <a:pt x="562965" y="662101"/>
                        </a:moveTo>
                        <a:lnTo>
                          <a:pt x="552729" y="662101"/>
                        </a:lnTo>
                        <a:lnTo>
                          <a:pt x="552729" y="667207"/>
                        </a:lnTo>
                        <a:lnTo>
                          <a:pt x="562965" y="667207"/>
                        </a:lnTo>
                        <a:lnTo>
                          <a:pt x="562965" y="662101"/>
                        </a:lnTo>
                        <a:close/>
                      </a:path>
                      <a:path w="685800" h="667384">
                        <a:moveTo>
                          <a:pt x="624382" y="662101"/>
                        </a:moveTo>
                        <a:lnTo>
                          <a:pt x="614146" y="662101"/>
                        </a:lnTo>
                        <a:lnTo>
                          <a:pt x="614146" y="667207"/>
                        </a:lnTo>
                        <a:lnTo>
                          <a:pt x="624382" y="667207"/>
                        </a:lnTo>
                        <a:lnTo>
                          <a:pt x="624382" y="662101"/>
                        </a:lnTo>
                        <a:close/>
                      </a:path>
                      <a:path w="685800" h="667384">
                        <a:moveTo>
                          <a:pt x="685800" y="656996"/>
                        </a:moveTo>
                        <a:lnTo>
                          <a:pt x="675563" y="656996"/>
                        </a:lnTo>
                        <a:lnTo>
                          <a:pt x="675563" y="667207"/>
                        </a:lnTo>
                        <a:lnTo>
                          <a:pt x="685800" y="667207"/>
                        </a:lnTo>
                        <a:lnTo>
                          <a:pt x="685800" y="656996"/>
                        </a:lnTo>
                        <a:close/>
                      </a:path>
                      <a:path w="685800" h="667384">
                        <a:moveTo>
                          <a:pt x="685800" y="0"/>
                        </a:moveTo>
                        <a:lnTo>
                          <a:pt x="675563" y="0"/>
                        </a:lnTo>
                        <a:lnTo>
                          <a:pt x="675563" y="10210"/>
                        </a:lnTo>
                        <a:lnTo>
                          <a:pt x="685800" y="10210"/>
                        </a:lnTo>
                        <a:lnTo>
                          <a:pt x="685800" y="0"/>
                        </a:lnTo>
                        <a:close/>
                      </a:path>
                    </a:pathLst>
                  </a:custGeom>
                  <a:solidFill>
                    <a:srgbClr val="C7C6C3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183" name="object 183"/>
                  <p:cNvSpPr/>
                  <p:nvPr/>
                </p:nvSpPr>
                <p:spPr>
                  <a:xfrm>
                    <a:off x="6611204" y="6471024"/>
                    <a:ext cx="646430" cy="63881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638809">
                        <a:moveTo>
                          <a:pt x="646310" y="638785"/>
                        </a:moveTo>
                        <a:lnTo>
                          <a:pt x="0" y="638785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638785"/>
                        </a:lnTo>
                        <a:close/>
                      </a:path>
                    </a:pathLst>
                  </a:custGeom>
                  <a:solidFill>
                    <a:srgbClr val="12239D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184" name="object 184"/>
                  <p:cNvSpPr/>
                  <p:nvPr/>
                </p:nvSpPr>
                <p:spPr>
                  <a:xfrm>
                    <a:off x="6611204" y="6269516"/>
                    <a:ext cx="646430" cy="20193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201929">
                        <a:moveTo>
                          <a:pt x="646310" y="201508"/>
                        </a:moveTo>
                        <a:lnTo>
                          <a:pt x="0" y="201508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201508"/>
                        </a:lnTo>
                        <a:close/>
                      </a:path>
                    </a:pathLst>
                  </a:custGeom>
                  <a:solidFill>
                    <a:srgbClr val="118CFF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</p:grpSp>
            <p:sp>
              <p:nvSpPr>
                <p:cNvPr id="185" name="object 185"/>
                <p:cNvSpPr/>
                <p:nvPr/>
              </p:nvSpPr>
              <p:spPr>
                <a:xfrm>
                  <a:off x="6872473" y="6402157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grpSp>
              <p:nvGrpSpPr>
                <p:cNvPr id="186" name="object 186"/>
                <p:cNvGrpSpPr/>
                <p:nvPr/>
              </p:nvGrpSpPr>
              <p:grpSpPr>
                <a:xfrm>
                  <a:off x="6926661" y="6137795"/>
                  <a:ext cx="605118" cy="273424"/>
                  <a:chOff x="7390586" y="6805095"/>
                  <a:chExt cx="685800" cy="309880"/>
                </a:xfrm>
              </p:grpSpPr>
              <p:sp>
                <p:nvSpPr>
                  <p:cNvPr id="187" name="object 187"/>
                  <p:cNvSpPr/>
                  <p:nvPr/>
                </p:nvSpPr>
                <p:spPr>
                  <a:xfrm>
                    <a:off x="7390574" y="7104709"/>
                    <a:ext cx="685800" cy="107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85800" h="10795">
                        <a:moveTo>
                          <a:pt x="10236" y="0"/>
                        </a:moveTo>
                        <a:lnTo>
                          <a:pt x="0" y="0"/>
                        </a:lnTo>
                        <a:lnTo>
                          <a:pt x="0" y="10210"/>
                        </a:lnTo>
                        <a:lnTo>
                          <a:pt x="10236" y="10210"/>
                        </a:lnTo>
                        <a:lnTo>
                          <a:pt x="10236" y="0"/>
                        </a:lnTo>
                        <a:close/>
                      </a:path>
                      <a:path w="685800" h="10795">
                        <a:moveTo>
                          <a:pt x="71653" y="5105"/>
                        </a:moveTo>
                        <a:lnTo>
                          <a:pt x="61417" y="5105"/>
                        </a:lnTo>
                        <a:lnTo>
                          <a:pt x="61417" y="10210"/>
                        </a:lnTo>
                        <a:lnTo>
                          <a:pt x="71653" y="10210"/>
                        </a:lnTo>
                        <a:lnTo>
                          <a:pt x="71653" y="5105"/>
                        </a:lnTo>
                        <a:close/>
                      </a:path>
                      <a:path w="685800" h="10795">
                        <a:moveTo>
                          <a:pt x="133070" y="5105"/>
                        </a:moveTo>
                        <a:lnTo>
                          <a:pt x="122834" y="5105"/>
                        </a:lnTo>
                        <a:lnTo>
                          <a:pt x="122834" y="10210"/>
                        </a:lnTo>
                        <a:lnTo>
                          <a:pt x="133070" y="10210"/>
                        </a:lnTo>
                        <a:lnTo>
                          <a:pt x="133070" y="5105"/>
                        </a:lnTo>
                        <a:close/>
                      </a:path>
                      <a:path w="685800" h="10795">
                        <a:moveTo>
                          <a:pt x="194487" y="5105"/>
                        </a:moveTo>
                        <a:lnTo>
                          <a:pt x="184251" y="5105"/>
                        </a:lnTo>
                        <a:lnTo>
                          <a:pt x="184251" y="10210"/>
                        </a:lnTo>
                        <a:lnTo>
                          <a:pt x="194487" y="10210"/>
                        </a:lnTo>
                        <a:lnTo>
                          <a:pt x="194487" y="5105"/>
                        </a:lnTo>
                        <a:close/>
                      </a:path>
                      <a:path w="685800" h="10795">
                        <a:moveTo>
                          <a:pt x="255892" y="5105"/>
                        </a:moveTo>
                        <a:lnTo>
                          <a:pt x="245668" y="5105"/>
                        </a:lnTo>
                        <a:lnTo>
                          <a:pt x="245668" y="10210"/>
                        </a:lnTo>
                        <a:lnTo>
                          <a:pt x="255892" y="10210"/>
                        </a:lnTo>
                        <a:lnTo>
                          <a:pt x="255892" y="5105"/>
                        </a:lnTo>
                        <a:close/>
                      </a:path>
                      <a:path w="685800" h="10795">
                        <a:moveTo>
                          <a:pt x="317309" y="5105"/>
                        </a:moveTo>
                        <a:lnTo>
                          <a:pt x="307073" y="5105"/>
                        </a:lnTo>
                        <a:lnTo>
                          <a:pt x="307073" y="10210"/>
                        </a:lnTo>
                        <a:lnTo>
                          <a:pt x="317309" y="10210"/>
                        </a:lnTo>
                        <a:lnTo>
                          <a:pt x="317309" y="5105"/>
                        </a:lnTo>
                        <a:close/>
                      </a:path>
                      <a:path w="685800" h="10795">
                        <a:moveTo>
                          <a:pt x="378726" y="5105"/>
                        </a:moveTo>
                        <a:lnTo>
                          <a:pt x="368490" y="5105"/>
                        </a:lnTo>
                        <a:lnTo>
                          <a:pt x="368490" y="10210"/>
                        </a:lnTo>
                        <a:lnTo>
                          <a:pt x="378726" y="10210"/>
                        </a:lnTo>
                        <a:lnTo>
                          <a:pt x="378726" y="5105"/>
                        </a:lnTo>
                        <a:close/>
                      </a:path>
                      <a:path w="685800" h="10795">
                        <a:moveTo>
                          <a:pt x="440143" y="5105"/>
                        </a:moveTo>
                        <a:lnTo>
                          <a:pt x="429907" y="5105"/>
                        </a:lnTo>
                        <a:lnTo>
                          <a:pt x="429907" y="10210"/>
                        </a:lnTo>
                        <a:lnTo>
                          <a:pt x="440143" y="10210"/>
                        </a:lnTo>
                        <a:lnTo>
                          <a:pt x="440143" y="5105"/>
                        </a:lnTo>
                        <a:close/>
                      </a:path>
                      <a:path w="685800" h="10795">
                        <a:moveTo>
                          <a:pt x="501561" y="5105"/>
                        </a:moveTo>
                        <a:lnTo>
                          <a:pt x="491324" y="5105"/>
                        </a:lnTo>
                        <a:lnTo>
                          <a:pt x="491324" y="10210"/>
                        </a:lnTo>
                        <a:lnTo>
                          <a:pt x="501561" y="10210"/>
                        </a:lnTo>
                        <a:lnTo>
                          <a:pt x="501561" y="5105"/>
                        </a:lnTo>
                        <a:close/>
                      </a:path>
                      <a:path w="685800" h="10795">
                        <a:moveTo>
                          <a:pt x="562965" y="5105"/>
                        </a:moveTo>
                        <a:lnTo>
                          <a:pt x="552729" y="5105"/>
                        </a:lnTo>
                        <a:lnTo>
                          <a:pt x="552729" y="10210"/>
                        </a:lnTo>
                        <a:lnTo>
                          <a:pt x="562965" y="10210"/>
                        </a:lnTo>
                        <a:lnTo>
                          <a:pt x="562965" y="5105"/>
                        </a:lnTo>
                        <a:close/>
                      </a:path>
                      <a:path w="685800" h="10795">
                        <a:moveTo>
                          <a:pt x="624382" y="5105"/>
                        </a:moveTo>
                        <a:lnTo>
                          <a:pt x="614146" y="5105"/>
                        </a:lnTo>
                        <a:lnTo>
                          <a:pt x="614146" y="10210"/>
                        </a:lnTo>
                        <a:lnTo>
                          <a:pt x="624382" y="10210"/>
                        </a:lnTo>
                        <a:lnTo>
                          <a:pt x="624382" y="5105"/>
                        </a:lnTo>
                        <a:close/>
                      </a:path>
                      <a:path w="685800" h="10795">
                        <a:moveTo>
                          <a:pt x="685800" y="0"/>
                        </a:moveTo>
                        <a:lnTo>
                          <a:pt x="675563" y="0"/>
                        </a:lnTo>
                        <a:lnTo>
                          <a:pt x="675563" y="10210"/>
                        </a:lnTo>
                        <a:lnTo>
                          <a:pt x="685800" y="10210"/>
                        </a:lnTo>
                        <a:lnTo>
                          <a:pt x="685800" y="0"/>
                        </a:lnTo>
                        <a:close/>
                      </a:path>
                    </a:pathLst>
                  </a:custGeom>
                  <a:solidFill>
                    <a:srgbClr val="C7C6C3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188" name="object 188"/>
                  <p:cNvSpPr/>
                  <p:nvPr/>
                </p:nvSpPr>
                <p:spPr>
                  <a:xfrm>
                    <a:off x="7419092" y="6921675"/>
                    <a:ext cx="646430" cy="1885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188595">
                        <a:moveTo>
                          <a:pt x="646310" y="188134"/>
                        </a:moveTo>
                        <a:lnTo>
                          <a:pt x="0" y="188134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188134"/>
                        </a:lnTo>
                        <a:close/>
                      </a:path>
                    </a:pathLst>
                  </a:custGeom>
                  <a:solidFill>
                    <a:srgbClr val="12239D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189" name="object 189"/>
                  <p:cNvSpPr/>
                  <p:nvPr/>
                </p:nvSpPr>
                <p:spPr>
                  <a:xfrm>
                    <a:off x="7419092" y="6805095"/>
                    <a:ext cx="646430" cy="11683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116840">
                        <a:moveTo>
                          <a:pt x="646310" y="116580"/>
                        </a:moveTo>
                        <a:lnTo>
                          <a:pt x="0" y="116580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116580"/>
                        </a:lnTo>
                        <a:close/>
                      </a:path>
                    </a:pathLst>
                  </a:custGeom>
                  <a:solidFill>
                    <a:srgbClr val="118CFF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</p:grpSp>
            <p:sp>
              <p:nvSpPr>
                <p:cNvPr id="190" name="object 190"/>
                <p:cNvSpPr/>
                <p:nvPr/>
              </p:nvSpPr>
              <p:spPr>
                <a:xfrm>
                  <a:off x="7576931" y="6402157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grpSp>
              <p:nvGrpSpPr>
                <p:cNvPr id="191" name="object 191"/>
                <p:cNvGrpSpPr/>
                <p:nvPr/>
              </p:nvGrpSpPr>
              <p:grpSpPr>
                <a:xfrm>
                  <a:off x="7631119" y="6281810"/>
                  <a:ext cx="605118" cy="129428"/>
                  <a:chOff x="8188972" y="6968311"/>
                  <a:chExt cx="685800" cy="146685"/>
                </a:xfrm>
              </p:grpSpPr>
              <p:sp>
                <p:nvSpPr>
                  <p:cNvPr id="192" name="object 192"/>
                  <p:cNvSpPr/>
                  <p:nvPr/>
                </p:nvSpPr>
                <p:spPr>
                  <a:xfrm>
                    <a:off x="8188960" y="7104709"/>
                    <a:ext cx="685800" cy="107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85800" h="10795">
                        <a:moveTo>
                          <a:pt x="10236" y="0"/>
                        </a:moveTo>
                        <a:lnTo>
                          <a:pt x="0" y="0"/>
                        </a:lnTo>
                        <a:lnTo>
                          <a:pt x="0" y="10210"/>
                        </a:lnTo>
                        <a:lnTo>
                          <a:pt x="10236" y="10210"/>
                        </a:lnTo>
                        <a:lnTo>
                          <a:pt x="10236" y="0"/>
                        </a:lnTo>
                        <a:close/>
                      </a:path>
                      <a:path w="685800" h="10795">
                        <a:moveTo>
                          <a:pt x="71653" y="5105"/>
                        </a:moveTo>
                        <a:lnTo>
                          <a:pt x="61417" y="5105"/>
                        </a:lnTo>
                        <a:lnTo>
                          <a:pt x="61417" y="10210"/>
                        </a:lnTo>
                        <a:lnTo>
                          <a:pt x="71653" y="10210"/>
                        </a:lnTo>
                        <a:lnTo>
                          <a:pt x="71653" y="5105"/>
                        </a:lnTo>
                        <a:close/>
                      </a:path>
                      <a:path w="685800" h="10795">
                        <a:moveTo>
                          <a:pt x="133070" y="5105"/>
                        </a:moveTo>
                        <a:lnTo>
                          <a:pt x="122834" y="5105"/>
                        </a:lnTo>
                        <a:lnTo>
                          <a:pt x="122834" y="10210"/>
                        </a:lnTo>
                        <a:lnTo>
                          <a:pt x="133070" y="10210"/>
                        </a:lnTo>
                        <a:lnTo>
                          <a:pt x="133070" y="5105"/>
                        </a:lnTo>
                        <a:close/>
                      </a:path>
                      <a:path w="685800" h="10795">
                        <a:moveTo>
                          <a:pt x="194487" y="5105"/>
                        </a:moveTo>
                        <a:lnTo>
                          <a:pt x="184251" y="5105"/>
                        </a:lnTo>
                        <a:lnTo>
                          <a:pt x="184251" y="10210"/>
                        </a:lnTo>
                        <a:lnTo>
                          <a:pt x="194487" y="10210"/>
                        </a:lnTo>
                        <a:lnTo>
                          <a:pt x="194487" y="5105"/>
                        </a:lnTo>
                        <a:close/>
                      </a:path>
                      <a:path w="685800" h="10795">
                        <a:moveTo>
                          <a:pt x="255905" y="5105"/>
                        </a:moveTo>
                        <a:lnTo>
                          <a:pt x="245668" y="5105"/>
                        </a:lnTo>
                        <a:lnTo>
                          <a:pt x="245668" y="10210"/>
                        </a:lnTo>
                        <a:lnTo>
                          <a:pt x="255905" y="10210"/>
                        </a:lnTo>
                        <a:lnTo>
                          <a:pt x="255905" y="5105"/>
                        </a:lnTo>
                        <a:close/>
                      </a:path>
                      <a:path w="685800" h="10795">
                        <a:moveTo>
                          <a:pt x="317309" y="5105"/>
                        </a:moveTo>
                        <a:lnTo>
                          <a:pt x="307073" y="5105"/>
                        </a:lnTo>
                        <a:lnTo>
                          <a:pt x="307073" y="10210"/>
                        </a:lnTo>
                        <a:lnTo>
                          <a:pt x="317309" y="10210"/>
                        </a:lnTo>
                        <a:lnTo>
                          <a:pt x="317309" y="5105"/>
                        </a:lnTo>
                        <a:close/>
                      </a:path>
                      <a:path w="685800" h="10795">
                        <a:moveTo>
                          <a:pt x="378726" y="5105"/>
                        </a:moveTo>
                        <a:lnTo>
                          <a:pt x="368490" y="5105"/>
                        </a:lnTo>
                        <a:lnTo>
                          <a:pt x="368490" y="10210"/>
                        </a:lnTo>
                        <a:lnTo>
                          <a:pt x="378726" y="10210"/>
                        </a:lnTo>
                        <a:lnTo>
                          <a:pt x="378726" y="5105"/>
                        </a:lnTo>
                        <a:close/>
                      </a:path>
                      <a:path w="685800" h="10795">
                        <a:moveTo>
                          <a:pt x="440143" y="5105"/>
                        </a:moveTo>
                        <a:lnTo>
                          <a:pt x="429907" y="5105"/>
                        </a:lnTo>
                        <a:lnTo>
                          <a:pt x="429907" y="10210"/>
                        </a:lnTo>
                        <a:lnTo>
                          <a:pt x="440143" y="10210"/>
                        </a:lnTo>
                        <a:lnTo>
                          <a:pt x="440143" y="5105"/>
                        </a:lnTo>
                        <a:close/>
                      </a:path>
                      <a:path w="685800" h="10795">
                        <a:moveTo>
                          <a:pt x="501561" y="5105"/>
                        </a:moveTo>
                        <a:lnTo>
                          <a:pt x="491324" y="5105"/>
                        </a:lnTo>
                        <a:lnTo>
                          <a:pt x="491324" y="10210"/>
                        </a:lnTo>
                        <a:lnTo>
                          <a:pt x="501561" y="10210"/>
                        </a:lnTo>
                        <a:lnTo>
                          <a:pt x="501561" y="5105"/>
                        </a:lnTo>
                        <a:close/>
                      </a:path>
                      <a:path w="685800" h="10795">
                        <a:moveTo>
                          <a:pt x="562965" y="5105"/>
                        </a:moveTo>
                        <a:lnTo>
                          <a:pt x="552729" y="5105"/>
                        </a:lnTo>
                        <a:lnTo>
                          <a:pt x="552729" y="10210"/>
                        </a:lnTo>
                        <a:lnTo>
                          <a:pt x="562965" y="10210"/>
                        </a:lnTo>
                        <a:lnTo>
                          <a:pt x="562965" y="5105"/>
                        </a:lnTo>
                        <a:close/>
                      </a:path>
                      <a:path w="685800" h="10795">
                        <a:moveTo>
                          <a:pt x="624382" y="5105"/>
                        </a:moveTo>
                        <a:lnTo>
                          <a:pt x="614146" y="5105"/>
                        </a:lnTo>
                        <a:lnTo>
                          <a:pt x="614146" y="10210"/>
                        </a:lnTo>
                        <a:lnTo>
                          <a:pt x="624382" y="10210"/>
                        </a:lnTo>
                        <a:lnTo>
                          <a:pt x="624382" y="5105"/>
                        </a:lnTo>
                        <a:close/>
                      </a:path>
                      <a:path w="685800" h="10795">
                        <a:moveTo>
                          <a:pt x="685800" y="0"/>
                        </a:moveTo>
                        <a:lnTo>
                          <a:pt x="675563" y="0"/>
                        </a:lnTo>
                        <a:lnTo>
                          <a:pt x="675563" y="5105"/>
                        </a:lnTo>
                        <a:lnTo>
                          <a:pt x="675563" y="10210"/>
                        </a:lnTo>
                        <a:lnTo>
                          <a:pt x="685800" y="10210"/>
                        </a:lnTo>
                        <a:lnTo>
                          <a:pt x="685800" y="5105"/>
                        </a:lnTo>
                        <a:lnTo>
                          <a:pt x="685800" y="0"/>
                        </a:lnTo>
                        <a:close/>
                      </a:path>
                    </a:pathLst>
                  </a:custGeom>
                  <a:solidFill>
                    <a:srgbClr val="C7C6C3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193" name="object 193"/>
                  <p:cNvSpPr/>
                  <p:nvPr/>
                </p:nvSpPr>
                <p:spPr>
                  <a:xfrm>
                    <a:off x="8226980" y="7035813"/>
                    <a:ext cx="646430" cy="742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74295">
                        <a:moveTo>
                          <a:pt x="646310" y="73996"/>
                        </a:moveTo>
                        <a:lnTo>
                          <a:pt x="0" y="73996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73996"/>
                        </a:lnTo>
                        <a:close/>
                      </a:path>
                    </a:pathLst>
                  </a:custGeom>
                  <a:solidFill>
                    <a:srgbClr val="12239D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194" name="object 194"/>
                  <p:cNvSpPr/>
                  <p:nvPr/>
                </p:nvSpPr>
                <p:spPr>
                  <a:xfrm>
                    <a:off x="8226980" y="6968311"/>
                    <a:ext cx="646430" cy="679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67945">
                        <a:moveTo>
                          <a:pt x="646310" y="67502"/>
                        </a:moveTo>
                        <a:lnTo>
                          <a:pt x="0" y="67502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67502"/>
                        </a:lnTo>
                        <a:close/>
                      </a:path>
                    </a:pathLst>
                  </a:custGeom>
                  <a:solidFill>
                    <a:srgbClr val="118CFF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</p:grpSp>
            <p:sp>
              <p:nvSpPr>
                <p:cNvPr id="195" name="object 195"/>
                <p:cNvSpPr/>
                <p:nvPr/>
              </p:nvSpPr>
              <p:spPr>
                <a:xfrm>
                  <a:off x="8281389" y="6402157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grpSp>
              <p:nvGrpSpPr>
                <p:cNvPr id="196" name="object 196"/>
                <p:cNvGrpSpPr/>
                <p:nvPr/>
              </p:nvGrpSpPr>
              <p:grpSpPr>
                <a:xfrm>
                  <a:off x="8335578" y="6338587"/>
                  <a:ext cx="659466" cy="72838"/>
                  <a:chOff x="8987358" y="7032659"/>
                  <a:chExt cx="747395" cy="82550"/>
                </a:xfrm>
              </p:grpSpPr>
              <p:sp>
                <p:nvSpPr>
                  <p:cNvPr id="197" name="object 197"/>
                  <p:cNvSpPr/>
                  <p:nvPr/>
                </p:nvSpPr>
                <p:spPr>
                  <a:xfrm>
                    <a:off x="8987358" y="7104710"/>
                    <a:ext cx="747395" cy="107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47395" h="10795">
                        <a:moveTo>
                          <a:pt x="10236" y="0"/>
                        </a:moveTo>
                        <a:lnTo>
                          <a:pt x="0" y="0"/>
                        </a:lnTo>
                        <a:lnTo>
                          <a:pt x="0" y="10210"/>
                        </a:lnTo>
                        <a:lnTo>
                          <a:pt x="10236" y="10210"/>
                        </a:lnTo>
                        <a:lnTo>
                          <a:pt x="10236" y="0"/>
                        </a:lnTo>
                        <a:close/>
                      </a:path>
                      <a:path w="747395" h="10795">
                        <a:moveTo>
                          <a:pt x="71640" y="0"/>
                        </a:moveTo>
                        <a:lnTo>
                          <a:pt x="61404" y="0"/>
                        </a:lnTo>
                        <a:lnTo>
                          <a:pt x="61404" y="10210"/>
                        </a:lnTo>
                        <a:lnTo>
                          <a:pt x="71640" y="10210"/>
                        </a:lnTo>
                        <a:lnTo>
                          <a:pt x="71640" y="0"/>
                        </a:lnTo>
                        <a:close/>
                      </a:path>
                      <a:path w="747395" h="10795">
                        <a:moveTo>
                          <a:pt x="133057" y="0"/>
                        </a:moveTo>
                        <a:lnTo>
                          <a:pt x="122821" y="0"/>
                        </a:lnTo>
                        <a:lnTo>
                          <a:pt x="122821" y="10210"/>
                        </a:lnTo>
                        <a:lnTo>
                          <a:pt x="133057" y="10210"/>
                        </a:lnTo>
                        <a:lnTo>
                          <a:pt x="133057" y="0"/>
                        </a:lnTo>
                        <a:close/>
                      </a:path>
                      <a:path w="747395" h="10795">
                        <a:moveTo>
                          <a:pt x="194475" y="0"/>
                        </a:moveTo>
                        <a:lnTo>
                          <a:pt x="184238" y="0"/>
                        </a:lnTo>
                        <a:lnTo>
                          <a:pt x="184238" y="10210"/>
                        </a:lnTo>
                        <a:lnTo>
                          <a:pt x="194475" y="10210"/>
                        </a:lnTo>
                        <a:lnTo>
                          <a:pt x="194475" y="0"/>
                        </a:lnTo>
                        <a:close/>
                      </a:path>
                      <a:path w="747395" h="10795">
                        <a:moveTo>
                          <a:pt x="255892" y="0"/>
                        </a:moveTo>
                        <a:lnTo>
                          <a:pt x="245656" y="0"/>
                        </a:lnTo>
                        <a:lnTo>
                          <a:pt x="245656" y="10210"/>
                        </a:lnTo>
                        <a:lnTo>
                          <a:pt x="255892" y="10210"/>
                        </a:lnTo>
                        <a:lnTo>
                          <a:pt x="255892" y="0"/>
                        </a:lnTo>
                        <a:close/>
                      </a:path>
                      <a:path w="747395" h="10795">
                        <a:moveTo>
                          <a:pt x="317296" y="0"/>
                        </a:moveTo>
                        <a:lnTo>
                          <a:pt x="307060" y="0"/>
                        </a:lnTo>
                        <a:lnTo>
                          <a:pt x="307060" y="10210"/>
                        </a:lnTo>
                        <a:lnTo>
                          <a:pt x="317296" y="10210"/>
                        </a:lnTo>
                        <a:lnTo>
                          <a:pt x="317296" y="0"/>
                        </a:lnTo>
                        <a:close/>
                      </a:path>
                      <a:path w="747395" h="10795">
                        <a:moveTo>
                          <a:pt x="378714" y="0"/>
                        </a:moveTo>
                        <a:lnTo>
                          <a:pt x="368477" y="0"/>
                        </a:lnTo>
                        <a:lnTo>
                          <a:pt x="368477" y="10210"/>
                        </a:lnTo>
                        <a:lnTo>
                          <a:pt x="378714" y="10210"/>
                        </a:lnTo>
                        <a:lnTo>
                          <a:pt x="378714" y="0"/>
                        </a:lnTo>
                        <a:close/>
                      </a:path>
                      <a:path w="747395" h="10795">
                        <a:moveTo>
                          <a:pt x="440131" y="0"/>
                        </a:moveTo>
                        <a:lnTo>
                          <a:pt x="429895" y="0"/>
                        </a:lnTo>
                        <a:lnTo>
                          <a:pt x="429895" y="10210"/>
                        </a:lnTo>
                        <a:lnTo>
                          <a:pt x="440131" y="10210"/>
                        </a:lnTo>
                        <a:lnTo>
                          <a:pt x="440131" y="0"/>
                        </a:lnTo>
                        <a:close/>
                      </a:path>
                      <a:path w="747395" h="10795">
                        <a:moveTo>
                          <a:pt x="501548" y="0"/>
                        </a:moveTo>
                        <a:lnTo>
                          <a:pt x="491312" y="0"/>
                        </a:lnTo>
                        <a:lnTo>
                          <a:pt x="491312" y="10210"/>
                        </a:lnTo>
                        <a:lnTo>
                          <a:pt x="501548" y="10210"/>
                        </a:lnTo>
                        <a:lnTo>
                          <a:pt x="501548" y="0"/>
                        </a:lnTo>
                        <a:close/>
                      </a:path>
                      <a:path w="747395" h="10795">
                        <a:moveTo>
                          <a:pt x="562952" y="0"/>
                        </a:moveTo>
                        <a:lnTo>
                          <a:pt x="552729" y="0"/>
                        </a:lnTo>
                        <a:lnTo>
                          <a:pt x="552729" y="10210"/>
                        </a:lnTo>
                        <a:lnTo>
                          <a:pt x="562952" y="10210"/>
                        </a:lnTo>
                        <a:lnTo>
                          <a:pt x="562952" y="0"/>
                        </a:lnTo>
                        <a:close/>
                      </a:path>
                      <a:path w="747395" h="10795">
                        <a:moveTo>
                          <a:pt x="624370" y="0"/>
                        </a:moveTo>
                        <a:lnTo>
                          <a:pt x="614133" y="0"/>
                        </a:lnTo>
                        <a:lnTo>
                          <a:pt x="614133" y="10210"/>
                        </a:lnTo>
                        <a:lnTo>
                          <a:pt x="624370" y="10210"/>
                        </a:lnTo>
                        <a:lnTo>
                          <a:pt x="624370" y="0"/>
                        </a:lnTo>
                        <a:close/>
                      </a:path>
                      <a:path w="747395" h="10795">
                        <a:moveTo>
                          <a:pt x="685787" y="0"/>
                        </a:moveTo>
                        <a:lnTo>
                          <a:pt x="675551" y="0"/>
                        </a:lnTo>
                        <a:lnTo>
                          <a:pt x="675551" y="10210"/>
                        </a:lnTo>
                        <a:lnTo>
                          <a:pt x="685787" y="10210"/>
                        </a:lnTo>
                        <a:lnTo>
                          <a:pt x="685787" y="0"/>
                        </a:lnTo>
                        <a:close/>
                      </a:path>
                      <a:path w="747395" h="10795">
                        <a:moveTo>
                          <a:pt x="747204" y="0"/>
                        </a:moveTo>
                        <a:lnTo>
                          <a:pt x="736968" y="0"/>
                        </a:lnTo>
                        <a:lnTo>
                          <a:pt x="736968" y="10210"/>
                        </a:lnTo>
                        <a:lnTo>
                          <a:pt x="747204" y="10210"/>
                        </a:lnTo>
                        <a:lnTo>
                          <a:pt x="747204" y="0"/>
                        </a:lnTo>
                        <a:close/>
                      </a:path>
                    </a:pathLst>
                  </a:custGeom>
                  <a:solidFill>
                    <a:srgbClr val="C7C6C3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198" name="object 198"/>
                  <p:cNvSpPr/>
                  <p:nvPr/>
                </p:nvSpPr>
                <p:spPr>
                  <a:xfrm>
                    <a:off x="9034868" y="7074453"/>
                    <a:ext cx="646430" cy="355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35559">
                        <a:moveTo>
                          <a:pt x="646310" y="35357"/>
                        </a:moveTo>
                        <a:lnTo>
                          <a:pt x="0" y="35357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35357"/>
                        </a:lnTo>
                        <a:close/>
                      </a:path>
                    </a:pathLst>
                  </a:custGeom>
                  <a:solidFill>
                    <a:srgbClr val="12239D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199" name="object 199"/>
                  <p:cNvSpPr/>
                  <p:nvPr/>
                </p:nvSpPr>
                <p:spPr>
                  <a:xfrm>
                    <a:off x="9034868" y="7032659"/>
                    <a:ext cx="646430" cy="4191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41909">
                        <a:moveTo>
                          <a:pt x="646310" y="41794"/>
                        </a:moveTo>
                        <a:lnTo>
                          <a:pt x="0" y="41794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41794"/>
                        </a:lnTo>
                        <a:close/>
                      </a:path>
                    </a:pathLst>
                  </a:custGeom>
                  <a:solidFill>
                    <a:srgbClr val="118CFF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</p:grpSp>
            <p:sp>
              <p:nvSpPr>
                <p:cNvPr id="200" name="object 200"/>
                <p:cNvSpPr/>
                <p:nvPr/>
              </p:nvSpPr>
              <p:spPr>
                <a:xfrm>
                  <a:off x="9040037" y="6402157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grpSp>
              <p:nvGrpSpPr>
                <p:cNvPr id="201" name="object 201"/>
                <p:cNvGrpSpPr/>
                <p:nvPr/>
              </p:nvGrpSpPr>
              <p:grpSpPr>
                <a:xfrm>
                  <a:off x="9090342" y="6365108"/>
                  <a:ext cx="609040" cy="46504"/>
                  <a:chOff x="9842757" y="7062715"/>
                  <a:chExt cx="690245" cy="52705"/>
                </a:xfrm>
              </p:grpSpPr>
              <p:sp>
                <p:nvSpPr>
                  <p:cNvPr id="202" name="object 202"/>
                  <p:cNvSpPr/>
                  <p:nvPr/>
                </p:nvSpPr>
                <p:spPr>
                  <a:xfrm>
                    <a:off x="9847148" y="7104709"/>
                    <a:ext cx="685800" cy="107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85800" h="10795">
                        <a:moveTo>
                          <a:pt x="10236" y="0"/>
                        </a:moveTo>
                        <a:lnTo>
                          <a:pt x="0" y="0"/>
                        </a:lnTo>
                        <a:lnTo>
                          <a:pt x="0" y="10210"/>
                        </a:lnTo>
                        <a:lnTo>
                          <a:pt x="10236" y="10210"/>
                        </a:lnTo>
                        <a:lnTo>
                          <a:pt x="10236" y="0"/>
                        </a:lnTo>
                        <a:close/>
                      </a:path>
                      <a:path w="685800" h="10795">
                        <a:moveTo>
                          <a:pt x="71653" y="0"/>
                        </a:moveTo>
                        <a:lnTo>
                          <a:pt x="61417" y="0"/>
                        </a:lnTo>
                        <a:lnTo>
                          <a:pt x="61417" y="10210"/>
                        </a:lnTo>
                        <a:lnTo>
                          <a:pt x="71653" y="10210"/>
                        </a:lnTo>
                        <a:lnTo>
                          <a:pt x="71653" y="0"/>
                        </a:lnTo>
                        <a:close/>
                      </a:path>
                      <a:path w="685800" h="10795">
                        <a:moveTo>
                          <a:pt x="133070" y="0"/>
                        </a:moveTo>
                        <a:lnTo>
                          <a:pt x="122834" y="0"/>
                        </a:lnTo>
                        <a:lnTo>
                          <a:pt x="122834" y="10210"/>
                        </a:lnTo>
                        <a:lnTo>
                          <a:pt x="133070" y="10210"/>
                        </a:lnTo>
                        <a:lnTo>
                          <a:pt x="133070" y="0"/>
                        </a:lnTo>
                        <a:close/>
                      </a:path>
                      <a:path w="685800" h="10795">
                        <a:moveTo>
                          <a:pt x="194487" y="0"/>
                        </a:moveTo>
                        <a:lnTo>
                          <a:pt x="184251" y="0"/>
                        </a:lnTo>
                        <a:lnTo>
                          <a:pt x="184251" y="10210"/>
                        </a:lnTo>
                        <a:lnTo>
                          <a:pt x="194487" y="10210"/>
                        </a:lnTo>
                        <a:lnTo>
                          <a:pt x="194487" y="0"/>
                        </a:lnTo>
                        <a:close/>
                      </a:path>
                      <a:path w="685800" h="10795">
                        <a:moveTo>
                          <a:pt x="255892" y="0"/>
                        </a:moveTo>
                        <a:lnTo>
                          <a:pt x="245656" y="0"/>
                        </a:lnTo>
                        <a:lnTo>
                          <a:pt x="245656" y="10210"/>
                        </a:lnTo>
                        <a:lnTo>
                          <a:pt x="255892" y="10210"/>
                        </a:lnTo>
                        <a:lnTo>
                          <a:pt x="255892" y="0"/>
                        </a:lnTo>
                        <a:close/>
                      </a:path>
                      <a:path w="685800" h="10795">
                        <a:moveTo>
                          <a:pt x="317309" y="0"/>
                        </a:moveTo>
                        <a:lnTo>
                          <a:pt x="307073" y="0"/>
                        </a:lnTo>
                        <a:lnTo>
                          <a:pt x="307073" y="10210"/>
                        </a:lnTo>
                        <a:lnTo>
                          <a:pt x="317309" y="10210"/>
                        </a:lnTo>
                        <a:lnTo>
                          <a:pt x="317309" y="0"/>
                        </a:lnTo>
                        <a:close/>
                      </a:path>
                      <a:path w="685800" h="10795">
                        <a:moveTo>
                          <a:pt x="378726" y="0"/>
                        </a:moveTo>
                        <a:lnTo>
                          <a:pt x="368490" y="0"/>
                        </a:lnTo>
                        <a:lnTo>
                          <a:pt x="368490" y="10210"/>
                        </a:lnTo>
                        <a:lnTo>
                          <a:pt x="378726" y="10210"/>
                        </a:lnTo>
                        <a:lnTo>
                          <a:pt x="378726" y="0"/>
                        </a:lnTo>
                        <a:close/>
                      </a:path>
                      <a:path w="685800" h="10795">
                        <a:moveTo>
                          <a:pt x="440143" y="0"/>
                        </a:moveTo>
                        <a:lnTo>
                          <a:pt x="429907" y="0"/>
                        </a:lnTo>
                        <a:lnTo>
                          <a:pt x="429907" y="10210"/>
                        </a:lnTo>
                        <a:lnTo>
                          <a:pt x="440143" y="10210"/>
                        </a:lnTo>
                        <a:lnTo>
                          <a:pt x="440143" y="0"/>
                        </a:lnTo>
                        <a:close/>
                      </a:path>
                      <a:path w="685800" h="10795">
                        <a:moveTo>
                          <a:pt x="501561" y="0"/>
                        </a:moveTo>
                        <a:lnTo>
                          <a:pt x="491324" y="0"/>
                        </a:lnTo>
                        <a:lnTo>
                          <a:pt x="491324" y="10210"/>
                        </a:lnTo>
                        <a:lnTo>
                          <a:pt x="501561" y="10210"/>
                        </a:lnTo>
                        <a:lnTo>
                          <a:pt x="501561" y="0"/>
                        </a:lnTo>
                        <a:close/>
                      </a:path>
                      <a:path w="685800" h="10795">
                        <a:moveTo>
                          <a:pt x="562965" y="0"/>
                        </a:moveTo>
                        <a:lnTo>
                          <a:pt x="552729" y="0"/>
                        </a:lnTo>
                        <a:lnTo>
                          <a:pt x="552729" y="10210"/>
                        </a:lnTo>
                        <a:lnTo>
                          <a:pt x="562965" y="10210"/>
                        </a:lnTo>
                        <a:lnTo>
                          <a:pt x="562965" y="0"/>
                        </a:lnTo>
                        <a:close/>
                      </a:path>
                      <a:path w="685800" h="10795">
                        <a:moveTo>
                          <a:pt x="624382" y="0"/>
                        </a:moveTo>
                        <a:lnTo>
                          <a:pt x="614146" y="0"/>
                        </a:lnTo>
                        <a:lnTo>
                          <a:pt x="614146" y="10210"/>
                        </a:lnTo>
                        <a:lnTo>
                          <a:pt x="624382" y="10210"/>
                        </a:lnTo>
                        <a:lnTo>
                          <a:pt x="624382" y="0"/>
                        </a:lnTo>
                        <a:close/>
                      </a:path>
                      <a:path w="685800" h="10795">
                        <a:moveTo>
                          <a:pt x="685800" y="0"/>
                        </a:moveTo>
                        <a:lnTo>
                          <a:pt x="675563" y="0"/>
                        </a:lnTo>
                        <a:lnTo>
                          <a:pt x="675563" y="10210"/>
                        </a:lnTo>
                        <a:lnTo>
                          <a:pt x="685800" y="10210"/>
                        </a:lnTo>
                        <a:lnTo>
                          <a:pt x="685800" y="0"/>
                        </a:lnTo>
                        <a:close/>
                      </a:path>
                    </a:pathLst>
                  </a:custGeom>
                  <a:solidFill>
                    <a:srgbClr val="C7C6C3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203" name="object 203"/>
                  <p:cNvSpPr/>
                  <p:nvPr/>
                </p:nvSpPr>
                <p:spPr>
                  <a:xfrm>
                    <a:off x="9842757" y="7089723"/>
                    <a:ext cx="646430" cy="203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20320">
                        <a:moveTo>
                          <a:pt x="646310" y="20087"/>
                        </a:moveTo>
                        <a:lnTo>
                          <a:pt x="0" y="20087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20087"/>
                        </a:lnTo>
                        <a:close/>
                      </a:path>
                    </a:pathLst>
                  </a:custGeom>
                  <a:solidFill>
                    <a:srgbClr val="12239D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204" name="object 204"/>
                  <p:cNvSpPr/>
                  <p:nvPr/>
                </p:nvSpPr>
                <p:spPr>
                  <a:xfrm>
                    <a:off x="9842757" y="7062715"/>
                    <a:ext cx="646430" cy="2730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27304">
                        <a:moveTo>
                          <a:pt x="646310" y="27007"/>
                        </a:moveTo>
                        <a:lnTo>
                          <a:pt x="0" y="27007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27007"/>
                        </a:lnTo>
                        <a:close/>
                      </a:path>
                    </a:pathLst>
                  </a:custGeom>
                  <a:solidFill>
                    <a:srgbClr val="118CFF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</p:grpSp>
            <p:sp>
              <p:nvSpPr>
                <p:cNvPr id="205" name="object 205"/>
                <p:cNvSpPr/>
                <p:nvPr/>
              </p:nvSpPr>
              <p:spPr>
                <a:xfrm>
                  <a:off x="9744495" y="6402157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grpSp>
              <p:nvGrpSpPr>
                <p:cNvPr id="206" name="object 206"/>
                <p:cNvGrpSpPr/>
                <p:nvPr/>
              </p:nvGrpSpPr>
              <p:grpSpPr>
                <a:xfrm>
                  <a:off x="9798683" y="6379968"/>
                  <a:ext cx="605118" cy="31376"/>
                  <a:chOff x="10645545" y="7079557"/>
                  <a:chExt cx="685800" cy="35560"/>
                </a:xfrm>
              </p:grpSpPr>
              <p:sp>
                <p:nvSpPr>
                  <p:cNvPr id="207" name="object 207"/>
                  <p:cNvSpPr/>
                  <p:nvPr/>
                </p:nvSpPr>
                <p:spPr>
                  <a:xfrm>
                    <a:off x="10645534" y="7104710"/>
                    <a:ext cx="685800" cy="107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85800" h="10795">
                        <a:moveTo>
                          <a:pt x="10236" y="0"/>
                        </a:moveTo>
                        <a:lnTo>
                          <a:pt x="0" y="0"/>
                        </a:lnTo>
                        <a:lnTo>
                          <a:pt x="0" y="10210"/>
                        </a:lnTo>
                        <a:lnTo>
                          <a:pt x="10236" y="10210"/>
                        </a:lnTo>
                        <a:lnTo>
                          <a:pt x="10236" y="0"/>
                        </a:lnTo>
                        <a:close/>
                      </a:path>
                      <a:path w="685800" h="10795">
                        <a:moveTo>
                          <a:pt x="71653" y="0"/>
                        </a:moveTo>
                        <a:lnTo>
                          <a:pt x="61417" y="0"/>
                        </a:lnTo>
                        <a:lnTo>
                          <a:pt x="61417" y="10210"/>
                        </a:lnTo>
                        <a:lnTo>
                          <a:pt x="71653" y="10210"/>
                        </a:lnTo>
                        <a:lnTo>
                          <a:pt x="71653" y="0"/>
                        </a:lnTo>
                        <a:close/>
                      </a:path>
                      <a:path w="685800" h="10795">
                        <a:moveTo>
                          <a:pt x="133070" y="0"/>
                        </a:moveTo>
                        <a:lnTo>
                          <a:pt x="122834" y="0"/>
                        </a:lnTo>
                        <a:lnTo>
                          <a:pt x="122834" y="10210"/>
                        </a:lnTo>
                        <a:lnTo>
                          <a:pt x="133070" y="10210"/>
                        </a:lnTo>
                        <a:lnTo>
                          <a:pt x="133070" y="0"/>
                        </a:lnTo>
                        <a:close/>
                      </a:path>
                      <a:path w="685800" h="10795">
                        <a:moveTo>
                          <a:pt x="194487" y="0"/>
                        </a:moveTo>
                        <a:lnTo>
                          <a:pt x="184251" y="0"/>
                        </a:lnTo>
                        <a:lnTo>
                          <a:pt x="184251" y="10210"/>
                        </a:lnTo>
                        <a:lnTo>
                          <a:pt x="194487" y="10210"/>
                        </a:lnTo>
                        <a:lnTo>
                          <a:pt x="194487" y="0"/>
                        </a:lnTo>
                        <a:close/>
                      </a:path>
                      <a:path w="685800" h="10795">
                        <a:moveTo>
                          <a:pt x="255905" y="0"/>
                        </a:moveTo>
                        <a:lnTo>
                          <a:pt x="245668" y="0"/>
                        </a:lnTo>
                        <a:lnTo>
                          <a:pt x="245668" y="10210"/>
                        </a:lnTo>
                        <a:lnTo>
                          <a:pt x="255905" y="10210"/>
                        </a:lnTo>
                        <a:lnTo>
                          <a:pt x="255905" y="0"/>
                        </a:lnTo>
                        <a:close/>
                      </a:path>
                      <a:path w="685800" h="10795">
                        <a:moveTo>
                          <a:pt x="317309" y="0"/>
                        </a:moveTo>
                        <a:lnTo>
                          <a:pt x="307073" y="0"/>
                        </a:lnTo>
                        <a:lnTo>
                          <a:pt x="307073" y="10210"/>
                        </a:lnTo>
                        <a:lnTo>
                          <a:pt x="317309" y="10210"/>
                        </a:lnTo>
                        <a:lnTo>
                          <a:pt x="317309" y="0"/>
                        </a:lnTo>
                        <a:close/>
                      </a:path>
                      <a:path w="685800" h="10795">
                        <a:moveTo>
                          <a:pt x="378726" y="0"/>
                        </a:moveTo>
                        <a:lnTo>
                          <a:pt x="368490" y="0"/>
                        </a:lnTo>
                        <a:lnTo>
                          <a:pt x="368490" y="10210"/>
                        </a:lnTo>
                        <a:lnTo>
                          <a:pt x="378726" y="10210"/>
                        </a:lnTo>
                        <a:lnTo>
                          <a:pt x="378726" y="0"/>
                        </a:lnTo>
                        <a:close/>
                      </a:path>
                      <a:path w="685800" h="10795">
                        <a:moveTo>
                          <a:pt x="440143" y="0"/>
                        </a:moveTo>
                        <a:lnTo>
                          <a:pt x="429907" y="0"/>
                        </a:lnTo>
                        <a:lnTo>
                          <a:pt x="429907" y="10210"/>
                        </a:lnTo>
                        <a:lnTo>
                          <a:pt x="440143" y="10210"/>
                        </a:lnTo>
                        <a:lnTo>
                          <a:pt x="440143" y="0"/>
                        </a:lnTo>
                        <a:close/>
                      </a:path>
                      <a:path w="685800" h="10795">
                        <a:moveTo>
                          <a:pt x="501561" y="0"/>
                        </a:moveTo>
                        <a:lnTo>
                          <a:pt x="491324" y="0"/>
                        </a:lnTo>
                        <a:lnTo>
                          <a:pt x="491324" y="10210"/>
                        </a:lnTo>
                        <a:lnTo>
                          <a:pt x="501561" y="10210"/>
                        </a:lnTo>
                        <a:lnTo>
                          <a:pt x="501561" y="0"/>
                        </a:lnTo>
                        <a:close/>
                      </a:path>
                      <a:path w="685800" h="10795">
                        <a:moveTo>
                          <a:pt x="562965" y="0"/>
                        </a:moveTo>
                        <a:lnTo>
                          <a:pt x="552729" y="0"/>
                        </a:lnTo>
                        <a:lnTo>
                          <a:pt x="552729" y="10210"/>
                        </a:lnTo>
                        <a:lnTo>
                          <a:pt x="562965" y="10210"/>
                        </a:lnTo>
                        <a:lnTo>
                          <a:pt x="562965" y="0"/>
                        </a:lnTo>
                        <a:close/>
                      </a:path>
                      <a:path w="685800" h="10795">
                        <a:moveTo>
                          <a:pt x="624382" y="0"/>
                        </a:moveTo>
                        <a:lnTo>
                          <a:pt x="614146" y="0"/>
                        </a:lnTo>
                        <a:lnTo>
                          <a:pt x="614146" y="10210"/>
                        </a:lnTo>
                        <a:lnTo>
                          <a:pt x="624382" y="10210"/>
                        </a:lnTo>
                        <a:lnTo>
                          <a:pt x="624382" y="0"/>
                        </a:lnTo>
                        <a:close/>
                      </a:path>
                      <a:path w="685800" h="10795">
                        <a:moveTo>
                          <a:pt x="685800" y="0"/>
                        </a:moveTo>
                        <a:lnTo>
                          <a:pt x="675563" y="0"/>
                        </a:lnTo>
                        <a:lnTo>
                          <a:pt x="675563" y="10210"/>
                        </a:lnTo>
                        <a:lnTo>
                          <a:pt x="685800" y="10210"/>
                        </a:lnTo>
                        <a:lnTo>
                          <a:pt x="685800" y="0"/>
                        </a:lnTo>
                        <a:close/>
                      </a:path>
                    </a:pathLst>
                  </a:custGeom>
                  <a:solidFill>
                    <a:srgbClr val="C7C6C3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208" name="object 208"/>
                  <p:cNvSpPr/>
                  <p:nvPr/>
                </p:nvSpPr>
                <p:spPr>
                  <a:xfrm>
                    <a:off x="10650645" y="7097578"/>
                    <a:ext cx="646430" cy="127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12700">
                        <a:moveTo>
                          <a:pt x="646310" y="12231"/>
                        </a:moveTo>
                        <a:lnTo>
                          <a:pt x="0" y="12231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12231"/>
                        </a:lnTo>
                        <a:close/>
                      </a:path>
                    </a:pathLst>
                  </a:custGeom>
                  <a:solidFill>
                    <a:srgbClr val="12239D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209" name="object 209"/>
                  <p:cNvSpPr/>
                  <p:nvPr/>
                </p:nvSpPr>
                <p:spPr>
                  <a:xfrm>
                    <a:off x="10650645" y="7079557"/>
                    <a:ext cx="646430" cy="1841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18415">
                        <a:moveTo>
                          <a:pt x="646310" y="18021"/>
                        </a:moveTo>
                        <a:lnTo>
                          <a:pt x="0" y="18021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18021"/>
                        </a:lnTo>
                        <a:close/>
                      </a:path>
                    </a:pathLst>
                  </a:custGeom>
                  <a:solidFill>
                    <a:srgbClr val="118CFF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</p:grpSp>
            <p:sp>
              <p:nvSpPr>
                <p:cNvPr id="210" name="object 210"/>
                <p:cNvSpPr/>
                <p:nvPr/>
              </p:nvSpPr>
              <p:spPr>
                <a:xfrm>
                  <a:off x="10448954" y="6402157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grpSp>
              <p:nvGrpSpPr>
                <p:cNvPr id="211" name="object 211"/>
                <p:cNvGrpSpPr/>
                <p:nvPr/>
              </p:nvGrpSpPr>
              <p:grpSpPr>
                <a:xfrm>
                  <a:off x="10503142" y="6388445"/>
                  <a:ext cx="605118" cy="22971"/>
                  <a:chOff x="11443931" y="7089164"/>
                  <a:chExt cx="685800" cy="26034"/>
                </a:xfrm>
              </p:grpSpPr>
              <p:sp>
                <p:nvSpPr>
                  <p:cNvPr id="212" name="object 212"/>
                  <p:cNvSpPr/>
                  <p:nvPr/>
                </p:nvSpPr>
                <p:spPr>
                  <a:xfrm>
                    <a:off x="11443932" y="7104710"/>
                    <a:ext cx="685800" cy="107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85800" h="10795">
                        <a:moveTo>
                          <a:pt x="10223" y="0"/>
                        </a:moveTo>
                        <a:lnTo>
                          <a:pt x="0" y="0"/>
                        </a:lnTo>
                        <a:lnTo>
                          <a:pt x="0" y="10210"/>
                        </a:lnTo>
                        <a:lnTo>
                          <a:pt x="10223" y="10210"/>
                        </a:lnTo>
                        <a:lnTo>
                          <a:pt x="10223" y="0"/>
                        </a:lnTo>
                        <a:close/>
                      </a:path>
                      <a:path w="685800" h="10795">
                        <a:moveTo>
                          <a:pt x="71640" y="0"/>
                        </a:moveTo>
                        <a:lnTo>
                          <a:pt x="61404" y="0"/>
                        </a:lnTo>
                        <a:lnTo>
                          <a:pt x="61404" y="10210"/>
                        </a:lnTo>
                        <a:lnTo>
                          <a:pt x="71640" y="10210"/>
                        </a:lnTo>
                        <a:lnTo>
                          <a:pt x="71640" y="0"/>
                        </a:lnTo>
                        <a:close/>
                      </a:path>
                      <a:path w="685800" h="10795">
                        <a:moveTo>
                          <a:pt x="133057" y="0"/>
                        </a:moveTo>
                        <a:lnTo>
                          <a:pt x="122821" y="0"/>
                        </a:lnTo>
                        <a:lnTo>
                          <a:pt x="122821" y="10210"/>
                        </a:lnTo>
                        <a:lnTo>
                          <a:pt x="133057" y="10210"/>
                        </a:lnTo>
                        <a:lnTo>
                          <a:pt x="133057" y="0"/>
                        </a:lnTo>
                        <a:close/>
                      </a:path>
                      <a:path w="685800" h="10795">
                        <a:moveTo>
                          <a:pt x="194475" y="0"/>
                        </a:moveTo>
                        <a:lnTo>
                          <a:pt x="184238" y="0"/>
                        </a:lnTo>
                        <a:lnTo>
                          <a:pt x="184238" y="10210"/>
                        </a:lnTo>
                        <a:lnTo>
                          <a:pt x="194475" y="10210"/>
                        </a:lnTo>
                        <a:lnTo>
                          <a:pt x="194475" y="0"/>
                        </a:lnTo>
                        <a:close/>
                      </a:path>
                      <a:path w="685800" h="10795">
                        <a:moveTo>
                          <a:pt x="255892" y="0"/>
                        </a:moveTo>
                        <a:lnTo>
                          <a:pt x="245656" y="0"/>
                        </a:lnTo>
                        <a:lnTo>
                          <a:pt x="245656" y="10210"/>
                        </a:lnTo>
                        <a:lnTo>
                          <a:pt x="255892" y="10210"/>
                        </a:lnTo>
                        <a:lnTo>
                          <a:pt x="255892" y="0"/>
                        </a:lnTo>
                        <a:close/>
                      </a:path>
                      <a:path w="685800" h="10795">
                        <a:moveTo>
                          <a:pt x="317296" y="0"/>
                        </a:moveTo>
                        <a:lnTo>
                          <a:pt x="307060" y="0"/>
                        </a:lnTo>
                        <a:lnTo>
                          <a:pt x="307060" y="10210"/>
                        </a:lnTo>
                        <a:lnTo>
                          <a:pt x="317296" y="10210"/>
                        </a:lnTo>
                        <a:lnTo>
                          <a:pt x="317296" y="0"/>
                        </a:lnTo>
                        <a:close/>
                      </a:path>
                      <a:path w="685800" h="10795">
                        <a:moveTo>
                          <a:pt x="378714" y="0"/>
                        </a:moveTo>
                        <a:lnTo>
                          <a:pt x="368477" y="0"/>
                        </a:lnTo>
                        <a:lnTo>
                          <a:pt x="368477" y="10210"/>
                        </a:lnTo>
                        <a:lnTo>
                          <a:pt x="378714" y="10210"/>
                        </a:lnTo>
                        <a:lnTo>
                          <a:pt x="378714" y="0"/>
                        </a:lnTo>
                        <a:close/>
                      </a:path>
                      <a:path w="685800" h="10795">
                        <a:moveTo>
                          <a:pt x="440131" y="0"/>
                        </a:moveTo>
                        <a:lnTo>
                          <a:pt x="429895" y="0"/>
                        </a:lnTo>
                        <a:lnTo>
                          <a:pt x="429895" y="10210"/>
                        </a:lnTo>
                        <a:lnTo>
                          <a:pt x="440131" y="10210"/>
                        </a:lnTo>
                        <a:lnTo>
                          <a:pt x="440131" y="0"/>
                        </a:lnTo>
                        <a:close/>
                      </a:path>
                      <a:path w="685800" h="10795">
                        <a:moveTo>
                          <a:pt x="501548" y="0"/>
                        </a:moveTo>
                        <a:lnTo>
                          <a:pt x="491312" y="0"/>
                        </a:lnTo>
                        <a:lnTo>
                          <a:pt x="491312" y="10210"/>
                        </a:lnTo>
                        <a:lnTo>
                          <a:pt x="501548" y="10210"/>
                        </a:lnTo>
                        <a:lnTo>
                          <a:pt x="501548" y="0"/>
                        </a:lnTo>
                        <a:close/>
                      </a:path>
                      <a:path w="685800" h="10795">
                        <a:moveTo>
                          <a:pt x="562952" y="0"/>
                        </a:moveTo>
                        <a:lnTo>
                          <a:pt x="552716" y="0"/>
                        </a:lnTo>
                        <a:lnTo>
                          <a:pt x="552716" y="10210"/>
                        </a:lnTo>
                        <a:lnTo>
                          <a:pt x="562952" y="10210"/>
                        </a:lnTo>
                        <a:lnTo>
                          <a:pt x="562952" y="0"/>
                        </a:lnTo>
                        <a:close/>
                      </a:path>
                      <a:path w="685800" h="10795">
                        <a:moveTo>
                          <a:pt x="624370" y="0"/>
                        </a:moveTo>
                        <a:lnTo>
                          <a:pt x="614133" y="0"/>
                        </a:lnTo>
                        <a:lnTo>
                          <a:pt x="614133" y="10210"/>
                        </a:lnTo>
                        <a:lnTo>
                          <a:pt x="624370" y="10210"/>
                        </a:lnTo>
                        <a:lnTo>
                          <a:pt x="624370" y="0"/>
                        </a:lnTo>
                        <a:close/>
                      </a:path>
                      <a:path w="685800" h="10795">
                        <a:moveTo>
                          <a:pt x="685787" y="0"/>
                        </a:moveTo>
                        <a:lnTo>
                          <a:pt x="675551" y="0"/>
                        </a:lnTo>
                        <a:lnTo>
                          <a:pt x="675551" y="10210"/>
                        </a:lnTo>
                        <a:lnTo>
                          <a:pt x="685787" y="10210"/>
                        </a:lnTo>
                        <a:lnTo>
                          <a:pt x="685787" y="0"/>
                        </a:lnTo>
                        <a:close/>
                      </a:path>
                    </a:pathLst>
                  </a:custGeom>
                  <a:solidFill>
                    <a:srgbClr val="C7C6C3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213" name="object 213"/>
                  <p:cNvSpPr/>
                  <p:nvPr/>
                </p:nvSpPr>
                <p:spPr>
                  <a:xfrm>
                    <a:off x="11458533" y="7101715"/>
                    <a:ext cx="646430" cy="825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8254">
                        <a:moveTo>
                          <a:pt x="646310" y="8095"/>
                        </a:moveTo>
                        <a:lnTo>
                          <a:pt x="0" y="8095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8095"/>
                        </a:lnTo>
                        <a:close/>
                      </a:path>
                    </a:pathLst>
                  </a:custGeom>
                  <a:solidFill>
                    <a:srgbClr val="12239D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214" name="object 214"/>
                  <p:cNvSpPr/>
                  <p:nvPr/>
                </p:nvSpPr>
                <p:spPr>
                  <a:xfrm>
                    <a:off x="11458533" y="7089164"/>
                    <a:ext cx="646430" cy="127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12700">
                        <a:moveTo>
                          <a:pt x="646310" y="12549"/>
                        </a:moveTo>
                        <a:lnTo>
                          <a:pt x="0" y="12549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12549"/>
                        </a:lnTo>
                        <a:close/>
                      </a:path>
                    </a:pathLst>
                  </a:custGeom>
                  <a:solidFill>
                    <a:srgbClr val="118CFF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</p:grpSp>
            <p:sp>
              <p:nvSpPr>
                <p:cNvPr id="215" name="object 215"/>
                <p:cNvSpPr/>
                <p:nvPr/>
              </p:nvSpPr>
              <p:spPr>
                <a:xfrm>
                  <a:off x="11153412" y="6402157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grpSp>
              <p:nvGrpSpPr>
                <p:cNvPr id="216" name="object 216"/>
                <p:cNvGrpSpPr/>
                <p:nvPr/>
              </p:nvGrpSpPr>
              <p:grpSpPr>
                <a:xfrm>
                  <a:off x="11207601" y="6393889"/>
                  <a:ext cx="591671" cy="17369"/>
                  <a:chOff x="12242318" y="7095334"/>
                  <a:chExt cx="670560" cy="19685"/>
                </a:xfrm>
              </p:grpSpPr>
              <p:sp>
                <p:nvSpPr>
                  <p:cNvPr id="217" name="object 217"/>
                  <p:cNvSpPr/>
                  <p:nvPr/>
                </p:nvSpPr>
                <p:spPr>
                  <a:xfrm>
                    <a:off x="12242318" y="7104710"/>
                    <a:ext cx="624840" cy="107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24840" h="10795">
                        <a:moveTo>
                          <a:pt x="10236" y="0"/>
                        </a:moveTo>
                        <a:lnTo>
                          <a:pt x="0" y="0"/>
                        </a:lnTo>
                        <a:lnTo>
                          <a:pt x="0" y="10210"/>
                        </a:lnTo>
                        <a:lnTo>
                          <a:pt x="10236" y="10210"/>
                        </a:lnTo>
                        <a:lnTo>
                          <a:pt x="10236" y="0"/>
                        </a:lnTo>
                        <a:close/>
                      </a:path>
                      <a:path w="624840" h="10795">
                        <a:moveTo>
                          <a:pt x="71640" y="0"/>
                        </a:moveTo>
                        <a:lnTo>
                          <a:pt x="61404" y="0"/>
                        </a:lnTo>
                        <a:lnTo>
                          <a:pt x="61404" y="10210"/>
                        </a:lnTo>
                        <a:lnTo>
                          <a:pt x="71640" y="10210"/>
                        </a:lnTo>
                        <a:lnTo>
                          <a:pt x="71640" y="0"/>
                        </a:lnTo>
                        <a:close/>
                      </a:path>
                      <a:path w="624840" h="10795">
                        <a:moveTo>
                          <a:pt x="133057" y="0"/>
                        </a:moveTo>
                        <a:lnTo>
                          <a:pt x="122821" y="0"/>
                        </a:lnTo>
                        <a:lnTo>
                          <a:pt x="122821" y="10210"/>
                        </a:lnTo>
                        <a:lnTo>
                          <a:pt x="133057" y="10210"/>
                        </a:lnTo>
                        <a:lnTo>
                          <a:pt x="133057" y="0"/>
                        </a:lnTo>
                        <a:close/>
                      </a:path>
                      <a:path w="624840" h="10795">
                        <a:moveTo>
                          <a:pt x="194475" y="0"/>
                        </a:moveTo>
                        <a:lnTo>
                          <a:pt x="184238" y="0"/>
                        </a:lnTo>
                        <a:lnTo>
                          <a:pt x="184238" y="10210"/>
                        </a:lnTo>
                        <a:lnTo>
                          <a:pt x="194475" y="10210"/>
                        </a:lnTo>
                        <a:lnTo>
                          <a:pt x="194475" y="0"/>
                        </a:lnTo>
                        <a:close/>
                      </a:path>
                      <a:path w="624840" h="10795">
                        <a:moveTo>
                          <a:pt x="255892" y="0"/>
                        </a:moveTo>
                        <a:lnTo>
                          <a:pt x="245656" y="0"/>
                        </a:lnTo>
                        <a:lnTo>
                          <a:pt x="245656" y="10210"/>
                        </a:lnTo>
                        <a:lnTo>
                          <a:pt x="255892" y="10210"/>
                        </a:lnTo>
                        <a:lnTo>
                          <a:pt x="255892" y="0"/>
                        </a:lnTo>
                        <a:close/>
                      </a:path>
                      <a:path w="624840" h="10795">
                        <a:moveTo>
                          <a:pt x="317296" y="0"/>
                        </a:moveTo>
                        <a:lnTo>
                          <a:pt x="307060" y="0"/>
                        </a:lnTo>
                        <a:lnTo>
                          <a:pt x="307060" y="10210"/>
                        </a:lnTo>
                        <a:lnTo>
                          <a:pt x="317296" y="10210"/>
                        </a:lnTo>
                        <a:lnTo>
                          <a:pt x="317296" y="0"/>
                        </a:lnTo>
                        <a:close/>
                      </a:path>
                      <a:path w="624840" h="10795">
                        <a:moveTo>
                          <a:pt x="378714" y="0"/>
                        </a:moveTo>
                        <a:lnTo>
                          <a:pt x="368477" y="0"/>
                        </a:lnTo>
                        <a:lnTo>
                          <a:pt x="368477" y="10210"/>
                        </a:lnTo>
                        <a:lnTo>
                          <a:pt x="378714" y="10210"/>
                        </a:lnTo>
                        <a:lnTo>
                          <a:pt x="378714" y="0"/>
                        </a:lnTo>
                        <a:close/>
                      </a:path>
                      <a:path w="624840" h="10795">
                        <a:moveTo>
                          <a:pt x="440131" y="0"/>
                        </a:moveTo>
                        <a:lnTo>
                          <a:pt x="429895" y="0"/>
                        </a:lnTo>
                        <a:lnTo>
                          <a:pt x="429895" y="10210"/>
                        </a:lnTo>
                        <a:lnTo>
                          <a:pt x="440131" y="10210"/>
                        </a:lnTo>
                        <a:lnTo>
                          <a:pt x="440131" y="0"/>
                        </a:lnTo>
                        <a:close/>
                      </a:path>
                      <a:path w="624840" h="10795">
                        <a:moveTo>
                          <a:pt x="501548" y="0"/>
                        </a:moveTo>
                        <a:lnTo>
                          <a:pt x="491312" y="0"/>
                        </a:lnTo>
                        <a:lnTo>
                          <a:pt x="491312" y="10210"/>
                        </a:lnTo>
                        <a:lnTo>
                          <a:pt x="501548" y="10210"/>
                        </a:lnTo>
                        <a:lnTo>
                          <a:pt x="501548" y="0"/>
                        </a:lnTo>
                        <a:close/>
                      </a:path>
                      <a:path w="624840" h="10795">
                        <a:moveTo>
                          <a:pt x="562965" y="0"/>
                        </a:moveTo>
                        <a:lnTo>
                          <a:pt x="552729" y="0"/>
                        </a:lnTo>
                        <a:lnTo>
                          <a:pt x="552729" y="10210"/>
                        </a:lnTo>
                        <a:lnTo>
                          <a:pt x="562965" y="10210"/>
                        </a:lnTo>
                        <a:lnTo>
                          <a:pt x="562965" y="0"/>
                        </a:lnTo>
                        <a:close/>
                      </a:path>
                      <a:path w="624840" h="10795">
                        <a:moveTo>
                          <a:pt x="624370" y="0"/>
                        </a:moveTo>
                        <a:lnTo>
                          <a:pt x="614133" y="0"/>
                        </a:lnTo>
                        <a:lnTo>
                          <a:pt x="614133" y="10210"/>
                        </a:lnTo>
                        <a:lnTo>
                          <a:pt x="624370" y="10210"/>
                        </a:lnTo>
                        <a:lnTo>
                          <a:pt x="624370" y="0"/>
                        </a:lnTo>
                        <a:close/>
                      </a:path>
                    </a:pathLst>
                  </a:custGeom>
                  <a:solidFill>
                    <a:srgbClr val="C7C6C3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218" name="object 218"/>
                  <p:cNvSpPr/>
                  <p:nvPr/>
                </p:nvSpPr>
                <p:spPr>
                  <a:xfrm>
                    <a:off x="12266422" y="7104264"/>
                    <a:ext cx="646430" cy="571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5715">
                        <a:moveTo>
                          <a:pt x="646310" y="5546"/>
                        </a:moveTo>
                        <a:lnTo>
                          <a:pt x="0" y="5546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5546"/>
                        </a:lnTo>
                        <a:close/>
                      </a:path>
                    </a:pathLst>
                  </a:custGeom>
                  <a:solidFill>
                    <a:srgbClr val="12239D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  <p:sp>
                <p:nvSpPr>
                  <p:cNvPr id="219" name="object 219"/>
                  <p:cNvSpPr/>
                  <p:nvPr/>
                </p:nvSpPr>
                <p:spPr>
                  <a:xfrm>
                    <a:off x="12266422" y="7095334"/>
                    <a:ext cx="646430" cy="95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6429" h="9525">
                        <a:moveTo>
                          <a:pt x="646310" y="8929"/>
                        </a:moveTo>
                        <a:lnTo>
                          <a:pt x="0" y="8929"/>
                        </a:lnTo>
                        <a:lnTo>
                          <a:pt x="0" y="0"/>
                        </a:lnTo>
                        <a:lnTo>
                          <a:pt x="646310" y="0"/>
                        </a:lnTo>
                        <a:lnTo>
                          <a:pt x="646310" y="8929"/>
                        </a:lnTo>
                        <a:close/>
                      </a:path>
                    </a:pathLst>
                  </a:custGeom>
                  <a:solidFill>
                    <a:srgbClr val="118CFF"/>
                  </a:solidFill>
                </p:spPr>
                <p:txBody>
                  <a:bodyPr wrap="square" lIns="0" tIns="0" rIns="0" bIns="0" rtlCol="0"/>
                  <a:lstStyle/>
                  <a:p>
                    <a:endParaRPr sz="1588" dirty="0"/>
                  </a:p>
                </p:txBody>
              </p:sp>
            </p:grpSp>
            <p:sp>
              <p:nvSpPr>
                <p:cNvPr id="220" name="object 220"/>
                <p:cNvSpPr txBox="1"/>
                <p:nvPr/>
              </p:nvSpPr>
              <p:spPr>
                <a:xfrm>
                  <a:off x="4474105" y="6321919"/>
                  <a:ext cx="260537" cy="141958"/>
                </a:xfrm>
                <a:prstGeom prst="rect">
                  <a:avLst/>
                </a:prstGeom>
              </p:spPr>
              <p:txBody>
                <a:bodyPr vert="horz" wrap="square" lIns="0" tIns="12886" rIns="0" bIns="0" rtlCol="0">
                  <a:spAutoFit/>
                </a:bodyPr>
                <a:lstStyle/>
                <a:p>
                  <a:pPr marL="11206">
                    <a:spcBef>
                      <a:spcPts val="101"/>
                    </a:spcBef>
                  </a:pPr>
                  <a:r>
                    <a:rPr sz="838" spc="4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0.0M</a:t>
                  </a:r>
                  <a:endParaRPr sz="838" dirty="0">
                    <a:latin typeface="Segoe UI"/>
                    <a:cs typeface="Segoe UI"/>
                  </a:endParaRPr>
                </a:p>
              </p:txBody>
            </p:sp>
            <p:sp>
              <p:nvSpPr>
                <p:cNvPr id="221" name="object 221"/>
                <p:cNvSpPr/>
                <p:nvPr/>
              </p:nvSpPr>
              <p:spPr>
                <a:xfrm>
                  <a:off x="5463554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22" name="object 222"/>
                <p:cNvSpPr/>
                <p:nvPr/>
              </p:nvSpPr>
              <p:spPr>
                <a:xfrm>
                  <a:off x="6168014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23" name="object 223"/>
                <p:cNvSpPr/>
                <p:nvPr/>
              </p:nvSpPr>
              <p:spPr>
                <a:xfrm>
                  <a:off x="6872473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24" name="object 224"/>
                <p:cNvSpPr/>
                <p:nvPr/>
              </p:nvSpPr>
              <p:spPr>
                <a:xfrm>
                  <a:off x="6926661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25" name="object 225"/>
                <p:cNvSpPr/>
                <p:nvPr/>
              </p:nvSpPr>
              <p:spPr>
                <a:xfrm>
                  <a:off x="6980850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26" name="object 226"/>
                <p:cNvSpPr/>
                <p:nvPr/>
              </p:nvSpPr>
              <p:spPr>
                <a:xfrm>
                  <a:off x="7035040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27" name="object 227"/>
                <p:cNvSpPr/>
                <p:nvPr/>
              </p:nvSpPr>
              <p:spPr>
                <a:xfrm>
                  <a:off x="7089229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28" name="object 228"/>
                <p:cNvSpPr/>
                <p:nvPr/>
              </p:nvSpPr>
              <p:spPr>
                <a:xfrm>
                  <a:off x="7143418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29" name="object 229"/>
                <p:cNvSpPr/>
                <p:nvPr/>
              </p:nvSpPr>
              <p:spPr>
                <a:xfrm>
                  <a:off x="7197606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30" name="object 230"/>
                <p:cNvSpPr/>
                <p:nvPr/>
              </p:nvSpPr>
              <p:spPr>
                <a:xfrm>
                  <a:off x="7251796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31" name="object 231"/>
                <p:cNvSpPr/>
                <p:nvPr/>
              </p:nvSpPr>
              <p:spPr>
                <a:xfrm>
                  <a:off x="7305985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32" name="object 232"/>
                <p:cNvSpPr/>
                <p:nvPr/>
              </p:nvSpPr>
              <p:spPr>
                <a:xfrm>
                  <a:off x="7360174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33" name="object 233"/>
                <p:cNvSpPr/>
                <p:nvPr/>
              </p:nvSpPr>
              <p:spPr>
                <a:xfrm>
                  <a:off x="7414364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34" name="object 234"/>
                <p:cNvSpPr/>
                <p:nvPr/>
              </p:nvSpPr>
              <p:spPr>
                <a:xfrm>
                  <a:off x="7468552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35" name="object 235"/>
                <p:cNvSpPr/>
                <p:nvPr/>
              </p:nvSpPr>
              <p:spPr>
                <a:xfrm>
                  <a:off x="7522741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36" name="object 236"/>
                <p:cNvSpPr/>
                <p:nvPr/>
              </p:nvSpPr>
              <p:spPr>
                <a:xfrm>
                  <a:off x="7576931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37" name="object 237"/>
                <p:cNvSpPr/>
                <p:nvPr/>
              </p:nvSpPr>
              <p:spPr>
                <a:xfrm>
                  <a:off x="7631120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38" name="object 238"/>
                <p:cNvSpPr/>
                <p:nvPr/>
              </p:nvSpPr>
              <p:spPr>
                <a:xfrm>
                  <a:off x="7685309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39" name="object 239"/>
                <p:cNvSpPr/>
                <p:nvPr/>
              </p:nvSpPr>
              <p:spPr>
                <a:xfrm>
                  <a:off x="7739498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40" name="object 240"/>
                <p:cNvSpPr/>
                <p:nvPr/>
              </p:nvSpPr>
              <p:spPr>
                <a:xfrm>
                  <a:off x="7793687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41" name="object 241"/>
                <p:cNvSpPr/>
                <p:nvPr/>
              </p:nvSpPr>
              <p:spPr>
                <a:xfrm>
                  <a:off x="7847876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42" name="object 242"/>
                <p:cNvSpPr/>
                <p:nvPr/>
              </p:nvSpPr>
              <p:spPr>
                <a:xfrm>
                  <a:off x="7902066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43" name="object 243"/>
                <p:cNvSpPr/>
                <p:nvPr/>
              </p:nvSpPr>
              <p:spPr>
                <a:xfrm>
                  <a:off x="7956254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44" name="object 244"/>
                <p:cNvSpPr/>
                <p:nvPr/>
              </p:nvSpPr>
              <p:spPr>
                <a:xfrm>
                  <a:off x="8010443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45" name="object 245"/>
                <p:cNvSpPr/>
                <p:nvPr/>
              </p:nvSpPr>
              <p:spPr>
                <a:xfrm>
                  <a:off x="8064633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46" name="object 246"/>
                <p:cNvSpPr/>
                <p:nvPr/>
              </p:nvSpPr>
              <p:spPr>
                <a:xfrm>
                  <a:off x="8118822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47" name="object 247"/>
                <p:cNvSpPr/>
                <p:nvPr/>
              </p:nvSpPr>
              <p:spPr>
                <a:xfrm>
                  <a:off x="8173011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48" name="object 248"/>
                <p:cNvSpPr/>
                <p:nvPr/>
              </p:nvSpPr>
              <p:spPr>
                <a:xfrm>
                  <a:off x="8227200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49" name="object 249"/>
                <p:cNvSpPr/>
                <p:nvPr/>
              </p:nvSpPr>
              <p:spPr>
                <a:xfrm>
                  <a:off x="8281389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50" name="object 250"/>
                <p:cNvSpPr/>
                <p:nvPr/>
              </p:nvSpPr>
              <p:spPr>
                <a:xfrm>
                  <a:off x="8335578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51" name="object 251"/>
                <p:cNvSpPr/>
                <p:nvPr/>
              </p:nvSpPr>
              <p:spPr>
                <a:xfrm>
                  <a:off x="8389768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52" name="object 252"/>
                <p:cNvSpPr/>
                <p:nvPr/>
              </p:nvSpPr>
              <p:spPr>
                <a:xfrm>
                  <a:off x="8443956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53" name="object 253"/>
                <p:cNvSpPr/>
                <p:nvPr/>
              </p:nvSpPr>
              <p:spPr>
                <a:xfrm>
                  <a:off x="8498145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54" name="object 254"/>
                <p:cNvSpPr/>
                <p:nvPr/>
              </p:nvSpPr>
              <p:spPr>
                <a:xfrm>
                  <a:off x="8552335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55" name="object 255"/>
                <p:cNvSpPr/>
                <p:nvPr/>
              </p:nvSpPr>
              <p:spPr>
                <a:xfrm>
                  <a:off x="8606524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56" name="object 256"/>
                <p:cNvSpPr/>
                <p:nvPr/>
              </p:nvSpPr>
              <p:spPr>
                <a:xfrm>
                  <a:off x="8660713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57" name="object 257"/>
                <p:cNvSpPr/>
                <p:nvPr/>
              </p:nvSpPr>
              <p:spPr>
                <a:xfrm>
                  <a:off x="8714902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58" name="object 258"/>
                <p:cNvSpPr/>
                <p:nvPr/>
              </p:nvSpPr>
              <p:spPr>
                <a:xfrm>
                  <a:off x="8769091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59" name="object 259"/>
                <p:cNvSpPr/>
                <p:nvPr/>
              </p:nvSpPr>
              <p:spPr>
                <a:xfrm>
                  <a:off x="8823280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60" name="object 260"/>
                <p:cNvSpPr/>
                <p:nvPr/>
              </p:nvSpPr>
              <p:spPr>
                <a:xfrm>
                  <a:off x="8877470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61" name="object 261"/>
                <p:cNvSpPr/>
                <p:nvPr/>
              </p:nvSpPr>
              <p:spPr>
                <a:xfrm>
                  <a:off x="8931659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62" name="object 262"/>
                <p:cNvSpPr/>
                <p:nvPr/>
              </p:nvSpPr>
              <p:spPr>
                <a:xfrm>
                  <a:off x="8985847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63" name="object 263"/>
                <p:cNvSpPr/>
                <p:nvPr/>
              </p:nvSpPr>
              <p:spPr>
                <a:xfrm>
                  <a:off x="9040037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64" name="object 264"/>
                <p:cNvSpPr/>
                <p:nvPr/>
              </p:nvSpPr>
              <p:spPr>
                <a:xfrm>
                  <a:off x="9094226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65" name="object 265"/>
                <p:cNvSpPr/>
                <p:nvPr/>
              </p:nvSpPr>
              <p:spPr>
                <a:xfrm>
                  <a:off x="9148415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66" name="object 266"/>
                <p:cNvSpPr/>
                <p:nvPr/>
              </p:nvSpPr>
              <p:spPr>
                <a:xfrm>
                  <a:off x="9202604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67" name="object 267"/>
                <p:cNvSpPr/>
                <p:nvPr/>
              </p:nvSpPr>
              <p:spPr>
                <a:xfrm>
                  <a:off x="9256793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68" name="object 268"/>
                <p:cNvSpPr/>
                <p:nvPr/>
              </p:nvSpPr>
              <p:spPr>
                <a:xfrm>
                  <a:off x="9310982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69" name="object 269"/>
                <p:cNvSpPr/>
                <p:nvPr/>
              </p:nvSpPr>
              <p:spPr>
                <a:xfrm>
                  <a:off x="9365172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70" name="object 270"/>
                <p:cNvSpPr/>
                <p:nvPr/>
              </p:nvSpPr>
              <p:spPr>
                <a:xfrm>
                  <a:off x="9419361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71" name="object 271"/>
                <p:cNvSpPr/>
                <p:nvPr/>
              </p:nvSpPr>
              <p:spPr>
                <a:xfrm>
                  <a:off x="9473549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72" name="object 272"/>
                <p:cNvSpPr/>
                <p:nvPr/>
              </p:nvSpPr>
              <p:spPr>
                <a:xfrm>
                  <a:off x="9527739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73" name="object 273"/>
                <p:cNvSpPr/>
                <p:nvPr/>
              </p:nvSpPr>
              <p:spPr>
                <a:xfrm>
                  <a:off x="9581928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74" name="object 274"/>
                <p:cNvSpPr/>
                <p:nvPr/>
              </p:nvSpPr>
              <p:spPr>
                <a:xfrm>
                  <a:off x="9636117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75" name="object 275"/>
                <p:cNvSpPr/>
                <p:nvPr/>
              </p:nvSpPr>
              <p:spPr>
                <a:xfrm>
                  <a:off x="9690306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76" name="object 276"/>
                <p:cNvSpPr/>
                <p:nvPr/>
              </p:nvSpPr>
              <p:spPr>
                <a:xfrm>
                  <a:off x="9744495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77" name="object 277"/>
                <p:cNvSpPr/>
                <p:nvPr/>
              </p:nvSpPr>
              <p:spPr>
                <a:xfrm>
                  <a:off x="9798684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78" name="object 278"/>
                <p:cNvSpPr/>
                <p:nvPr/>
              </p:nvSpPr>
              <p:spPr>
                <a:xfrm>
                  <a:off x="9852873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79" name="object 279"/>
                <p:cNvSpPr/>
                <p:nvPr/>
              </p:nvSpPr>
              <p:spPr>
                <a:xfrm>
                  <a:off x="9907063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80" name="object 280"/>
                <p:cNvSpPr/>
                <p:nvPr/>
              </p:nvSpPr>
              <p:spPr>
                <a:xfrm>
                  <a:off x="9961251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81" name="object 281"/>
                <p:cNvSpPr/>
                <p:nvPr/>
              </p:nvSpPr>
              <p:spPr>
                <a:xfrm>
                  <a:off x="10015440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82" name="object 282"/>
                <p:cNvSpPr/>
                <p:nvPr/>
              </p:nvSpPr>
              <p:spPr>
                <a:xfrm>
                  <a:off x="10069630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83" name="object 283"/>
                <p:cNvSpPr/>
                <p:nvPr/>
              </p:nvSpPr>
              <p:spPr>
                <a:xfrm>
                  <a:off x="10123819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84" name="object 284"/>
                <p:cNvSpPr/>
                <p:nvPr/>
              </p:nvSpPr>
              <p:spPr>
                <a:xfrm>
                  <a:off x="10178008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85" name="object 285"/>
                <p:cNvSpPr/>
                <p:nvPr/>
              </p:nvSpPr>
              <p:spPr>
                <a:xfrm>
                  <a:off x="10232197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86" name="object 286"/>
                <p:cNvSpPr/>
                <p:nvPr/>
              </p:nvSpPr>
              <p:spPr>
                <a:xfrm>
                  <a:off x="10286386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87" name="object 287"/>
                <p:cNvSpPr/>
                <p:nvPr/>
              </p:nvSpPr>
              <p:spPr>
                <a:xfrm>
                  <a:off x="10340575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88" name="object 288"/>
                <p:cNvSpPr/>
                <p:nvPr/>
              </p:nvSpPr>
              <p:spPr>
                <a:xfrm>
                  <a:off x="10394765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89" name="object 289"/>
                <p:cNvSpPr/>
                <p:nvPr/>
              </p:nvSpPr>
              <p:spPr>
                <a:xfrm>
                  <a:off x="10448954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90" name="object 290"/>
                <p:cNvSpPr/>
                <p:nvPr/>
              </p:nvSpPr>
              <p:spPr>
                <a:xfrm>
                  <a:off x="10503142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91" name="object 291"/>
                <p:cNvSpPr/>
                <p:nvPr/>
              </p:nvSpPr>
              <p:spPr>
                <a:xfrm>
                  <a:off x="10557332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92" name="object 292"/>
                <p:cNvSpPr/>
                <p:nvPr/>
              </p:nvSpPr>
              <p:spPr>
                <a:xfrm>
                  <a:off x="10611521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93" name="object 293"/>
                <p:cNvSpPr/>
                <p:nvPr/>
              </p:nvSpPr>
              <p:spPr>
                <a:xfrm>
                  <a:off x="10665710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94" name="object 294"/>
                <p:cNvSpPr/>
                <p:nvPr/>
              </p:nvSpPr>
              <p:spPr>
                <a:xfrm>
                  <a:off x="10719899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95" name="object 295"/>
                <p:cNvSpPr/>
                <p:nvPr/>
              </p:nvSpPr>
              <p:spPr>
                <a:xfrm>
                  <a:off x="10774088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96" name="object 296"/>
                <p:cNvSpPr/>
                <p:nvPr/>
              </p:nvSpPr>
              <p:spPr>
                <a:xfrm>
                  <a:off x="10828277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97" name="object 297"/>
                <p:cNvSpPr/>
                <p:nvPr/>
              </p:nvSpPr>
              <p:spPr>
                <a:xfrm>
                  <a:off x="10882467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98" name="object 298"/>
                <p:cNvSpPr/>
                <p:nvPr/>
              </p:nvSpPr>
              <p:spPr>
                <a:xfrm>
                  <a:off x="10936656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99" name="object 299"/>
                <p:cNvSpPr/>
                <p:nvPr/>
              </p:nvSpPr>
              <p:spPr>
                <a:xfrm>
                  <a:off x="10990844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00" name="object 300"/>
                <p:cNvSpPr/>
                <p:nvPr/>
              </p:nvSpPr>
              <p:spPr>
                <a:xfrm>
                  <a:off x="11045034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01" name="object 301"/>
                <p:cNvSpPr/>
                <p:nvPr/>
              </p:nvSpPr>
              <p:spPr>
                <a:xfrm>
                  <a:off x="11099223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02" name="object 302"/>
                <p:cNvSpPr/>
                <p:nvPr/>
              </p:nvSpPr>
              <p:spPr>
                <a:xfrm>
                  <a:off x="11153412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03" name="object 303"/>
                <p:cNvSpPr/>
                <p:nvPr/>
              </p:nvSpPr>
              <p:spPr>
                <a:xfrm>
                  <a:off x="11207601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04" name="object 304"/>
                <p:cNvSpPr/>
                <p:nvPr/>
              </p:nvSpPr>
              <p:spPr>
                <a:xfrm>
                  <a:off x="11261790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05" name="object 305"/>
                <p:cNvSpPr/>
                <p:nvPr/>
              </p:nvSpPr>
              <p:spPr>
                <a:xfrm>
                  <a:off x="11315979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06" name="object 306"/>
                <p:cNvSpPr/>
                <p:nvPr/>
              </p:nvSpPr>
              <p:spPr>
                <a:xfrm>
                  <a:off x="11370169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07" name="object 307"/>
                <p:cNvSpPr/>
                <p:nvPr/>
              </p:nvSpPr>
              <p:spPr>
                <a:xfrm>
                  <a:off x="11424358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08" name="object 308"/>
                <p:cNvSpPr/>
                <p:nvPr/>
              </p:nvSpPr>
              <p:spPr>
                <a:xfrm>
                  <a:off x="11478546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09" name="object 309"/>
                <p:cNvSpPr/>
                <p:nvPr/>
              </p:nvSpPr>
              <p:spPr>
                <a:xfrm>
                  <a:off x="11532736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10" name="object 310"/>
                <p:cNvSpPr/>
                <p:nvPr/>
              </p:nvSpPr>
              <p:spPr>
                <a:xfrm>
                  <a:off x="11586925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11" name="object 311"/>
                <p:cNvSpPr/>
                <p:nvPr/>
              </p:nvSpPr>
              <p:spPr>
                <a:xfrm>
                  <a:off x="11641114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12" name="object 312"/>
                <p:cNvSpPr/>
                <p:nvPr/>
              </p:nvSpPr>
              <p:spPr>
                <a:xfrm>
                  <a:off x="11695304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13" name="object 313"/>
                <p:cNvSpPr/>
                <p:nvPr/>
              </p:nvSpPr>
              <p:spPr>
                <a:xfrm>
                  <a:off x="11749492" y="582245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14" name="object 314"/>
                <p:cNvSpPr txBox="1"/>
                <p:nvPr/>
              </p:nvSpPr>
              <p:spPr>
                <a:xfrm>
                  <a:off x="4474105" y="5742213"/>
                  <a:ext cx="260537" cy="141958"/>
                </a:xfrm>
                <a:prstGeom prst="rect">
                  <a:avLst/>
                </a:prstGeom>
              </p:spPr>
              <p:txBody>
                <a:bodyPr vert="horz" wrap="square" lIns="0" tIns="12886" rIns="0" bIns="0" rtlCol="0">
                  <a:spAutoFit/>
                </a:bodyPr>
                <a:lstStyle/>
                <a:p>
                  <a:pPr marL="11206">
                    <a:spcBef>
                      <a:spcPts val="101"/>
                    </a:spcBef>
                  </a:pPr>
                  <a:r>
                    <a:rPr sz="838" spc="4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0.5M</a:t>
                  </a:r>
                  <a:endParaRPr sz="838" dirty="0">
                    <a:latin typeface="Segoe UI"/>
                    <a:cs typeface="Segoe UI"/>
                  </a:endParaRPr>
                </a:p>
              </p:txBody>
            </p:sp>
            <p:sp>
              <p:nvSpPr>
                <p:cNvPr id="315" name="object 315"/>
                <p:cNvSpPr/>
                <p:nvPr/>
              </p:nvSpPr>
              <p:spPr>
                <a:xfrm>
                  <a:off x="4813285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16" name="object 316"/>
                <p:cNvSpPr/>
                <p:nvPr/>
              </p:nvSpPr>
              <p:spPr>
                <a:xfrm>
                  <a:off x="4867475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17" name="object 317"/>
                <p:cNvSpPr/>
                <p:nvPr/>
              </p:nvSpPr>
              <p:spPr>
                <a:xfrm>
                  <a:off x="4921664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18" name="object 318"/>
                <p:cNvSpPr/>
                <p:nvPr/>
              </p:nvSpPr>
              <p:spPr>
                <a:xfrm>
                  <a:off x="4975852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19" name="object 319"/>
                <p:cNvSpPr/>
                <p:nvPr/>
              </p:nvSpPr>
              <p:spPr>
                <a:xfrm>
                  <a:off x="5030042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20" name="object 320"/>
                <p:cNvSpPr/>
                <p:nvPr/>
              </p:nvSpPr>
              <p:spPr>
                <a:xfrm>
                  <a:off x="5084231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21" name="object 321"/>
                <p:cNvSpPr/>
                <p:nvPr/>
              </p:nvSpPr>
              <p:spPr>
                <a:xfrm>
                  <a:off x="5138420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22" name="object 322"/>
                <p:cNvSpPr/>
                <p:nvPr/>
              </p:nvSpPr>
              <p:spPr>
                <a:xfrm>
                  <a:off x="5192609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23" name="object 323"/>
                <p:cNvSpPr/>
                <p:nvPr/>
              </p:nvSpPr>
              <p:spPr>
                <a:xfrm>
                  <a:off x="5246798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24" name="object 324"/>
                <p:cNvSpPr/>
                <p:nvPr/>
              </p:nvSpPr>
              <p:spPr>
                <a:xfrm>
                  <a:off x="5300987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25" name="object 325"/>
                <p:cNvSpPr/>
                <p:nvPr/>
              </p:nvSpPr>
              <p:spPr>
                <a:xfrm>
                  <a:off x="5355177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26" name="object 326"/>
                <p:cNvSpPr/>
                <p:nvPr/>
              </p:nvSpPr>
              <p:spPr>
                <a:xfrm>
                  <a:off x="5409366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27" name="object 327"/>
                <p:cNvSpPr/>
                <p:nvPr/>
              </p:nvSpPr>
              <p:spPr>
                <a:xfrm>
                  <a:off x="5463554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28" name="object 328"/>
                <p:cNvSpPr/>
                <p:nvPr/>
              </p:nvSpPr>
              <p:spPr>
                <a:xfrm>
                  <a:off x="6168014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29" name="object 329"/>
                <p:cNvSpPr/>
                <p:nvPr/>
              </p:nvSpPr>
              <p:spPr>
                <a:xfrm>
                  <a:off x="6222202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30" name="object 330"/>
                <p:cNvSpPr/>
                <p:nvPr/>
              </p:nvSpPr>
              <p:spPr>
                <a:xfrm>
                  <a:off x="6276392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31" name="object 331"/>
                <p:cNvSpPr/>
                <p:nvPr/>
              </p:nvSpPr>
              <p:spPr>
                <a:xfrm>
                  <a:off x="6330581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32" name="object 332"/>
                <p:cNvSpPr/>
                <p:nvPr/>
              </p:nvSpPr>
              <p:spPr>
                <a:xfrm>
                  <a:off x="6384770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33" name="object 333"/>
                <p:cNvSpPr/>
                <p:nvPr/>
              </p:nvSpPr>
              <p:spPr>
                <a:xfrm>
                  <a:off x="6438959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34" name="object 334"/>
                <p:cNvSpPr/>
                <p:nvPr/>
              </p:nvSpPr>
              <p:spPr>
                <a:xfrm>
                  <a:off x="6493148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35" name="object 335"/>
                <p:cNvSpPr/>
                <p:nvPr/>
              </p:nvSpPr>
              <p:spPr>
                <a:xfrm>
                  <a:off x="6547337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36" name="object 336"/>
                <p:cNvSpPr/>
                <p:nvPr/>
              </p:nvSpPr>
              <p:spPr>
                <a:xfrm>
                  <a:off x="6601527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37" name="object 337"/>
                <p:cNvSpPr/>
                <p:nvPr/>
              </p:nvSpPr>
              <p:spPr>
                <a:xfrm>
                  <a:off x="6655716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38" name="object 338"/>
                <p:cNvSpPr/>
                <p:nvPr/>
              </p:nvSpPr>
              <p:spPr>
                <a:xfrm>
                  <a:off x="6709904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39" name="object 339"/>
                <p:cNvSpPr/>
                <p:nvPr/>
              </p:nvSpPr>
              <p:spPr>
                <a:xfrm>
                  <a:off x="6764094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40" name="object 340"/>
                <p:cNvSpPr/>
                <p:nvPr/>
              </p:nvSpPr>
              <p:spPr>
                <a:xfrm>
                  <a:off x="6818283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41" name="object 341"/>
                <p:cNvSpPr/>
                <p:nvPr/>
              </p:nvSpPr>
              <p:spPr>
                <a:xfrm>
                  <a:off x="6872473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42" name="object 342"/>
                <p:cNvSpPr/>
                <p:nvPr/>
              </p:nvSpPr>
              <p:spPr>
                <a:xfrm>
                  <a:off x="6926661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43" name="object 343"/>
                <p:cNvSpPr/>
                <p:nvPr/>
              </p:nvSpPr>
              <p:spPr>
                <a:xfrm>
                  <a:off x="6980850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44" name="object 344"/>
                <p:cNvSpPr/>
                <p:nvPr/>
              </p:nvSpPr>
              <p:spPr>
                <a:xfrm>
                  <a:off x="7035040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45" name="object 345"/>
                <p:cNvSpPr/>
                <p:nvPr/>
              </p:nvSpPr>
              <p:spPr>
                <a:xfrm>
                  <a:off x="7089229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46" name="object 346"/>
                <p:cNvSpPr/>
                <p:nvPr/>
              </p:nvSpPr>
              <p:spPr>
                <a:xfrm>
                  <a:off x="7143418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47" name="object 347"/>
                <p:cNvSpPr/>
                <p:nvPr/>
              </p:nvSpPr>
              <p:spPr>
                <a:xfrm>
                  <a:off x="7197606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48" name="object 348"/>
                <p:cNvSpPr/>
                <p:nvPr/>
              </p:nvSpPr>
              <p:spPr>
                <a:xfrm>
                  <a:off x="7251796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49" name="object 349"/>
                <p:cNvSpPr/>
                <p:nvPr/>
              </p:nvSpPr>
              <p:spPr>
                <a:xfrm>
                  <a:off x="7305985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50" name="object 350"/>
                <p:cNvSpPr/>
                <p:nvPr/>
              </p:nvSpPr>
              <p:spPr>
                <a:xfrm>
                  <a:off x="7360174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51" name="object 351"/>
                <p:cNvSpPr/>
                <p:nvPr/>
              </p:nvSpPr>
              <p:spPr>
                <a:xfrm>
                  <a:off x="7414364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52" name="object 352"/>
                <p:cNvSpPr/>
                <p:nvPr/>
              </p:nvSpPr>
              <p:spPr>
                <a:xfrm>
                  <a:off x="7468552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53" name="object 353"/>
                <p:cNvSpPr/>
                <p:nvPr/>
              </p:nvSpPr>
              <p:spPr>
                <a:xfrm>
                  <a:off x="7522741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54" name="object 354"/>
                <p:cNvSpPr/>
                <p:nvPr/>
              </p:nvSpPr>
              <p:spPr>
                <a:xfrm>
                  <a:off x="7576931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55" name="object 355"/>
                <p:cNvSpPr/>
                <p:nvPr/>
              </p:nvSpPr>
              <p:spPr>
                <a:xfrm>
                  <a:off x="7631120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56" name="object 356"/>
                <p:cNvSpPr/>
                <p:nvPr/>
              </p:nvSpPr>
              <p:spPr>
                <a:xfrm>
                  <a:off x="7685309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57" name="object 357"/>
                <p:cNvSpPr/>
                <p:nvPr/>
              </p:nvSpPr>
              <p:spPr>
                <a:xfrm>
                  <a:off x="7739498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58" name="object 358"/>
                <p:cNvSpPr/>
                <p:nvPr/>
              </p:nvSpPr>
              <p:spPr>
                <a:xfrm>
                  <a:off x="7793687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59" name="object 359"/>
                <p:cNvSpPr/>
                <p:nvPr/>
              </p:nvSpPr>
              <p:spPr>
                <a:xfrm>
                  <a:off x="7847876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60" name="object 360"/>
                <p:cNvSpPr/>
                <p:nvPr/>
              </p:nvSpPr>
              <p:spPr>
                <a:xfrm>
                  <a:off x="7902066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61" name="object 361"/>
                <p:cNvSpPr/>
                <p:nvPr/>
              </p:nvSpPr>
              <p:spPr>
                <a:xfrm>
                  <a:off x="7956254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62" name="object 362"/>
                <p:cNvSpPr/>
                <p:nvPr/>
              </p:nvSpPr>
              <p:spPr>
                <a:xfrm>
                  <a:off x="8010443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63" name="object 363"/>
                <p:cNvSpPr/>
                <p:nvPr/>
              </p:nvSpPr>
              <p:spPr>
                <a:xfrm>
                  <a:off x="8064633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64" name="object 364"/>
                <p:cNvSpPr/>
                <p:nvPr/>
              </p:nvSpPr>
              <p:spPr>
                <a:xfrm>
                  <a:off x="8118822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65" name="object 365"/>
                <p:cNvSpPr/>
                <p:nvPr/>
              </p:nvSpPr>
              <p:spPr>
                <a:xfrm>
                  <a:off x="8173011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66" name="object 366"/>
                <p:cNvSpPr/>
                <p:nvPr/>
              </p:nvSpPr>
              <p:spPr>
                <a:xfrm>
                  <a:off x="8227200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67" name="object 367"/>
                <p:cNvSpPr/>
                <p:nvPr/>
              </p:nvSpPr>
              <p:spPr>
                <a:xfrm>
                  <a:off x="8281389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68" name="object 368"/>
                <p:cNvSpPr/>
                <p:nvPr/>
              </p:nvSpPr>
              <p:spPr>
                <a:xfrm>
                  <a:off x="8335578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69" name="object 369"/>
                <p:cNvSpPr/>
                <p:nvPr/>
              </p:nvSpPr>
              <p:spPr>
                <a:xfrm>
                  <a:off x="8389768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70" name="object 370"/>
                <p:cNvSpPr/>
                <p:nvPr/>
              </p:nvSpPr>
              <p:spPr>
                <a:xfrm>
                  <a:off x="8443956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71" name="object 371"/>
                <p:cNvSpPr/>
                <p:nvPr/>
              </p:nvSpPr>
              <p:spPr>
                <a:xfrm>
                  <a:off x="8498145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72" name="object 372"/>
                <p:cNvSpPr/>
                <p:nvPr/>
              </p:nvSpPr>
              <p:spPr>
                <a:xfrm>
                  <a:off x="8552335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73" name="object 373"/>
                <p:cNvSpPr/>
                <p:nvPr/>
              </p:nvSpPr>
              <p:spPr>
                <a:xfrm>
                  <a:off x="8606524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74" name="object 374"/>
                <p:cNvSpPr/>
                <p:nvPr/>
              </p:nvSpPr>
              <p:spPr>
                <a:xfrm>
                  <a:off x="8660713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75" name="object 375"/>
                <p:cNvSpPr/>
                <p:nvPr/>
              </p:nvSpPr>
              <p:spPr>
                <a:xfrm>
                  <a:off x="8714902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76" name="object 376"/>
                <p:cNvSpPr/>
                <p:nvPr/>
              </p:nvSpPr>
              <p:spPr>
                <a:xfrm>
                  <a:off x="8769091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77" name="object 377"/>
                <p:cNvSpPr/>
                <p:nvPr/>
              </p:nvSpPr>
              <p:spPr>
                <a:xfrm>
                  <a:off x="8823280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78" name="object 378"/>
                <p:cNvSpPr/>
                <p:nvPr/>
              </p:nvSpPr>
              <p:spPr>
                <a:xfrm>
                  <a:off x="8877470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79" name="object 379"/>
                <p:cNvSpPr/>
                <p:nvPr/>
              </p:nvSpPr>
              <p:spPr>
                <a:xfrm>
                  <a:off x="8931659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80" name="object 380"/>
                <p:cNvSpPr/>
                <p:nvPr/>
              </p:nvSpPr>
              <p:spPr>
                <a:xfrm>
                  <a:off x="8985847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81" name="object 381"/>
                <p:cNvSpPr/>
                <p:nvPr/>
              </p:nvSpPr>
              <p:spPr>
                <a:xfrm>
                  <a:off x="9040037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82" name="object 382"/>
                <p:cNvSpPr/>
                <p:nvPr/>
              </p:nvSpPr>
              <p:spPr>
                <a:xfrm>
                  <a:off x="9094226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83" name="object 383"/>
                <p:cNvSpPr/>
                <p:nvPr/>
              </p:nvSpPr>
              <p:spPr>
                <a:xfrm>
                  <a:off x="9148415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84" name="object 384"/>
                <p:cNvSpPr/>
                <p:nvPr/>
              </p:nvSpPr>
              <p:spPr>
                <a:xfrm>
                  <a:off x="9202604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85" name="object 385"/>
                <p:cNvSpPr/>
                <p:nvPr/>
              </p:nvSpPr>
              <p:spPr>
                <a:xfrm>
                  <a:off x="9256793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86" name="object 386"/>
                <p:cNvSpPr/>
                <p:nvPr/>
              </p:nvSpPr>
              <p:spPr>
                <a:xfrm>
                  <a:off x="9310982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87" name="object 387"/>
                <p:cNvSpPr/>
                <p:nvPr/>
              </p:nvSpPr>
              <p:spPr>
                <a:xfrm>
                  <a:off x="9365172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88" name="object 388"/>
                <p:cNvSpPr/>
                <p:nvPr/>
              </p:nvSpPr>
              <p:spPr>
                <a:xfrm>
                  <a:off x="9419361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89" name="object 389"/>
                <p:cNvSpPr/>
                <p:nvPr/>
              </p:nvSpPr>
              <p:spPr>
                <a:xfrm>
                  <a:off x="9473549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90" name="object 390"/>
                <p:cNvSpPr/>
                <p:nvPr/>
              </p:nvSpPr>
              <p:spPr>
                <a:xfrm>
                  <a:off x="9527739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91" name="object 391"/>
                <p:cNvSpPr/>
                <p:nvPr/>
              </p:nvSpPr>
              <p:spPr>
                <a:xfrm>
                  <a:off x="9581928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92" name="object 392"/>
                <p:cNvSpPr/>
                <p:nvPr/>
              </p:nvSpPr>
              <p:spPr>
                <a:xfrm>
                  <a:off x="9636117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93" name="object 393"/>
                <p:cNvSpPr/>
                <p:nvPr/>
              </p:nvSpPr>
              <p:spPr>
                <a:xfrm>
                  <a:off x="9690306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94" name="object 394"/>
                <p:cNvSpPr/>
                <p:nvPr/>
              </p:nvSpPr>
              <p:spPr>
                <a:xfrm>
                  <a:off x="9744495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95" name="object 395"/>
                <p:cNvSpPr/>
                <p:nvPr/>
              </p:nvSpPr>
              <p:spPr>
                <a:xfrm>
                  <a:off x="9798684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96" name="object 396"/>
                <p:cNvSpPr/>
                <p:nvPr/>
              </p:nvSpPr>
              <p:spPr>
                <a:xfrm>
                  <a:off x="9852873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97" name="object 397"/>
                <p:cNvSpPr/>
                <p:nvPr/>
              </p:nvSpPr>
              <p:spPr>
                <a:xfrm>
                  <a:off x="9907063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98" name="object 398"/>
                <p:cNvSpPr/>
                <p:nvPr/>
              </p:nvSpPr>
              <p:spPr>
                <a:xfrm>
                  <a:off x="9961251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399" name="object 399"/>
                <p:cNvSpPr/>
                <p:nvPr/>
              </p:nvSpPr>
              <p:spPr>
                <a:xfrm>
                  <a:off x="10015440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00" name="object 400"/>
                <p:cNvSpPr/>
                <p:nvPr/>
              </p:nvSpPr>
              <p:spPr>
                <a:xfrm>
                  <a:off x="10069630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01" name="object 401"/>
                <p:cNvSpPr/>
                <p:nvPr/>
              </p:nvSpPr>
              <p:spPr>
                <a:xfrm>
                  <a:off x="10123819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02" name="object 402"/>
                <p:cNvSpPr/>
                <p:nvPr/>
              </p:nvSpPr>
              <p:spPr>
                <a:xfrm>
                  <a:off x="10178008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03" name="object 403"/>
                <p:cNvSpPr/>
                <p:nvPr/>
              </p:nvSpPr>
              <p:spPr>
                <a:xfrm>
                  <a:off x="10232197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04" name="object 404"/>
                <p:cNvSpPr/>
                <p:nvPr/>
              </p:nvSpPr>
              <p:spPr>
                <a:xfrm>
                  <a:off x="10286386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05" name="object 405"/>
                <p:cNvSpPr/>
                <p:nvPr/>
              </p:nvSpPr>
              <p:spPr>
                <a:xfrm>
                  <a:off x="10340575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06" name="object 406"/>
                <p:cNvSpPr/>
                <p:nvPr/>
              </p:nvSpPr>
              <p:spPr>
                <a:xfrm>
                  <a:off x="10394765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07" name="object 407"/>
                <p:cNvSpPr/>
                <p:nvPr/>
              </p:nvSpPr>
              <p:spPr>
                <a:xfrm>
                  <a:off x="10448954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08" name="object 408"/>
                <p:cNvSpPr/>
                <p:nvPr/>
              </p:nvSpPr>
              <p:spPr>
                <a:xfrm>
                  <a:off x="10503142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09" name="object 409"/>
                <p:cNvSpPr/>
                <p:nvPr/>
              </p:nvSpPr>
              <p:spPr>
                <a:xfrm>
                  <a:off x="10557332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10" name="object 410"/>
                <p:cNvSpPr/>
                <p:nvPr/>
              </p:nvSpPr>
              <p:spPr>
                <a:xfrm>
                  <a:off x="10611521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11" name="object 411"/>
                <p:cNvSpPr/>
                <p:nvPr/>
              </p:nvSpPr>
              <p:spPr>
                <a:xfrm>
                  <a:off x="10665710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12" name="object 412"/>
                <p:cNvSpPr/>
                <p:nvPr/>
              </p:nvSpPr>
              <p:spPr>
                <a:xfrm>
                  <a:off x="10719899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13" name="object 413"/>
                <p:cNvSpPr/>
                <p:nvPr/>
              </p:nvSpPr>
              <p:spPr>
                <a:xfrm>
                  <a:off x="10774088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14" name="object 414"/>
                <p:cNvSpPr/>
                <p:nvPr/>
              </p:nvSpPr>
              <p:spPr>
                <a:xfrm>
                  <a:off x="10828277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15" name="object 415"/>
                <p:cNvSpPr/>
                <p:nvPr/>
              </p:nvSpPr>
              <p:spPr>
                <a:xfrm>
                  <a:off x="10882467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16" name="object 416"/>
                <p:cNvSpPr/>
                <p:nvPr/>
              </p:nvSpPr>
              <p:spPr>
                <a:xfrm>
                  <a:off x="10936656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17" name="object 417"/>
                <p:cNvSpPr/>
                <p:nvPr/>
              </p:nvSpPr>
              <p:spPr>
                <a:xfrm>
                  <a:off x="10990844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18" name="object 418"/>
                <p:cNvSpPr/>
                <p:nvPr/>
              </p:nvSpPr>
              <p:spPr>
                <a:xfrm>
                  <a:off x="11045034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19" name="object 419"/>
                <p:cNvSpPr/>
                <p:nvPr/>
              </p:nvSpPr>
              <p:spPr>
                <a:xfrm>
                  <a:off x="11099223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20" name="object 420"/>
                <p:cNvSpPr/>
                <p:nvPr/>
              </p:nvSpPr>
              <p:spPr>
                <a:xfrm>
                  <a:off x="11153412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21" name="object 421"/>
                <p:cNvSpPr/>
                <p:nvPr/>
              </p:nvSpPr>
              <p:spPr>
                <a:xfrm>
                  <a:off x="11207601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22" name="object 422"/>
                <p:cNvSpPr/>
                <p:nvPr/>
              </p:nvSpPr>
              <p:spPr>
                <a:xfrm>
                  <a:off x="11261790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23" name="object 423"/>
                <p:cNvSpPr/>
                <p:nvPr/>
              </p:nvSpPr>
              <p:spPr>
                <a:xfrm>
                  <a:off x="11315979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24" name="object 424"/>
                <p:cNvSpPr/>
                <p:nvPr/>
              </p:nvSpPr>
              <p:spPr>
                <a:xfrm>
                  <a:off x="11370169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25" name="object 425"/>
                <p:cNvSpPr/>
                <p:nvPr/>
              </p:nvSpPr>
              <p:spPr>
                <a:xfrm>
                  <a:off x="11424358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26" name="object 426"/>
                <p:cNvSpPr/>
                <p:nvPr/>
              </p:nvSpPr>
              <p:spPr>
                <a:xfrm>
                  <a:off x="11478546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27" name="object 427"/>
                <p:cNvSpPr/>
                <p:nvPr/>
              </p:nvSpPr>
              <p:spPr>
                <a:xfrm>
                  <a:off x="11532736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28" name="object 428"/>
                <p:cNvSpPr/>
                <p:nvPr/>
              </p:nvSpPr>
              <p:spPr>
                <a:xfrm>
                  <a:off x="11586925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29" name="object 429"/>
                <p:cNvSpPr/>
                <p:nvPr/>
              </p:nvSpPr>
              <p:spPr>
                <a:xfrm>
                  <a:off x="11641114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30" name="object 430"/>
                <p:cNvSpPr/>
                <p:nvPr/>
              </p:nvSpPr>
              <p:spPr>
                <a:xfrm>
                  <a:off x="11695304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31" name="object 431"/>
                <p:cNvSpPr/>
                <p:nvPr/>
              </p:nvSpPr>
              <p:spPr>
                <a:xfrm>
                  <a:off x="11749492" y="5242746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32" name="object 432"/>
                <p:cNvSpPr txBox="1"/>
                <p:nvPr/>
              </p:nvSpPr>
              <p:spPr>
                <a:xfrm>
                  <a:off x="4474105" y="5162508"/>
                  <a:ext cx="260537" cy="141958"/>
                </a:xfrm>
                <a:prstGeom prst="rect">
                  <a:avLst/>
                </a:prstGeom>
              </p:spPr>
              <p:txBody>
                <a:bodyPr vert="horz" wrap="square" lIns="0" tIns="12886" rIns="0" bIns="0" rtlCol="0">
                  <a:spAutoFit/>
                </a:bodyPr>
                <a:lstStyle/>
                <a:p>
                  <a:pPr marL="11206">
                    <a:spcBef>
                      <a:spcPts val="101"/>
                    </a:spcBef>
                  </a:pPr>
                  <a:r>
                    <a:rPr sz="838" spc="4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1.0M</a:t>
                  </a:r>
                  <a:endParaRPr sz="838" dirty="0">
                    <a:latin typeface="Segoe UI"/>
                    <a:cs typeface="Segoe UI"/>
                  </a:endParaRPr>
                </a:p>
              </p:txBody>
            </p:sp>
            <p:sp>
              <p:nvSpPr>
                <p:cNvPr id="433" name="object 433"/>
                <p:cNvSpPr/>
                <p:nvPr/>
              </p:nvSpPr>
              <p:spPr>
                <a:xfrm>
                  <a:off x="4813285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34" name="object 434"/>
                <p:cNvSpPr/>
                <p:nvPr/>
              </p:nvSpPr>
              <p:spPr>
                <a:xfrm>
                  <a:off x="4867475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35" name="object 435"/>
                <p:cNvSpPr/>
                <p:nvPr/>
              </p:nvSpPr>
              <p:spPr>
                <a:xfrm>
                  <a:off x="492166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36" name="object 436"/>
                <p:cNvSpPr/>
                <p:nvPr/>
              </p:nvSpPr>
              <p:spPr>
                <a:xfrm>
                  <a:off x="4975852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37" name="object 437"/>
                <p:cNvSpPr/>
                <p:nvPr/>
              </p:nvSpPr>
              <p:spPr>
                <a:xfrm>
                  <a:off x="5030042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38" name="object 438"/>
                <p:cNvSpPr/>
                <p:nvPr/>
              </p:nvSpPr>
              <p:spPr>
                <a:xfrm>
                  <a:off x="5084231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39" name="object 439"/>
                <p:cNvSpPr/>
                <p:nvPr/>
              </p:nvSpPr>
              <p:spPr>
                <a:xfrm>
                  <a:off x="5138420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40" name="object 440"/>
                <p:cNvSpPr/>
                <p:nvPr/>
              </p:nvSpPr>
              <p:spPr>
                <a:xfrm>
                  <a:off x="5192609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41" name="object 441"/>
                <p:cNvSpPr/>
                <p:nvPr/>
              </p:nvSpPr>
              <p:spPr>
                <a:xfrm>
                  <a:off x="5246798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42" name="object 442"/>
                <p:cNvSpPr/>
                <p:nvPr/>
              </p:nvSpPr>
              <p:spPr>
                <a:xfrm>
                  <a:off x="5300987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43" name="object 443"/>
                <p:cNvSpPr/>
                <p:nvPr/>
              </p:nvSpPr>
              <p:spPr>
                <a:xfrm>
                  <a:off x="5355177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44" name="object 444"/>
                <p:cNvSpPr/>
                <p:nvPr/>
              </p:nvSpPr>
              <p:spPr>
                <a:xfrm>
                  <a:off x="5409366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45" name="object 445"/>
                <p:cNvSpPr/>
                <p:nvPr/>
              </p:nvSpPr>
              <p:spPr>
                <a:xfrm>
                  <a:off x="546355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46" name="object 446"/>
                <p:cNvSpPr/>
                <p:nvPr/>
              </p:nvSpPr>
              <p:spPr>
                <a:xfrm>
                  <a:off x="551774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47" name="object 447"/>
                <p:cNvSpPr/>
                <p:nvPr/>
              </p:nvSpPr>
              <p:spPr>
                <a:xfrm>
                  <a:off x="5571933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48" name="object 448"/>
                <p:cNvSpPr/>
                <p:nvPr/>
              </p:nvSpPr>
              <p:spPr>
                <a:xfrm>
                  <a:off x="5626122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49" name="object 449"/>
                <p:cNvSpPr/>
                <p:nvPr/>
              </p:nvSpPr>
              <p:spPr>
                <a:xfrm>
                  <a:off x="5680311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50" name="object 450"/>
                <p:cNvSpPr/>
                <p:nvPr/>
              </p:nvSpPr>
              <p:spPr>
                <a:xfrm>
                  <a:off x="5734500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51" name="object 451"/>
                <p:cNvSpPr/>
                <p:nvPr/>
              </p:nvSpPr>
              <p:spPr>
                <a:xfrm>
                  <a:off x="5788689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52" name="object 452"/>
                <p:cNvSpPr/>
                <p:nvPr/>
              </p:nvSpPr>
              <p:spPr>
                <a:xfrm>
                  <a:off x="5842879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53" name="object 453"/>
                <p:cNvSpPr/>
                <p:nvPr/>
              </p:nvSpPr>
              <p:spPr>
                <a:xfrm>
                  <a:off x="5897068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54" name="object 454"/>
                <p:cNvSpPr/>
                <p:nvPr/>
              </p:nvSpPr>
              <p:spPr>
                <a:xfrm>
                  <a:off x="5951256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55" name="object 455"/>
                <p:cNvSpPr/>
                <p:nvPr/>
              </p:nvSpPr>
              <p:spPr>
                <a:xfrm>
                  <a:off x="6005446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56" name="object 456"/>
                <p:cNvSpPr/>
                <p:nvPr/>
              </p:nvSpPr>
              <p:spPr>
                <a:xfrm>
                  <a:off x="6059635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57" name="object 457"/>
                <p:cNvSpPr/>
                <p:nvPr/>
              </p:nvSpPr>
              <p:spPr>
                <a:xfrm>
                  <a:off x="6113825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58" name="object 458"/>
                <p:cNvSpPr/>
                <p:nvPr/>
              </p:nvSpPr>
              <p:spPr>
                <a:xfrm>
                  <a:off x="616801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59" name="object 459"/>
                <p:cNvSpPr/>
                <p:nvPr/>
              </p:nvSpPr>
              <p:spPr>
                <a:xfrm>
                  <a:off x="6222202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60" name="object 460"/>
                <p:cNvSpPr/>
                <p:nvPr/>
              </p:nvSpPr>
              <p:spPr>
                <a:xfrm>
                  <a:off x="6276392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61" name="object 461"/>
                <p:cNvSpPr/>
                <p:nvPr/>
              </p:nvSpPr>
              <p:spPr>
                <a:xfrm>
                  <a:off x="6330581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62" name="object 462"/>
                <p:cNvSpPr/>
                <p:nvPr/>
              </p:nvSpPr>
              <p:spPr>
                <a:xfrm>
                  <a:off x="6384770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63" name="object 463"/>
                <p:cNvSpPr/>
                <p:nvPr/>
              </p:nvSpPr>
              <p:spPr>
                <a:xfrm>
                  <a:off x="6438959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64" name="object 464"/>
                <p:cNvSpPr/>
                <p:nvPr/>
              </p:nvSpPr>
              <p:spPr>
                <a:xfrm>
                  <a:off x="6493148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65" name="object 465"/>
                <p:cNvSpPr/>
                <p:nvPr/>
              </p:nvSpPr>
              <p:spPr>
                <a:xfrm>
                  <a:off x="6547337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66" name="object 466"/>
                <p:cNvSpPr/>
                <p:nvPr/>
              </p:nvSpPr>
              <p:spPr>
                <a:xfrm>
                  <a:off x="6601527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67" name="object 467"/>
                <p:cNvSpPr/>
                <p:nvPr/>
              </p:nvSpPr>
              <p:spPr>
                <a:xfrm>
                  <a:off x="6655716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68" name="object 468"/>
                <p:cNvSpPr/>
                <p:nvPr/>
              </p:nvSpPr>
              <p:spPr>
                <a:xfrm>
                  <a:off x="670990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69" name="object 469"/>
                <p:cNvSpPr/>
                <p:nvPr/>
              </p:nvSpPr>
              <p:spPr>
                <a:xfrm>
                  <a:off x="676409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70" name="object 470"/>
                <p:cNvSpPr/>
                <p:nvPr/>
              </p:nvSpPr>
              <p:spPr>
                <a:xfrm>
                  <a:off x="6818283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71" name="object 471"/>
                <p:cNvSpPr/>
                <p:nvPr/>
              </p:nvSpPr>
              <p:spPr>
                <a:xfrm>
                  <a:off x="6872473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72" name="object 472"/>
                <p:cNvSpPr/>
                <p:nvPr/>
              </p:nvSpPr>
              <p:spPr>
                <a:xfrm>
                  <a:off x="6926661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73" name="object 473"/>
                <p:cNvSpPr/>
                <p:nvPr/>
              </p:nvSpPr>
              <p:spPr>
                <a:xfrm>
                  <a:off x="6980850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74" name="object 474"/>
                <p:cNvSpPr/>
                <p:nvPr/>
              </p:nvSpPr>
              <p:spPr>
                <a:xfrm>
                  <a:off x="7035040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75" name="object 475"/>
                <p:cNvSpPr/>
                <p:nvPr/>
              </p:nvSpPr>
              <p:spPr>
                <a:xfrm>
                  <a:off x="7089229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76" name="object 476"/>
                <p:cNvSpPr/>
                <p:nvPr/>
              </p:nvSpPr>
              <p:spPr>
                <a:xfrm>
                  <a:off x="7143418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77" name="object 477"/>
                <p:cNvSpPr/>
                <p:nvPr/>
              </p:nvSpPr>
              <p:spPr>
                <a:xfrm>
                  <a:off x="7197606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78" name="object 478"/>
                <p:cNvSpPr/>
                <p:nvPr/>
              </p:nvSpPr>
              <p:spPr>
                <a:xfrm>
                  <a:off x="7251796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79" name="object 479"/>
                <p:cNvSpPr/>
                <p:nvPr/>
              </p:nvSpPr>
              <p:spPr>
                <a:xfrm>
                  <a:off x="7305985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80" name="object 480"/>
                <p:cNvSpPr/>
                <p:nvPr/>
              </p:nvSpPr>
              <p:spPr>
                <a:xfrm>
                  <a:off x="736017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81" name="object 481"/>
                <p:cNvSpPr/>
                <p:nvPr/>
              </p:nvSpPr>
              <p:spPr>
                <a:xfrm>
                  <a:off x="741436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82" name="object 482"/>
                <p:cNvSpPr/>
                <p:nvPr/>
              </p:nvSpPr>
              <p:spPr>
                <a:xfrm>
                  <a:off x="7468552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83" name="object 483"/>
                <p:cNvSpPr/>
                <p:nvPr/>
              </p:nvSpPr>
              <p:spPr>
                <a:xfrm>
                  <a:off x="7522741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84" name="object 484"/>
                <p:cNvSpPr/>
                <p:nvPr/>
              </p:nvSpPr>
              <p:spPr>
                <a:xfrm>
                  <a:off x="7576931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85" name="object 485"/>
                <p:cNvSpPr/>
                <p:nvPr/>
              </p:nvSpPr>
              <p:spPr>
                <a:xfrm>
                  <a:off x="7631120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86" name="object 486"/>
                <p:cNvSpPr/>
                <p:nvPr/>
              </p:nvSpPr>
              <p:spPr>
                <a:xfrm>
                  <a:off x="7685309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87" name="object 487"/>
                <p:cNvSpPr/>
                <p:nvPr/>
              </p:nvSpPr>
              <p:spPr>
                <a:xfrm>
                  <a:off x="7739498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88" name="object 488"/>
                <p:cNvSpPr/>
                <p:nvPr/>
              </p:nvSpPr>
              <p:spPr>
                <a:xfrm>
                  <a:off x="7793687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89" name="object 489"/>
                <p:cNvSpPr/>
                <p:nvPr/>
              </p:nvSpPr>
              <p:spPr>
                <a:xfrm>
                  <a:off x="7847876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90" name="object 490"/>
                <p:cNvSpPr/>
                <p:nvPr/>
              </p:nvSpPr>
              <p:spPr>
                <a:xfrm>
                  <a:off x="7902066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91" name="object 491"/>
                <p:cNvSpPr/>
                <p:nvPr/>
              </p:nvSpPr>
              <p:spPr>
                <a:xfrm>
                  <a:off x="795625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92" name="object 492"/>
                <p:cNvSpPr/>
                <p:nvPr/>
              </p:nvSpPr>
              <p:spPr>
                <a:xfrm>
                  <a:off x="8010443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93" name="object 493"/>
                <p:cNvSpPr/>
                <p:nvPr/>
              </p:nvSpPr>
              <p:spPr>
                <a:xfrm>
                  <a:off x="8064633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94" name="object 494"/>
                <p:cNvSpPr/>
                <p:nvPr/>
              </p:nvSpPr>
              <p:spPr>
                <a:xfrm>
                  <a:off x="8118822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95" name="object 495"/>
                <p:cNvSpPr/>
                <p:nvPr/>
              </p:nvSpPr>
              <p:spPr>
                <a:xfrm>
                  <a:off x="8173011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96" name="object 496"/>
                <p:cNvSpPr/>
                <p:nvPr/>
              </p:nvSpPr>
              <p:spPr>
                <a:xfrm>
                  <a:off x="8227200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97" name="object 497"/>
                <p:cNvSpPr/>
                <p:nvPr/>
              </p:nvSpPr>
              <p:spPr>
                <a:xfrm>
                  <a:off x="8281389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98" name="object 498"/>
                <p:cNvSpPr/>
                <p:nvPr/>
              </p:nvSpPr>
              <p:spPr>
                <a:xfrm>
                  <a:off x="8335578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499" name="object 499"/>
                <p:cNvSpPr/>
                <p:nvPr/>
              </p:nvSpPr>
              <p:spPr>
                <a:xfrm>
                  <a:off x="8389768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00" name="object 500"/>
                <p:cNvSpPr/>
                <p:nvPr/>
              </p:nvSpPr>
              <p:spPr>
                <a:xfrm>
                  <a:off x="8443956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01" name="object 501"/>
                <p:cNvSpPr/>
                <p:nvPr/>
              </p:nvSpPr>
              <p:spPr>
                <a:xfrm>
                  <a:off x="8498145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02" name="object 502"/>
                <p:cNvSpPr/>
                <p:nvPr/>
              </p:nvSpPr>
              <p:spPr>
                <a:xfrm>
                  <a:off x="8552335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03" name="object 503"/>
                <p:cNvSpPr/>
                <p:nvPr/>
              </p:nvSpPr>
              <p:spPr>
                <a:xfrm>
                  <a:off x="860652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04" name="object 504"/>
                <p:cNvSpPr/>
                <p:nvPr/>
              </p:nvSpPr>
              <p:spPr>
                <a:xfrm>
                  <a:off x="8660713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05" name="object 505"/>
                <p:cNvSpPr/>
                <p:nvPr/>
              </p:nvSpPr>
              <p:spPr>
                <a:xfrm>
                  <a:off x="8714902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06" name="object 506"/>
                <p:cNvSpPr/>
                <p:nvPr/>
              </p:nvSpPr>
              <p:spPr>
                <a:xfrm>
                  <a:off x="8769091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07" name="object 507"/>
                <p:cNvSpPr/>
                <p:nvPr/>
              </p:nvSpPr>
              <p:spPr>
                <a:xfrm>
                  <a:off x="8823280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08" name="object 508"/>
                <p:cNvSpPr/>
                <p:nvPr/>
              </p:nvSpPr>
              <p:spPr>
                <a:xfrm>
                  <a:off x="8877470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09" name="object 509"/>
                <p:cNvSpPr/>
                <p:nvPr/>
              </p:nvSpPr>
              <p:spPr>
                <a:xfrm>
                  <a:off x="8931659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10" name="object 510"/>
                <p:cNvSpPr/>
                <p:nvPr/>
              </p:nvSpPr>
              <p:spPr>
                <a:xfrm>
                  <a:off x="8985847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11" name="object 511"/>
                <p:cNvSpPr/>
                <p:nvPr/>
              </p:nvSpPr>
              <p:spPr>
                <a:xfrm>
                  <a:off x="9040037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12" name="object 512"/>
                <p:cNvSpPr/>
                <p:nvPr/>
              </p:nvSpPr>
              <p:spPr>
                <a:xfrm>
                  <a:off x="9094226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13" name="object 513"/>
                <p:cNvSpPr/>
                <p:nvPr/>
              </p:nvSpPr>
              <p:spPr>
                <a:xfrm>
                  <a:off x="9148415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14" name="object 514"/>
                <p:cNvSpPr/>
                <p:nvPr/>
              </p:nvSpPr>
              <p:spPr>
                <a:xfrm>
                  <a:off x="920260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15" name="object 515"/>
                <p:cNvSpPr/>
                <p:nvPr/>
              </p:nvSpPr>
              <p:spPr>
                <a:xfrm>
                  <a:off x="9256793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16" name="object 516"/>
                <p:cNvSpPr/>
                <p:nvPr/>
              </p:nvSpPr>
              <p:spPr>
                <a:xfrm>
                  <a:off x="9310982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17" name="object 517"/>
                <p:cNvSpPr/>
                <p:nvPr/>
              </p:nvSpPr>
              <p:spPr>
                <a:xfrm>
                  <a:off x="9365172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18" name="object 518"/>
                <p:cNvSpPr/>
                <p:nvPr/>
              </p:nvSpPr>
              <p:spPr>
                <a:xfrm>
                  <a:off x="9419361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19" name="object 519"/>
                <p:cNvSpPr/>
                <p:nvPr/>
              </p:nvSpPr>
              <p:spPr>
                <a:xfrm>
                  <a:off x="9473549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20" name="object 520"/>
                <p:cNvSpPr/>
                <p:nvPr/>
              </p:nvSpPr>
              <p:spPr>
                <a:xfrm>
                  <a:off x="9527739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21" name="object 521"/>
                <p:cNvSpPr/>
                <p:nvPr/>
              </p:nvSpPr>
              <p:spPr>
                <a:xfrm>
                  <a:off x="9581928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22" name="object 522"/>
                <p:cNvSpPr/>
                <p:nvPr/>
              </p:nvSpPr>
              <p:spPr>
                <a:xfrm>
                  <a:off x="9636117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23" name="object 523"/>
                <p:cNvSpPr/>
                <p:nvPr/>
              </p:nvSpPr>
              <p:spPr>
                <a:xfrm>
                  <a:off x="9690306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24" name="object 524"/>
                <p:cNvSpPr/>
                <p:nvPr/>
              </p:nvSpPr>
              <p:spPr>
                <a:xfrm>
                  <a:off x="9744495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25" name="object 525"/>
                <p:cNvSpPr/>
                <p:nvPr/>
              </p:nvSpPr>
              <p:spPr>
                <a:xfrm>
                  <a:off x="979868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26" name="object 526"/>
                <p:cNvSpPr/>
                <p:nvPr/>
              </p:nvSpPr>
              <p:spPr>
                <a:xfrm>
                  <a:off x="9852873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27" name="object 527"/>
                <p:cNvSpPr/>
                <p:nvPr/>
              </p:nvSpPr>
              <p:spPr>
                <a:xfrm>
                  <a:off x="9907063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28" name="object 528"/>
                <p:cNvSpPr/>
                <p:nvPr/>
              </p:nvSpPr>
              <p:spPr>
                <a:xfrm>
                  <a:off x="9961251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29" name="object 529"/>
                <p:cNvSpPr/>
                <p:nvPr/>
              </p:nvSpPr>
              <p:spPr>
                <a:xfrm>
                  <a:off x="10015440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30" name="object 530"/>
                <p:cNvSpPr/>
                <p:nvPr/>
              </p:nvSpPr>
              <p:spPr>
                <a:xfrm>
                  <a:off x="10069630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31" name="object 531"/>
                <p:cNvSpPr/>
                <p:nvPr/>
              </p:nvSpPr>
              <p:spPr>
                <a:xfrm>
                  <a:off x="10123819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32" name="object 532"/>
                <p:cNvSpPr/>
                <p:nvPr/>
              </p:nvSpPr>
              <p:spPr>
                <a:xfrm>
                  <a:off x="10178008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33" name="object 533"/>
                <p:cNvSpPr/>
                <p:nvPr/>
              </p:nvSpPr>
              <p:spPr>
                <a:xfrm>
                  <a:off x="10232197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34" name="object 534"/>
                <p:cNvSpPr/>
                <p:nvPr/>
              </p:nvSpPr>
              <p:spPr>
                <a:xfrm>
                  <a:off x="10286386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35" name="object 535"/>
                <p:cNvSpPr/>
                <p:nvPr/>
              </p:nvSpPr>
              <p:spPr>
                <a:xfrm>
                  <a:off x="10340575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36" name="object 536"/>
                <p:cNvSpPr/>
                <p:nvPr/>
              </p:nvSpPr>
              <p:spPr>
                <a:xfrm>
                  <a:off x="10394765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37" name="object 537"/>
                <p:cNvSpPr/>
                <p:nvPr/>
              </p:nvSpPr>
              <p:spPr>
                <a:xfrm>
                  <a:off x="1044895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38" name="object 538"/>
                <p:cNvSpPr/>
                <p:nvPr/>
              </p:nvSpPr>
              <p:spPr>
                <a:xfrm>
                  <a:off x="10503142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39" name="object 539"/>
                <p:cNvSpPr/>
                <p:nvPr/>
              </p:nvSpPr>
              <p:spPr>
                <a:xfrm>
                  <a:off x="10557332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40" name="object 540"/>
                <p:cNvSpPr/>
                <p:nvPr/>
              </p:nvSpPr>
              <p:spPr>
                <a:xfrm>
                  <a:off x="10611521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41" name="object 541"/>
                <p:cNvSpPr/>
                <p:nvPr/>
              </p:nvSpPr>
              <p:spPr>
                <a:xfrm>
                  <a:off x="10665710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42" name="object 542"/>
                <p:cNvSpPr/>
                <p:nvPr/>
              </p:nvSpPr>
              <p:spPr>
                <a:xfrm>
                  <a:off x="10719899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43" name="object 543"/>
                <p:cNvSpPr/>
                <p:nvPr/>
              </p:nvSpPr>
              <p:spPr>
                <a:xfrm>
                  <a:off x="10774088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44" name="object 544"/>
                <p:cNvSpPr/>
                <p:nvPr/>
              </p:nvSpPr>
              <p:spPr>
                <a:xfrm>
                  <a:off x="10828277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45" name="object 545"/>
                <p:cNvSpPr/>
                <p:nvPr/>
              </p:nvSpPr>
              <p:spPr>
                <a:xfrm>
                  <a:off x="10882467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46" name="object 546"/>
                <p:cNvSpPr/>
                <p:nvPr/>
              </p:nvSpPr>
              <p:spPr>
                <a:xfrm>
                  <a:off x="10936656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47" name="object 547"/>
                <p:cNvSpPr/>
                <p:nvPr/>
              </p:nvSpPr>
              <p:spPr>
                <a:xfrm>
                  <a:off x="1099084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48" name="object 548"/>
                <p:cNvSpPr/>
                <p:nvPr/>
              </p:nvSpPr>
              <p:spPr>
                <a:xfrm>
                  <a:off x="1104503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49" name="object 549"/>
                <p:cNvSpPr/>
                <p:nvPr/>
              </p:nvSpPr>
              <p:spPr>
                <a:xfrm>
                  <a:off x="11099223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50" name="object 550"/>
                <p:cNvSpPr/>
                <p:nvPr/>
              </p:nvSpPr>
              <p:spPr>
                <a:xfrm>
                  <a:off x="11153412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51" name="object 551"/>
                <p:cNvSpPr/>
                <p:nvPr/>
              </p:nvSpPr>
              <p:spPr>
                <a:xfrm>
                  <a:off x="11207601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52" name="object 552"/>
                <p:cNvSpPr/>
                <p:nvPr/>
              </p:nvSpPr>
              <p:spPr>
                <a:xfrm>
                  <a:off x="11261790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53" name="object 553"/>
                <p:cNvSpPr/>
                <p:nvPr/>
              </p:nvSpPr>
              <p:spPr>
                <a:xfrm>
                  <a:off x="11315979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54" name="object 554"/>
                <p:cNvSpPr/>
                <p:nvPr/>
              </p:nvSpPr>
              <p:spPr>
                <a:xfrm>
                  <a:off x="11370169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55" name="object 555"/>
                <p:cNvSpPr/>
                <p:nvPr/>
              </p:nvSpPr>
              <p:spPr>
                <a:xfrm>
                  <a:off x="11424358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56" name="object 556"/>
                <p:cNvSpPr/>
                <p:nvPr/>
              </p:nvSpPr>
              <p:spPr>
                <a:xfrm>
                  <a:off x="11478546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57" name="object 557"/>
                <p:cNvSpPr/>
                <p:nvPr/>
              </p:nvSpPr>
              <p:spPr>
                <a:xfrm>
                  <a:off x="11532736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58" name="object 558"/>
                <p:cNvSpPr/>
                <p:nvPr/>
              </p:nvSpPr>
              <p:spPr>
                <a:xfrm>
                  <a:off x="11586925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59" name="object 559"/>
                <p:cNvSpPr/>
                <p:nvPr/>
              </p:nvSpPr>
              <p:spPr>
                <a:xfrm>
                  <a:off x="1164111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60" name="object 560"/>
                <p:cNvSpPr/>
                <p:nvPr/>
              </p:nvSpPr>
              <p:spPr>
                <a:xfrm>
                  <a:off x="11695304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61" name="object 561"/>
                <p:cNvSpPr/>
                <p:nvPr/>
              </p:nvSpPr>
              <p:spPr>
                <a:xfrm>
                  <a:off x="11749492" y="4663041"/>
                  <a:ext cx="952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95" h="10795">
                      <a:moveTo>
                        <a:pt x="10235" y="10213"/>
                      </a:moveTo>
                      <a:lnTo>
                        <a:pt x="0" y="10213"/>
                      </a:lnTo>
                      <a:lnTo>
                        <a:pt x="0" y="0"/>
                      </a:lnTo>
                      <a:lnTo>
                        <a:pt x="10235" y="0"/>
                      </a:lnTo>
                      <a:lnTo>
                        <a:pt x="10235" y="10213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62" name="object 562"/>
                <p:cNvSpPr txBox="1"/>
                <p:nvPr/>
              </p:nvSpPr>
              <p:spPr>
                <a:xfrm>
                  <a:off x="4474105" y="4582803"/>
                  <a:ext cx="260537" cy="141958"/>
                </a:xfrm>
                <a:prstGeom prst="rect">
                  <a:avLst/>
                </a:prstGeom>
              </p:spPr>
              <p:txBody>
                <a:bodyPr vert="horz" wrap="square" lIns="0" tIns="12886" rIns="0" bIns="0" rtlCol="0">
                  <a:spAutoFit/>
                </a:bodyPr>
                <a:lstStyle/>
                <a:p>
                  <a:pPr marL="11206">
                    <a:spcBef>
                      <a:spcPts val="101"/>
                    </a:spcBef>
                  </a:pPr>
                  <a:r>
                    <a:rPr sz="838" spc="4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1.5M</a:t>
                  </a:r>
                  <a:endParaRPr sz="838" dirty="0">
                    <a:latin typeface="Segoe UI"/>
                    <a:cs typeface="Segoe UI"/>
                  </a:endParaRPr>
                </a:p>
              </p:txBody>
            </p:sp>
            <p:sp>
              <p:nvSpPr>
                <p:cNvPr id="563" name="object 563"/>
                <p:cNvSpPr txBox="1"/>
                <p:nvPr/>
              </p:nvSpPr>
              <p:spPr>
                <a:xfrm>
                  <a:off x="7839727" y="6416572"/>
                  <a:ext cx="1205325" cy="366982"/>
                </a:xfrm>
                <a:prstGeom prst="rect">
                  <a:avLst/>
                </a:prstGeom>
              </p:spPr>
              <p:txBody>
                <a:bodyPr vert="horz" wrap="square" lIns="0" tIns="27454" rIns="0" bIns="0" rtlCol="0">
                  <a:spAutoFit/>
                </a:bodyPr>
                <a:lstStyle/>
                <a:p>
                  <a:pPr marL="80687">
                    <a:spcBef>
                      <a:spcPts val="216"/>
                    </a:spcBef>
                    <a:tabLst>
                      <a:tab pos="764282" algn="l"/>
                    </a:tabLst>
                  </a:pPr>
                  <a:r>
                    <a:rPr sz="838" spc="4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8	10</a:t>
                  </a:r>
                  <a:endParaRPr sz="838" dirty="0">
                    <a:latin typeface="Segoe UI"/>
                    <a:cs typeface="Segoe UI"/>
                  </a:endParaRPr>
                </a:p>
                <a:p>
                  <a:pPr marL="11206">
                    <a:spcBef>
                      <a:spcPts val="194"/>
                    </a:spcBef>
                  </a:pPr>
                  <a:r>
                    <a:rPr sz="1200" spc="53" dirty="0">
                      <a:solidFill>
                        <a:srgbClr val="252423"/>
                      </a:solidFill>
                      <a:latin typeface="Arial Narrow"/>
                      <a:cs typeface="Arial Narrow"/>
                    </a:rPr>
                    <a:t>Sentence</a:t>
                  </a:r>
                  <a:r>
                    <a:rPr sz="1200" spc="-53" dirty="0">
                      <a:solidFill>
                        <a:srgbClr val="252423"/>
                      </a:solidFill>
                      <a:latin typeface="Arial Narrow"/>
                      <a:cs typeface="Arial Narrow"/>
                    </a:rPr>
                    <a:t> </a:t>
                  </a:r>
                  <a:r>
                    <a:rPr sz="1200" spc="49" dirty="0">
                      <a:solidFill>
                        <a:srgbClr val="252423"/>
                      </a:solidFill>
                      <a:latin typeface="Arial Narrow"/>
                      <a:cs typeface="Arial Narrow"/>
                    </a:rPr>
                    <a:t>Count</a:t>
                  </a:r>
                  <a:endParaRPr sz="1200" dirty="0">
                    <a:latin typeface="Arial Narrow"/>
                    <a:cs typeface="Arial Narrow"/>
                  </a:endParaRPr>
                </a:p>
              </p:txBody>
            </p:sp>
            <p:sp>
              <p:nvSpPr>
                <p:cNvPr id="564" name="object 564"/>
                <p:cNvSpPr txBox="1"/>
                <p:nvPr/>
              </p:nvSpPr>
              <p:spPr>
                <a:xfrm>
                  <a:off x="4279231" y="4621174"/>
                  <a:ext cx="153888" cy="1436568"/>
                </a:xfrm>
                <a:prstGeom prst="rect">
                  <a:avLst/>
                </a:prstGeom>
              </p:spPr>
              <p:txBody>
                <a:bodyPr vert="vert270" wrap="square" lIns="0" tIns="0" rIns="0" bIns="0" rtlCol="0">
                  <a:spAutoFit/>
                </a:bodyPr>
                <a:lstStyle/>
                <a:p>
                  <a:pPr marL="11206">
                    <a:lnSpc>
                      <a:spcPts val="1196"/>
                    </a:lnSpc>
                  </a:pPr>
                  <a:r>
                    <a:rPr sz="1200" spc="75" dirty="0">
                      <a:solidFill>
                        <a:srgbClr val="252423"/>
                      </a:solidFill>
                      <a:latin typeface="Arial Narrow"/>
                      <a:cs typeface="Arial Narrow"/>
                    </a:rPr>
                    <a:t>Number </a:t>
                  </a:r>
                  <a:r>
                    <a:rPr sz="1200" spc="53" dirty="0">
                      <a:solidFill>
                        <a:srgbClr val="252423"/>
                      </a:solidFill>
                      <a:latin typeface="Arial Narrow"/>
                      <a:cs typeface="Arial Narrow"/>
                    </a:rPr>
                    <a:t>of</a:t>
                  </a:r>
                  <a:r>
                    <a:rPr sz="1200" spc="-110" dirty="0">
                      <a:solidFill>
                        <a:srgbClr val="252423"/>
                      </a:solidFill>
                      <a:latin typeface="Arial Narrow"/>
                      <a:cs typeface="Arial Narrow"/>
                    </a:rPr>
                    <a:t> </a:t>
                  </a:r>
                  <a:r>
                    <a:rPr sz="1200" spc="62" dirty="0">
                      <a:solidFill>
                        <a:srgbClr val="252423"/>
                      </a:solidFill>
                      <a:latin typeface="Arial Narrow"/>
                      <a:cs typeface="Arial Narrow"/>
                    </a:rPr>
                    <a:t>Reviews</a:t>
                  </a:r>
                  <a:endParaRPr sz="1200" dirty="0">
                    <a:latin typeface="Arial Narrow"/>
                    <a:cs typeface="Arial Narrow"/>
                  </a:endParaRPr>
                </a:p>
              </p:txBody>
            </p:sp>
            <p:sp>
              <p:nvSpPr>
                <p:cNvPr id="565" name="object 565"/>
                <p:cNvSpPr txBox="1"/>
                <p:nvPr/>
              </p:nvSpPr>
              <p:spPr>
                <a:xfrm>
                  <a:off x="5058005" y="6431505"/>
                  <a:ext cx="81243" cy="141958"/>
                </a:xfrm>
                <a:prstGeom prst="rect">
                  <a:avLst/>
                </a:prstGeom>
              </p:spPr>
              <p:txBody>
                <a:bodyPr vert="horz" wrap="square" lIns="0" tIns="12886" rIns="0" bIns="0" rtlCol="0">
                  <a:spAutoFit/>
                </a:bodyPr>
                <a:lstStyle/>
                <a:p>
                  <a:pPr marL="11206">
                    <a:spcBef>
                      <a:spcPts val="101"/>
                    </a:spcBef>
                  </a:pPr>
                  <a:r>
                    <a:rPr sz="838" spc="4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0</a:t>
                  </a:r>
                  <a:endParaRPr sz="838" dirty="0">
                    <a:latin typeface="Segoe UI"/>
                    <a:cs typeface="Segoe UI"/>
                  </a:endParaRPr>
                </a:p>
              </p:txBody>
            </p:sp>
            <p:sp>
              <p:nvSpPr>
                <p:cNvPr id="566" name="object 566"/>
                <p:cNvSpPr txBox="1"/>
                <p:nvPr/>
              </p:nvSpPr>
              <p:spPr>
                <a:xfrm>
                  <a:off x="5770848" y="6431505"/>
                  <a:ext cx="81243" cy="141958"/>
                </a:xfrm>
                <a:prstGeom prst="rect">
                  <a:avLst/>
                </a:prstGeom>
              </p:spPr>
              <p:txBody>
                <a:bodyPr vert="horz" wrap="square" lIns="0" tIns="12886" rIns="0" bIns="0" rtlCol="0">
                  <a:spAutoFit/>
                </a:bodyPr>
                <a:lstStyle/>
                <a:p>
                  <a:pPr marL="11206">
                    <a:spcBef>
                      <a:spcPts val="101"/>
                    </a:spcBef>
                  </a:pPr>
                  <a:r>
                    <a:rPr sz="838" spc="4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2</a:t>
                  </a:r>
                  <a:endParaRPr sz="838" dirty="0">
                    <a:latin typeface="Segoe UI"/>
                    <a:cs typeface="Segoe UI"/>
                  </a:endParaRPr>
                </a:p>
              </p:txBody>
            </p:sp>
            <p:sp>
              <p:nvSpPr>
                <p:cNvPr id="567" name="object 567"/>
                <p:cNvSpPr txBox="1"/>
                <p:nvPr/>
              </p:nvSpPr>
              <p:spPr>
                <a:xfrm>
                  <a:off x="6483690" y="6431505"/>
                  <a:ext cx="81243" cy="141958"/>
                </a:xfrm>
                <a:prstGeom prst="rect">
                  <a:avLst/>
                </a:prstGeom>
              </p:spPr>
              <p:txBody>
                <a:bodyPr vert="horz" wrap="square" lIns="0" tIns="12886" rIns="0" bIns="0" rtlCol="0">
                  <a:spAutoFit/>
                </a:bodyPr>
                <a:lstStyle/>
                <a:p>
                  <a:pPr marL="11206">
                    <a:spcBef>
                      <a:spcPts val="101"/>
                    </a:spcBef>
                  </a:pPr>
                  <a:r>
                    <a:rPr sz="838" spc="4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4</a:t>
                  </a:r>
                  <a:endParaRPr sz="838" dirty="0">
                    <a:latin typeface="Segoe UI"/>
                    <a:cs typeface="Segoe UI"/>
                  </a:endParaRPr>
                </a:p>
              </p:txBody>
            </p:sp>
            <p:sp>
              <p:nvSpPr>
                <p:cNvPr id="568" name="object 568"/>
                <p:cNvSpPr txBox="1"/>
                <p:nvPr/>
              </p:nvSpPr>
              <p:spPr>
                <a:xfrm>
                  <a:off x="7196533" y="6431505"/>
                  <a:ext cx="81243" cy="141958"/>
                </a:xfrm>
                <a:prstGeom prst="rect">
                  <a:avLst/>
                </a:prstGeom>
              </p:spPr>
              <p:txBody>
                <a:bodyPr vert="horz" wrap="square" lIns="0" tIns="12886" rIns="0" bIns="0" rtlCol="0">
                  <a:spAutoFit/>
                </a:bodyPr>
                <a:lstStyle/>
                <a:p>
                  <a:pPr marL="11206">
                    <a:spcBef>
                      <a:spcPts val="101"/>
                    </a:spcBef>
                  </a:pPr>
                  <a:r>
                    <a:rPr sz="838" spc="4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6</a:t>
                  </a:r>
                  <a:endParaRPr sz="838" dirty="0">
                    <a:latin typeface="Segoe UI"/>
                    <a:cs typeface="Segoe UI"/>
                  </a:endParaRPr>
                </a:p>
              </p:txBody>
            </p:sp>
            <p:sp>
              <p:nvSpPr>
                <p:cNvPr id="569" name="object 569"/>
                <p:cNvSpPr txBox="1"/>
                <p:nvPr/>
              </p:nvSpPr>
              <p:spPr>
                <a:xfrm>
                  <a:off x="9305850" y="6431505"/>
                  <a:ext cx="139513" cy="141958"/>
                </a:xfrm>
                <a:prstGeom prst="rect">
                  <a:avLst/>
                </a:prstGeom>
              </p:spPr>
              <p:txBody>
                <a:bodyPr vert="horz" wrap="square" lIns="0" tIns="12886" rIns="0" bIns="0" rtlCol="0">
                  <a:spAutoFit/>
                </a:bodyPr>
                <a:lstStyle/>
                <a:p>
                  <a:pPr marL="11206">
                    <a:spcBef>
                      <a:spcPts val="101"/>
                    </a:spcBef>
                  </a:pPr>
                  <a:r>
                    <a:rPr sz="838" spc="4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12</a:t>
                  </a:r>
                  <a:endParaRPr sz="838" dirty="0">
                    <a:latin typeface="Segoe UI"/>
                    <a:cs typeface="Segoe UI"/>
                  </a:endParaRPr>
                </a:p>
              </p:txBody>
            </p:sp>
            <p:sp>
              <p:nvSpPr>
                <p:cNvPr id="570" name="object 570"/>
                <p:cNvSpPr txBox="1"/>
                <p:nvPr/>
              </p:nvSpPr>
              <p:spPr>
                <a:xfrm>
                  <a:off x="10018693" y="6431505"/>
                  <a:ext cx="139513" cy="141958"/>
                </a:xfrm>
                <a:prstGeom prst="rect">
                  <a:avLst/>
                </a:prstGeom>
              </p:spPr>
              <p:txBody>
                <a:bodyPr vert="horz" wrap="square" lIns="0" tIns="12886" rIns="0" bIns="0" rtlCol="0">
                  <a:spAutoFit/>
                </a:bodyPr>
                <a:lstStyle/>
                <a:p>
                  <a:pPr marL="11206">
                    <a:spcBef>
                      <a:spcPts val="101"/>
                    </a:spcBef>
                  </a:pPr>
                  <a:r>
                    <a:rPr sz="838" spc="4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14</a:t>
                  </a:r>
                  <a:endParaRPr sz="838" dirty="0">
                    <a:latin typeface="Segoe UI"/>
                    <a:cs typeface="Segoe UI"/>
                  </a:endParaRPr>
                </a:p>
              </p:txBody>
            </p:sp>
            <p:sp>
              <p:nvSpPr>
                <p:cNvPr id="571" name="object 571"/>
                <p:cNvSpPr txBox="1"/>
                <p:nvPr/>
              </p:nvSpPr>
              <p:spPr>
                <a:xfrm>
                  <a:off x="10731536" y="6431505"/>
                  <a:ext cx="139513" cy="141958"/>
                </a:xfrm>
                <a:prstGeom prst="rect">
                  <a:avLst/>
                </a:prstGeom>
              </p:spPr>
              <p:txBody>
                <a:bodyPr vert="horz" wrap="square" lIns="0" tIns="12886" rIns="0" bIns="0" rtlCol="0">
                  <a:spAutoFit/>
                </a:bodyPr>
                <a:lstStyle/>
                <a:p>
                  <a:pPr marL="11206">
                    <a:spcBef>
                      <a:spcPts val="101"/>
                    </a:spcBef>
                  </a:pPr>
                  <a:r>
                    <a:rPr sz="838" spc="4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16</a:t>
                  </a:r>
                  <a:endParaRPr sz="838" dirty="0">
                    <a:latin typeface="Segoe UI"/>
                    <a:cs typeface="Segoe UI"/>
                  </a:endParaRPr>
                </a:p>
              </p:txBody>
            </p:sp>
            <p:sp>
              <p:nvSpPr>
                <p:cNvPr id="572" name="object 572"/>
                <p:cNvSpPr txBox="1"/>
                <p:nvPr/>
              </p:nvSpPr>
              <p:spPr>
                <a:xfrm>
                  <a:off x="11444378" y="6431505"/>
                  <a:ext cx="139513" cy="141958"/>
                </a:xfrm>
                <a:prstGeom prst="rect">
                  <a:avLst/>
                </a:prstGeom>
              </p:spPr>
              <p:txBody>
                <a:bodyPr vert="horz" wrap="square" lIns="0" tIns="12886" rIns="0" bIns="0" rtlCol="0">
                  <a:spAutoFit/>
                </a:bodyPr>
                <a:lstStyle/>
                <a:p>
                  <a:pPr marL="11206">
                    <a:spcBef>
                      <a:spcPts val="101"/>
                    </a:spcBef>
                  </a:pPr>
                  <a:r>
                    <a:rPr sz="838" spc="4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18</a:t>
                  </a:r>
                  <a:endParaRPr sz="838" dirty="0">
                    <a:latin typeface="Segoe UI"/>
                    <a:cs typeface="Segoe UI"/>
                  </a:endParaRPr>
                </a:p>
              </p:txBody>
            </p:sp>
            <p:sp>
              <p:nvSpPr>
                <p:cNvPr id="573" name="object 573"/>
                <p:cNvSpPr txBox="1"/>
                <p:nvPr/>
              </p:nvSpPr>
              <p:spPr>
                <a:xfrm>
                  <a:off x="4270913" y="4248512"/>
                  <a:ext cx="625288" cy="156812"/>
                </a:xfrm>
                <a:prstGeom prst="rect">
                  <a:avLst/>
                </a:prstGeom>
              </p:spPr>
              <p:txBody>
                <a:bodyPr vert="horz" wrap="square" lIns="0" tIns="14007" rIns="0" bIns="0" rtlCol="0">
                  <a:spAutoFit/>
                </a:bodyPr>
                <a:lstStyle/>
                <a:p>
                  <a:pPr marL="11206">
                    <a:spcBef>
                      <a:spcPts val="110"/>
                    </a:spcBef>
                  </a:pPr>
                  <a:r>
                    <a:rPr sz="927" b="1" spc="9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Usefulness</a:t>
                  </a:r>
                  <a:endParaRPr sz="927" dirty="0">
                    <a:latin typeface="Segoe UI"/>
                    <a:cs typeface="Segoe UI"/>
                  </a:endParaRPr>
                </a:p>
              </p:txBody>
            </p:sp>
            <p:sp>
              <p:nvSpPr>
                <p:cNvPr id="574" name="object 574"/>
                <p:cNvSpPr/>
                <p:nvPr/>
              </p:nvSpPr>
              <p:spPr>
                <a:xfrm>
                  <a:off x="4960227" y="4294215"/>
                  <a:ext cx="89416" cy="92417"/>
                </a:xfrm>
                <a:prstGeom prst="rect">
                  <a:avLst/>
                </a:prstGeom>
                <a:blipFill>
                  <a:blip r:embed="rId6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75" name="object 575"/>
                <p:cNvSpPr txBox="1"/>
                <p:nvPr/>
              </p:nvSpPr>
              <p:spPr>
                <a:xfrm>
                  <a:off x="5059759" y="4248512"/>
                  <a:ext cx="588869" cy="156812"/>
                </a:xfrm>
                <a:prstGeom prst="rect">
                  <a:avLst/>
                </a:prstGeom>
              </p:spPr>
              <p:txBody>
                <a:bodyPr vert="horz" wrap="square" lIns="0" tIns="14007" rIns="0" bIns="0" rtlCol="0">
                  <a:spAutoFit/>
                </a:bodyPr>
                <a:lstStyle/>
                <a:p>
                  <a:pPr marL="11206">
                    <a:spcBef>
                      <a:spcPts val="110"/>
                    </a:spcBef>
                  </a:pPr>
                  <a:r>
                    <a:rPr sz="927" spc="9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Not</a:t>
                  </a:r>
                  <a:r>
                    <a:rPr sz="927" spc="-49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 </a:t>
                  </a:r>
                  <a:r>
                    <a:rPr sz="927" spc="9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Useful</a:t>
                  </a:r>
                  <a:endParaRPr sz="927" dirty="0">
                    <a:latin typeface="Segoe UI"/>
                    <a:cs typeface="Segoe UI"/>
                  </a:endParaRPr>
                </a:p>
              </p:txBody>
            </p:sp>
            <p:sp>
              <p:nvSpPr>
                <p:cNvPr id="576" name="object 576"/>
                <p:cNvSpPr/>
                <p:nvPr/>
              </p:nvSpPr>
              <p:spPr>
                <a:xfrm>
                  <a:off x="5692041" y="4294215"/>
                  <a:ext cx="89416" cy="92417"/>
                </a:xfrm>
                <a:prstGeom prst="rect">
                  <a:avLst/>
                </a:prstGeom>
                <a:blipFill>
                  <a:blip r:embed="rId7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577" name="object 577"/>
                <p:cNvSpPr txBox="1"/>
                <p:nvPr/>
              </p:nvSpPr>
              <p:spPr>
                <a:xfrm>
                  <a:off x="5790444" y="4248512"/>
                  <a:ext cx="354666" cy="156812"/>
                </a:xfrm>
                <a:prstGeom prst="rect">
                  <a:avLst/>
                </a:prstGeom>
              </p:spPr>
              <p:txBody>
                <a:bodyPr vert="horz" wrap="square" lIns="0" tIns="14007" rIns="0" bIns="0" rtlCol="0">
                  <a:spAutoFit/>
                </a:bodyPr>
                <a:lstStyle/>
                <a:p>
                  <a:pPr marL="11206">
                    <a:spcBef>
                      <a:spcPts val="110"/>
                    </a:spcBef>
                  </a:pPr>
                  <a:r>
                    <a:rPr sz="927" spc="9" dirty="0">
                      <a:solidFill>
                        <a:srgbClr val="605D5C"/>
                      </a:solidFill>
                      <a:latin typeface="Segoe UI"/>
                      <a:cs typeface="Segoe UI"/>
                    </a:rPr>
                    <a:t>Useful</a:t>
                  </a:r>
                  <a:endParaRPr sz="927" dirty="0">
                    <a:latin typeface="Segoe UI"/>
                    <a:cs typeface="Segoe UI"/>
                  </a:endParaRPr>
                </a:p>
              </p:txBody>
            </p:sp>
          </p:grpSp>
          <p:sp>
            <p:nvSpPr>
              <p:cNvPr id="624" name="TextBox 623">
                <a:extLst>
                  <a:ext uri="{FF2B5EF4-FFF2-40B4-BE49-F238E27FC236}">
                    <a16:creationId xmlns:a16="http://schemas.microsoft.com/office/drawing/2014/main" id="{42A755B4-21CD-4486-ACBA-6EFE123960BD}"/>
                  </a:ext>
                </a:extLst>
              </p:cNvPr>
              <p:cNvSpPr txBox="1"/>
              <p:nvPr/>
            </p:nvSpPr>
            <p:spPr>
              <a:xfrm>
                <a:off x="6936186" y="4002335"/>
                <a:ext cx="2763404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1206">
                  <a:spcBef>
                    <a:spcPts val="44"/>
                  </a:spcBef>
                </a:pPr>
                <a:r>
                  <a:rPr lang="en-US" sz="1400" b="1" spc="44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Sentence </a:t>
                </a:r>
                <a:r>
                  <a:rPr lang="en-US" sz="1400" b="1" spc="40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Count</a:t>
                </a:r>
                <a:r>
                  <a:rPr lang="en-US" sz="1400" b="1" spc="-71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 </a:t>
                </a:r>
                <a:r>
                  <a:rPr lang="en-US" sz="1400" b="1" spc="62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Distribution</a:t>
                </a:r>
                <a:endParaRPr lang="en-US" sz="1400" b="1" dirty="0">
                  <a:latin typeface="Arial Narrow"/>
                  <a:cs typeface="Arial Narrow"/>
                </a:endParaRPr>
              </a:p>
            </p:txBody>
          </p:sp>
        </p:grpSp>
      </p:grpSp>
      <p:pic>
        <p:nvPicPr>
          <p:cNvPr id="635" name="Picture 2" descr="See the source image">
            <a:extLst>
              <a:ext uri="{FF2B5EF4-FFF2-40B4-BE49-F238E27FC236}">
                <a16:creationId xmlns:a16="http://schemas.microsoft.com/office/drawing/2014/main" id="{E25603B2-53AE-42B6-80BA-5A79975DB4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2012" y="6344682"/>
            <a:ext cx="1620969" cy="52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37" name="Group 636">
            <a:extLst>
              <a:ext uri="{FF2B5EF4-FFF2-40B4-BE49-F238E27FC236}">
                <a16:creationId xmlns:a16="http://schemas.microsoft.com/office/drawing/2014/main" id="{6F58BD9E-3A17-4542-90AF-65C1454C0A9C}"/>
              </a:ext>
            </a:extLst>
          </p:cNvPr>
          <p:cNvGrpSpPr/>
          <p:nvPr/>
        </p:nvGrpSpPr>
        <p:grpSpPr>
          <a:xfrm>
            <a:off x="699399" y="1036943"/>
            <a:ext cx="3150460" cy="2504220"/>
            <a:chOff x="699399" y="1036943"/>
            <a:chExt cx="3150460" cy="2504220"/>
          </a:xfrm>
        </p:grpSpPr>
        <p:grpSp>
          <p:nvGrpSpPr>
            <p:cNvPr id="608" name="Group 607">
              <a:extLst>
                <a:ext uri="{FF2B5EF4-FFF2-40B4-BE49-F238E27FC236}">
                  <a16:creationId xmlns:a16="http://schemas.microsoft.com/office/drawing/2014/main" id="{1BC4F834-10EC-4EA2-88BB-E47AD0BFF1B3}"/>
                </a:ext>
              </a:extLst>
            </p:cNvPr>
            <p:cNvGrpSpPr/>
            <p:nvPr/>
          </p:nvGrpSpPr>
          <p:grpSpPr>
            <a:xfrm>
              <a:off x="699399" y="1036943"/>
              <a:ext cx="3150460" cy="2504220"/>
              <a:chOff x="890299" y="1025389"/>
              <a:chExt cx="3150460" cy="2504220"/>
            </a:xfrm>
          </p:grpSpPr>
          <p:sp>
            <p:nvSpPr>
              <p:cNvPr id="9" name="object 9"/>
              <p:cNvSpPr txBox="1"/>
              <p:nvPr/>
            </p:nvSpPr>
            <p:spPr>
              <a:xfrm>
                <a:off x="1182053" y="1025389"/>
                <a:ext cx="2407136" cy="227324"/>
              </a:xfrm>
              <a:prstGeom prst="rect">
                <a:avLst/>
              </a:prstGeom>
            </p:spPr>
            <p:txBody>
              <a:bodyPr vert="horz" wrap="square" lIns="0" tIns="11766" rIns="0" bIns="0" rtlCol="0">
                <a:spAutoFit/>
              </a:bodyPr>
              <a:lstStyle/>
              <a:p>
                <a:pPr marL="11206">
                  <a:spcBef>
                    <a:spcPts val="93"/>
                  </a:spcBef>
                </a:pPr>
                <a:r>
                  <a:rPr sz="1400" b="1" spc="49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 Narrow"/>
                    <a:cs typeface="Arial Narrow"/>
                  </a:rPr>
                  <a:t>Overall </a:t>
                </a:r>
                <a:r>
                  <a:rPr sz="1400" b="1" spc="62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 Narrow"/>
                    <a:cs typeface="Arial Narrow"/>
                  </a:rPr>
                  <a:t>Sentiment</a:t>
                </a:r>
                <a:r>
                  <a:rPr sz="1400" b="1" spc="-62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 Narrow"/>
                    <a:cs typeface="Arial Narrow"/>
                  </a:rPr>
                  <a:t> </a:t>
                </a:r>
                <a:r>
                  <a:rPr sz="1400" b="1" spc="44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 Narrow"/>
                    <a:cs typeface="Arial Narrow"/>
                  </a:rPr>
                  <a:t>Ratings</a:t>
                </a:r>
                <a:endParaRPr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Narrow"/>
                  <a:cs typeface="Arial Narrow"/>
                </a:endParaRPr>
              </a:p>
            </p:txBody>
          </p:sp>
          <p:grpSp>
            <p:nvGrpSpPr>
              <p:cNvPr id="10" name="object 10"/>
              <p:cNvGrpSpPr/>
              <p:nvPr/>
            </p:nvGrpSpPr>
            <p:grpSpPr>
              <a:xfrm>
                <a:off x="890299" y="1466089"/>
                <a:ext cx="2136751" cy="2063520"/>
                <a:chOff x="741272" y="1860598"/>
                <a:chExt cx="2019935" cy="2021205"/>
              </a:xfrm>
            </p:grpSpPr>
            <p:sp>
              <p:nvSpPr>
                <p:cNvPr id="11" name="object 11"/>
                <p:cNvSpPr/>
                <p:nvPr/>
              </p:nvSpPr>
              <p:spPr>
                <a:xfrm>
                  <a:off x="741272" y="1860598"/>
                  <a:ext cx="2019935" cy="20212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19935" h="2021204">
                      <a:moveTo>
                        <a:pt x="1007214" y="2020992"/>
                      </a:moveTo>
                      <a:lnTo>
                        <a:pt x="952974" y="2019398"/>
                      </a:lnTo>
                      <a:lnTo>
                        <a:pt x="898899" y="2014891"/>
                      </a:lnTo>
                      <a:lnTo>
                        <a:pt x="845143" y="2007484"/>
                      </a:lnTo>
                      <a:lnTo>
                        <a:pt x="791863" y="1997197"/>
                      </a:lnTo>
                      <a:lnTo>
                        <a:pt x="739212" y="1984062"/>
                      </a:lnTo>
                      <a:lnTo>
                        <a:pt x="687341" y="1968114"/>
                      </a:lnTo>
                      <a:lnTo>
                        <a:pt x="636402" y="1949402"/>
                      </a:lnTo>
                      <a:lnTo>
                        <a:pt x="586541" y="1927977"/>
                      </a:lnTo>
                      <a:lnTo>
                        <a:pt x="537902" y="1903904"/>
                      </a:lnTo>
                      <a:lnTo>
                        <a:pt x="490626" y="1877250"/>
                      </a:lnTo>
                      <a:lnTo>
                        <a:pt x="444848" y="1848093"/>
                      </a:lnTo>
                      <a:lnTo>
                        <a:pt x="400702" y="1816518"/>
                      </a:lnTo>
                      <a:lnTo>
                        <a:pt x="358314" y="1782615"/>
                      </a:lnTo>
                      <a:lnTo>
                        <a:pt x="317808" y="1746482"/>
                      </a:lnTo>
                      <a:lnTo>
                        <a:pt x="279299" y="1708224"/>
                      </a:lnTo>
                      <a:lnTo>
                        <a:pt x="242900" y="1667951"/>
                      </a:lnTo>
                      <a:lnTo>
                        <a:pt x="208715" y="1625779"/>
                      </a:lnTo>
                      <a:lnTo>
                        <a:pt x="176844" y="1581831"/>
                      </a:lnTo>
                      <a:lnTo>
                        <a:pt x="147377" y="1536232"/>
                      </a:lnTo>
                      <a:lnTo>
                        <a:pt x="120401" y="1489116"/>
                      </a:lnTo>
                      <a:lnTo>
                        <a:pt x="95993" y="1440617"/>
                      </a:lnTo>
                      <a:lnTo>
                        <a:pt x="74224" y="1390876"/>
                      </a:lnTo>
                      <a:lnTo>
                        <a:pt x="55156" y="1340037"/>
                      </a:lnTo>
                      <a:lnTo>
                        <a:pt x="38844" y="1288246"/>
                      </a:lnTo>
                      <a:lnTo>
                        <a:pt x="25337" y="1235653"/>
                      </a:lnTo>
                      <a:lnTo>
                        <a:pt x="14672" y="1182409"/>
                      </a:lnTo>
                      <a:lnTo>
                        <a:pt x="6880" y="1128670"/>
                      </a:lnTo>
                      <a:lnTo>
                        <a:pt x="1985" y="1074589"/>
                      </a:lnTo>
                      <a:lnTo>
                        <a:pt x="0" y="1020323"/>
                      </a:lnTo>
                      <a:lnTo>
                        <a:pt x="100" y="993169"/>
                      </a:lnTo>
                      <a:lnTo>
                        <a:pt x="2488" y="938920"/>
                      </a:lnTo>
                      <a:lnTo>
                        <a:pt x="7785" y="884876"/>
                      </a:lnTo>
                      <a:lnTo>
                        <a:pt x="15975" y="831196"/>
                      </a:lnTo>
                      <a:lnTo>
                        <a:pt x="27034" y="778034"/>
                      </a:lnTo>
                      <a:lnTo>
                        <a:pt x="40932" y="725542"/>
                      </a:lnTo>
                      <a:lnTo>
                        <a:pt x="57627" y="673874"/>
                      </a:lnTo>
                      <a:lnTo>
                        <a:pt x="77072" y="623178"/>
                      </a:lnTo>
                      <a:lnTo>
                        <a:pt x="99209" y="573600"/>
                      </a:lnTo>
                      <a:lnTo>
                        <a:pt x="1009713" y="1010497"/>
                      </a:lnTo>
                      <a:lnTo>
                        <a:pt x="1009713" y="0"/>
                      </a:lnTo>
                      <a:lnTo>
                        <a:pt x="1063956" y="1459"/>
                      </a:lnTo>
                      <a:lnTo>
                        <a:pt x="1118043" y="5832"/>
                      </a:lnTo>
                      <a:lnTo>
                        <a:pt x="1171817" y="13106"/>
                      </a:lnTo>
                      <a:lnTo>
                        <a:pt x="1225122" y="23260"/>
                      </a:lnTo>
                      <a:lnTo>
                        <a:pt x="1277806" y="36266"/>
                      </a:lnTo>
                      <a:lnTo>
                        <a:pt x="1329715" y="52085"/>
                      </a:lnTo>
                      <a:lnTo>
                        <a:pt x="1380700" y="70671"/>
                      </a:lnTo>
                      <a:lnTo>
                        <a:pt x="1430614" y="91972"/>
                      </a:lnTo>
                      <a:lnTo>
                        <a:pt x="1479313" y="115925"/>
                      </a:lnTo>
                      <a:lnTo>
                        <a:pt x="1526655" y="142461"/>
                      </a:lnTo>
                      <a:lnTo>
                        <a:pt x="1572505" y="171505"/>
                      </a:lnTo>
                      <a:lnTo>
                        <a:pt x="1616729" y="202971"/>
                      </a:lnTo>
                      <a:lnTo>
                        <a:pt x="1659200" y="236769"/>
                      </a:lnTo>
                      <a:lnTo>
                        <a:pt x="1699796" y="272801"/>
                      </a:lnTo>
                      <a:lnTo>
                        <a:pt x="1738399" y="310963"/>
                      </a:lnTo>
                      <a:lnTo>
                        <a:pt x="1774898" y="351146"/>
                      </a:lnTo>
                      <a:lnTo>
                        <a:pt x="1809187" y="393233"/>
                      </a:lnTo>
                      <a:lnTo>
                        <a:pt x="1841167" y="437103"/>
                      </a:lnTo>
                      <a:lnTo>
                        <a:pt x="1870746" y="482628"/>
                      </a:lnTo>
                      <a:lnTo>
                        <a:pt x="1897839" y="529677"/>
                      </a:lnTo>
                      <a:lnTo>
                        <a:pt x="1922366" y="578116"/>
                      </a:lnTo>
                      <a:lnTo>
                        <a:pt x="1944259" y="627802"/>
                      </a:lnTo>
                      <a:lnTo>
                        <a:pt x="1963452" y="678594"/>
                      </a:lnTo>
                      <a:lnTo>
                        <a:pt x="1979892" y="730345"/>
                      </a:lnTo>
                      <a:lnTo>
                        <a:pt x="1993529" y="782904"/>
                      </a:lnTo>
                      <a:lnTo>
                        <a:pt x="2004326" y="836121"/>
                      </a:lnTo>
                      <a:lnTo>
                        <a:pt x="2012250" y="889841"/>
                      </a:lnTo>
                      <a:lnTo>
                        <a:pt x="2017280" y="943910"/>
                      </a:lnTo>
                      <a:lnTo>
                        <a:pt x="2019399" y="998171"/>
                      </a:lnTo>
                      <a:lnTo>
                        <a:pt x="2019366" y="1025324"/>
                      </a:lnTo>
                      <a:lnTo>
                        <a:pt x="2017112" y="1079580"/>
                      </a:lnTo>
                      <a:lnTo>
                        <a:pt x="2011949" y="1133636"/>
                      </a:lnTo>
                      <a:lnTo>
                        <a:pt x="2003892" y="1187336"/>
                      </a:lnTo>
                      <a:lnTo>
                        <a:pt x="1992964" y="1240526"/>
                      </a:lnTo>
                      <a:lnTo>
                        <a:pt x="1979196" y="1293052"/>
                      </a:lnTo>
                      <a:lnTo>
                        <a:pt x="1962629" y="1344761"/>
                      </a:lnTo>
                      <a:lnTo>
                        <a:pt x="1943309" y="1395505"/>
                      </a:lnTo>
                      <a:lnTo>
                        <a:pt x="1921294" y="1445138"/>
                      </a:lnTo>
                      <a:lnTo>
                        <a:pt x="1896647" y="1493515"/>
                      </a:lnTo>
                      <a:lnTo>
                        <a:pt x="1869438" y="1540498"/>
                      </a:lnTo>
                      <a:lnTo>
                        <a:pt x="1839746" y="1585949"/>
                      </a:lnTo>
                      <a:lnTo>
                        <a:pt x="1807658" y="1629740"/>
                      </a:lnTo>
                      <a:lnTo>
                        <a:pt x="1773265" y="1671741"/>
                      </a:lnTo>
                      <a:lnTo>
                        <a:pt x="1736667" y="1711834"/>
                      </a:lnTo>
                      <a:lnTo>
                        <a:pt x="1697970" y="1749900"/>
                      </a:lnTo>
                      <a:lnTo>
                        <a:pt x="1657285" y="1785832"/>
                      </a:lnTo>
                      <a:lnTo>
                        <a:pt x="1614730" y="1819525"/>
                      </a:lnTo>
                      <a:lnTo>
                        <a:pt x="1570428" y="1850881"/>
                      </a:lnTo>
                      <a:lnTo>
                        <a:pt x="1524507" y="1879811"/>
                      </a:lnTo>
                      <a:lnTo>
                        <a:pt x="1477099" y="1906230"/>
                      </a:lnTo>
                      <a:lnTo>
                        <a:pt x="1428341" y="1930062"/>
                      </a:lnTo>
                      <a:lnTo>
                        <a:pt x="1378375" y="1951239"/>
                      </a:lnTo>
                      <a:lnTo>
                        <a:pt x="1327344" y="1969699"/>
                      </a:lnTo>
                      <a:lnTo>
                        <a:pt x="1275396" y="1985390"/>
                      </a:lnTo>
                      <a:lnTo>
                        <a:pt x="1222680" y="1998265"/>
                      </a:lnTo>
                      <a:lnTo>
                        <a:pt x="1169349" y="2008287"/>
                      </a:lnTo>
                      <a:lnTo>
                        <a:pt x="1115558" y="2015428"/>
                      </a:lnTo>
                      <a:lnTo>
                        <a:pt x="1061461" y="2019667"/>
                      </a:lnTo>
                      <a:lnTo>
                        <a:pt x="1034346" y="2020694"/>
                      </a:lnTo>
                      <a:lnTo>
                        <a:pt x="1007214" y="2020992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12" name="object 12"/>
                <p:cNvSpPr/>
                <p:nvPr/>
              </p:nvSpPr>
              <p:spPr>
                <a:xfrm>
                  <a:off x="840482" y="1996900"/>
                  <a:ext cx="910590" cy="8743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10589" h="874394">
                      <a:moveTo>
                        <a:pt x="910503" y="874195"/>
                      </a:moveTo>
                      <a:lnTo>
                        <a:pt x="0" y="437298"/>
                      </a:lnTo>
                      <a:lnTo>
                        <a:pt x="16967" y="403517"/>
                      </a:lnTo>
                      <a:lnTo>
                        <a:pt x="35160" y="370440"/>
                      </a:lnTo>
                      <a:lnTo>
                        <a:pt x="75220" y="306402"/>
                      </a:lnTo>
                      <a:lnTo>
                        <a:pt x="119943" y="245534"/>
                      </a:lnTo>
                      <a:lnTo>
                        <a:pt x="169091" y="188184"/>
                      </a:lnTo>
                      <a:lnTo>
                        <a:pt x="222378" y="134664"/>
                      </a:lnTo>
                      <a:lnTo>
                        <a:pt x="279517" y="85284"/>
                      </a:lnTo>
                      <a:lnTo>
                        <a:pt x="340178" y="40308"/>
                      </a:lnTo>
                      <a:lnTo>
                        <a:pt x="404032" y="0"/>
                      </a:lnTo>
                      <a:lnTo>
                        <a:pt x="910503" y="874195"/>
                      </a:lnTo>
                      <a:close/>
                    </a:path>
                  </a:pathLst>
                </a:custGeom>
                <a:solidFill>
                  <a:srgbClr val="12239D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13" name="object 13"/>
                <p:cNvSpPr/>
                <p:nvPr/>
              </p:nvSpPr>
              <p:spPr>
                <a:xfrm>
                  <a:off x="1244515" y="1860598"/>
                  <a:ext cx="506730" cy="10109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6730" h="1010919">
                      <a:moveTo>
                        <a:pt x="506471" y="1010497"/>
                      </a:moveTo>
                      <a:lnTo>
                        <a:pt x="0" y="136302"/>
                      </a:lnTo>
                      <a:lnTo>
                        <a:pt x="46700" y="110809"/>
                      </a:lnTo>
                      <a:lnTo>
                        <a:pt x="94475" y="87899"/>
                      </a:lnTo>
                      <a:lnTo>
                        <a:pt x="143322" y="67573"/>
                      </a:lnTo>
                      <a:lnTo>
                        <a:pt x="193244" y="49829"/>
                      </a:lnTo>
                      <a:lnTo>
                        <a:pt x="244238" y="34670"/>
                      </a:lnTo>
                      <a:lnTo>
                        <a:pt x="295952" y="22188"/>
                      </a:lnTo>
                      <a:lnTo>
                        <a:pt x="348033" y="12481"/>
                      </a:lnTo>
                      <a:lnTo>
                        <a:pt x="400479" y="5547"/>
                      </a:lnTo>
                      <a:lnTo>
                        <a:pt x="453292" y="1386"/>
                      </a:lnTo>
                      <a:lnTo>
                        <a:pt x="506471" y="0"/>
                      </a:lnTo>
                      <a:lnTo>
                        <a:pt x="506471" y="1010497"/>
                      </a:lnTo>
                      <a:close/>
                    </a:path>
                  </a:pathLst>
                </a:custGeom>
                <a:solidFill>
                  <a:srgbClr val="118CFF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</p:grpSp>
          <p:sp>
            <p:nvSpPr>
              <p:cNvPr id="14" name="object 14"/>
              <p:cNvSpPr txBox="1"/>
              <p:nvPr/>
            </p:nvSpPr>
            <p:spPr>
              <a:xfrm>
                <a:off x="2014773" y="2742255"/>
                <a:ext cx="521408" cy="344111"/>
              </a:xfrm>
              <a:prstGeom prst="rect">
                <a:avLst/>
              </a:prstGeom>
            </p:spPr>
            <p:txBody>
              <a:bodyPr vert="horz" wrap="square" lIns="0" tIns="10646" rIns="0" bIns="0" rtlCol="0">
                <a:spAutoFit/>
              </a:bodyPr>
              <a:lstStyle/>
              <a:p>
                <a:pPr marL="23534" marR="4483" indent="-12887">
                  <a:lnSpc>
                    <a:spcPct val="113300"/>
                  </a:lnSpc>
                  <a:spcBef>
                    <a:spcPts val="84"/>
                  </a:spcBef>
                </a:pPr>
                <a:r>
                  <a:rPr sz="1000" spc="4" dirty="0">
                    <a:solidFill>
                      <a:srgbClr val="FFFFFF"/>
                    </a:solidFill>
                    <a:latin typeface="Segoe UI"/>
                    <a:cs typeface="Segoe UI"/>
                  </a:rPr>
                  <a:t>2.86M  (82%)</a:t>
                </a:r>
                <a:endParaRPr sz="1000" dirty="0">
                  <a:latin typeface="Segoe UI"/>
                  <a:cs typeface="Segoe UI"/>
                </a:endParaRPr>
              </a:p>
            </p:txBody>
          </p:sp>
          <p:sp>
            <p:nvSpPr>
              <p:cNvPr id="15" name="object 15"/>
              <p:cNvSpPr txBox="1"/>
              <p:nvPr/>
            </p:nvSpPr>
            <p:spPr>
              <a:xfrm>
                <a:off x="1429411" y="1590892"/>
                <a:ext cx="566262" cy="344111"/>
              </a:xfrm>
              <a:prstGeom prst="rect">
                <a:avLst/>
              </a:prstGeom>
            </p:spPr>
            <p:txBody>
              <a:bodyPr vert="horz" wrap="square" lIns="0" tIns="10646" rIns="0" bIns="0" rtlCol="0">
                <a:spAutoFit/>
              </a:bodyPr>
              <a:lstStyle/>
              <a:p>
                <a:pPr marL="206198" marR="4483" indent="-42024">
                  <a:lnSpc>
                    <a:spcPct val="113300"/>
                  </a:lnSpc>
                  <a:spcBef>
                    <a:spcPts val="84"/>
                  </a:spcBef>
                </a:pPr>
                <a:r>
                  <a:rPr sz="1000" spc="4" dirty="0">
                    <a:solidFill>
                      <a:srgbClr val="FFFFFF"/>
                    </a:solidFill>
                    <a:latin typeface="Segoe UI"/>
                    <a:cs typeface="Segoe UI"/>
                  </a:rPr>
                  <a:t>0.29M  (8%)</a:t>
                </a:r>
                <a:endParaRPr sz="1000" dirty="0">
                  <a:latin typeface="Segoe UI"/>
                  <a:cs typeface="Segoe UI"/>
                </a:endParaRPr>
              </a:p>
            </p:txBody>
          </p:sp>
          <p:sp>
            <p:nvSpPr>
              <p:cNvPr id="16" name="object 16"/>
              <p:cNvSpPr/>
              <p:nvPr/>
            </p:nvSpPr>
            <p:spPr>
              <a:xfrm>
                <a:off x="3265469" y="2344815"/>
                <a:ext cx="89416" cy="89177"/>
              </a:xfrm>
              <a:prstGeom prst="rect">
                <a:avLst/>
              </a:prstGeom>
              <a:blipFill>
                <a:blip r:embed="rId9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" name="object 17"/>
              <p:cNvSpPr/>
              <p:nvPr/>
            </p:nvSpPr>
            <p:spPr>
              <a:xfrm>
                <a:off x="3265469" y="2573599"/>
                <a:ext cx="89416" cy="92743"/>
              </a:xfrm>
              <a:prstGeom prst="rect">
                <a:avLst/>
              </a:prstGeom>
              <a:blipFill>
                <a:blip r:embed="rId6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" name="object 18"/>
              <p:cNvSpPr/>
              <p:nvPr/>
            </p:nvSpPr>
            <p:spPr>
              <a:xfrm>
                <a:off x="3265469" y="2805587"/>
                <a:ext cx="89416" cy="89177"/>
              </a:xfrm>
              <a:prstGeom prst="rect">
                <a:avLst/>
              </a:prstGeom>
              <a:blipFill>
                <a:blip r:embed="rId10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" name="object 19"/>
              <p:cNvSpPr txBox="1"/>
              <p:nvPr/>
            </p:nvSpPr>
            <p:spPr>
              <a:xfrm>
                <a:off x="3245291" y="2067974"/>
                <a:ext cx="795468" cy="891236"/>
              </a:xfrm>
              <a:prstGeom prst="rect">
                <a:avLst/>
              </a:prstGeom>
            </p:spPr>
            <p:txBody>
              <a:bodyPr vert="horz" wrap="square" lIns="0" tIns="58831" rIns="0" bIns="0" rtlCol="0">
                <a:spAutoFit/>
              </a:bodyPr>
              <a:lstStyle/>
              <a:p>
                <a:pPr marL="11206">
                  <a:spcBef>
                    <a:spcPts val="463"/>
                  </a:spcBef>
                </a:pPr>
                <a:r>
                  <a:rPr sz="1000" b="1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Sentiment</a:t>
                </a:r>
                <a:endParaRPr sz="1000" dirty="0">
                  <a:latin typeface="Segoe UI"/>
                  <a:cs typeface="Segoe UI"/>
                </a:endParaRPr>
              </a:p>
              <a:p>
                <a:pPr marL="129435">
                  <a:spcBef>
                    <a:spcPts val="383"/>
                  </a:spcBef>
                </a:pPr>
                <a:r>
                  <a:rPr sz="1000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Positive</a:t>
                </a:r>
                <a:endParaRPr sz="1000" dirty="0">
                  <a:latin typeface="Segoe UI"/>
                  <a:cs typeface="Segoe UI"/>
                </a:endParaRPr>
              </a:p>
              <a:p>
                <a:pPr marL="129435" marR="4483">
                  <a:lnSpc>
                    <a:spcPct val="160000"/>
                  </a:lnSpc>
                  <a:spcBef>
                    <a:spcPts val="71"/>
                  </a:spcBef>
                </a:pPr>
                <a:r>
                  <a:rPr sz="1000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Negative  Neutral</a:t>
                </a:r>
                <a:endParaRPr sz="1000" dirty="0">
                  <a:latin typeface="Segoe UI"/>
                  <a:cs typeface="Segoe UI"/>
                </a:endParaRPr>
              </a:p>
            </p:txBody>
          </p:sp>
          <p:sp>
            <p:nvSpPr>
              <p:cNvPr id="606" name="TextBox 605">
                <a:extLst>
                  <a:ext uri="{FF2B5EF4-FFF2-40B4-BE49-F238E27FC236}">
                    <a16:creationId xmlns:a16="http://schemas.microsoft.com/office/drawing/2014/main" id="{AC923A79-2F90-465C-9AFE-71B1B625E0E1}"/>
                  </a:ext>
                </a:extLst>
              </p:cNvPr>
              <p:cNvSpPr txBox="1"/>
              <p:nvPr/>
            </p:nvSpPr>
            <p:spPr>
              <a:xfrm>
                <a:off x="1128734" y="1792905"/>
                <a:ext cx="775910" cy="42569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3534" marR="158011" indent="-12887">
                  <a:lnSpc>
                    <a:spcPct val="113300"/>
                  </a:lnSpc>
                  <a:spcBef>
                    <a:spcPts val="424"/>
                  </a:spcBef>
                </a:pPr>
                <a:r>
                  <a:rPr lang="en-US" sz="1000" spc="4" dirty="0">
                    <a:solidFill>
                      <a:srgbClr val="FFFFFF"/>
                    </a:solidFill>
                    <a:latin typeface="Segoe UI"/>
                    <a:cs typeface="Segoe UI"/>
                  </a:rPr>
                  <a:t>0.33M  (10%)</a:t>
                </a:r>
                <a:endParaRPr lang="en-US" sz="1000" dirty="0">
                  <a:latin typeface="Segoe UI"/>
                  <a:cs typeface="Segoe UI"/>
                </a:endParaRPr>
              </a:p>
            </p:txBody>
          </p:sp>
        </p:grpSp>
        <p:sp>
          <p:nvSpPr>
            <p:cNvPr id="636" name="Oval 635">
              <a:extLst>
                <a:ext uri="{FF2B5EF4-FFF2-40B4-BE49-F238E27FC236}">
                  <a16:creationId xmlns:a16="http://schemas.microsoft.com/office/drawing/2014/main" id="{05B30EC3-AF67-4003-B03B-B648A4E20CFB}"/>
                </a:ext>
              </a:extLst>
            </p:cNvPr>
            <p:cNvSpPr/>
            <p:nvPr/>
          </p:nvSpPr>
          <p:spPr>
            <a:xfrm>
              <a:off x="3074569" y="2356369"/>
              <a:ext cx="89416" cy="89177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38" name="Oval 637">
            <a:extLst>
              <a:ext uri="{FF2B5EF4-FFF2-40B4-BE49-F238E27FC236}">
                <a16:creationId xmlns:a16="http://schemas.microsoft.com/office/drawing/2014/main" id="{7D8B433B-079C-4640-A2E6-75A06F80B331}"/>
              </a:ext>
            </a:extLst>
          </p:cNvPr>
          <p:cNvSpPr/>
          <p:nvPr/>
        </p:nvSpPr>
        <p:spPr>
          <a:xfrm>
            <a:off x="6059059" y="1331642"/>
            <a:ext cx="90286" cy="76874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9" name="Slide Number Placeholder 638">
            <a:extLst>
              <a:ext uri="{FF2B5EF4-FFF2-40B4-BE49-F238E27FC236}">
                <a16:creationId xmlns:a16="http://schemas.microsoft.com/office/drawing/2014/main" id="{75276FC2-6F78-4913-A0A1-654B8D5AD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6820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1" name="Object 44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41" name="Object 44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object 13"/>
          <p:cNvSpPr/>
          <p:nvPr/>
        </p:nvSpPr>
        <p:spPr>
          <a:xfrm>
            <a:off x="3251450" y="5505033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50" y="10233"/>
                </a:moveTo>
                <a:lnTo>
                  <a:pt x="0" y="10233"/>
                </a:lnTo>
                <a:lnTo>
                  <a:pt x="0" y="0"/>
                </a:lnTo>
                <a:lnTo>
                  <a:pt x="10250" y="0"/>
                </a:lnTo>
                <a:lnTo>
                  <a:pt x="10250" y="10233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25" name="object 25"/>
          <p:cNvSpPr/>
          <p:nvPr/>
        </p:nvSpPr>
        <p:spPr>
          <a:xfrm>
            <a:off x="3251450" y="4924570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50" y="10233"/>
                </a:moveTo>
                <a:lnTo>
                  <a:pt x="0" y="10233"/>
                </a:lnTo>
                <a:lnTo>
                  <a:pt x="0" y="0"/>
                </a:lnTo>
                <a:lnTo>
                  <a:pt x="10250" y="0"/>
                </a:lnTo>
                <a:lnTo>
                  <a:pt x="10250" y="10233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37" name="object 37"/>
          <p:cNvSpPr/>
          <p:nvPr/>
        </p:nvSpPr>
        <p:spPr>
          <a:xfrm>
            <a:off x="3251450" y="4344109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50" y="10233"/>
                </a:moveTo>
                <a:lnTo>
                  <a:pt x="0" y="10233"/>
                </a:lnTo>
                <a:lnTo>
                  <a:pt x="0" y="0"/>
                </a:lnTo>
                <a:lnTo>
                  <a:pt x="10250" y="0"/>
                </a:lnTo>
                <a:lnTo>
                  <a:pt x="10250" y="10233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49" name="object 49"/>
          <p:cNvSpPr/>
          <p:nvPr/>
        </p:nvSpPr>
        <p:spPr>
          <a:xfrm>
            <a:off x="3251450" y="3763647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50" y="10233"/>
                </a:moveTo>
                <a:lnTo>
                  <a:pt x="0" y="10233"/>
                </a:lnTo>
                <a:lnTo>
                  <a:pt x="0" y="0"/>
                </a:lnTo>
                <a:lnTo>
                  <a:pt x="10250" y="0"/>
                </a:lnTo>
                <a:lnTo>
                  <a:pt x="10250" y="10233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61" name="object 61"/>
          <p:cNvSpPr/>
          <p:nvPr/>
        </p:nvSpPr>
        <p:spPr>
          <a:xfrm>
            <a:off x="3251450" y="3183186"/>
            <a:ext cx="9525" cy="9525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250" y="10233"/>
                </a:moveTo>
                <a:lnTo>
                  <a:pt x="0" y="10233"/>
                </a:lnTo>
                <a:lnTo>
                  <a:pt x="0" y="0"/>
                </a:lnTo>
                <a:lnTo>
                  <a:pt x="10250" y="0"/>
                </a:lnTo>
                <a:lnTo>
                  <a:pt x="10250" y="10233"/>
                </a:lnTo>
                <a:close/>
              </a:path>
            </a:pathLst>
          </a:custGeom>
          <a:solidFill>
            <a:srgbClr val="C7C6C3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grpSp>
        <p:nvGrpSpPr>
          <p:cNvPr id="451" name="Group 450">
            <a:extLst>
              <a:ext uri="{FF2B5EF4-FFF2-40B4-BE49-F238E27FC236}">
                <a16:creationId xmlns:a16="http://schemas.microsoft.com/office/drawing/2014/main" id="{D4C0045B-1D66-4E1B-BF53-CC9098B1C8CC}"/>
              </a:ext>
            </a:extLst>
          </p:cNvPr>
          <p:cNvGrpSpPr/>
          <p:nvPr/>
        </p:nvGrpSpPr>
        <p:grpSpPr>
          <a:xfrm>
            <a:off x="420522" y="849308"/>
            <a:ext cx="2917836" cy="1593557"/>
            <a:chOff x="361317" y="791089"/>
            <a:chExt cx="2917836" cy="1593557"/>
          </a:xfrm>
        </p:grpSpPr>
        <p:sp>
          <p:nvSpPr>
            <p:cNvPr id="88" name="object 88"/>
            <p:cNvSpPr txBox="1"/>
            <p:nvPr/>
          </p:nvSpPr>
          <p:spPr>
            <a:xfrm>
              <a:off x="981787" y="791089"/>
              <a:ext cx="2080640" cy="185568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marL="11206">
                <a:spcBef>
                  <a:spcPts val="124"/>
                </a:spcBef>
              </a:pPr>
              <a:r>
                <a:rPr sz="1103" b="1" spc="49" dirty="0">
                  <a:solidFill>
                    <a:srgbClr val="252423"/>
                  </a:solidFill>
                  <a:latin typeface="Arial Narrow"/>
                  <a:cs typeface="Arial Narrow"/>
                </a:rPr>
                <a:t>Average </a:t>
              </a:r>
              <a:r>
                <a:rPr sz="1103" b="1" spc="62" dirty="0">
                  <a:solidFill>
                    <a:srgbClr val="252423"/>
                  </a:solidFill>
                  <a:latin typeface="Arial Narrow"/>
                  <a:cs typeface="Arial Narrow"/>
                </a:rPr>
                <a:t>Usefulness by</a:t>
              </a:r>
              <a:r>
                <a:rPr sz="1103" b="1" spc="-115" dirty="0">
                  <a:solidFill>
                    <a:srgbClr val="252423"/>
                  </a:solidFill>
                  <a:latin typeface="Arial Narrow"/>
                  <a:cs typeface="Arial Narrow"/>
                </a:rPr>
                <a:t> </a:t>
              </a:r>
              <a:r>
                <a:rPr sz="1103" b="1" spc="53" dirty="0">
                  <a:solidFill>
                    <a:srgbClr val="252423"/>
                  </a:solidFill>
                  <a:latin typeface="Arial Narrow"/>
                  <a:cs typeface="Arial Narrow"/>
                </a:rPr>
                <a:t>Category</a:t>
              </a:r>
              <a:endParaRPr sz="1103" b="1" dirty="0">
                <a:latin typeface="Arial Narrow"/>
                <a:cs typeface="Arial Narrow"/>
              </a:endParaRPr>
            </a:p>
          </p:txBody>
        </p:sp>
        <p:grpSp>
          <p:nvGrpSpPr>
            <p:cNvPr id="442" name="Group 441">
              <a:extLst>
                <a:ext uri="{FF2B5EF4-FFF2-40B4-BE49-F238E27FC236}">
                  <a16:creationId xmlns:a16="http://schemas.microsoft.com/office/drawing/2014/main" id="{C0D50D66-4FB8-4490-B2CD-02CA439E7CC0}"/>
                </a:ext>
              </a:extLst>
            </p:cNvPr>
            <p:cNvGrpSpPr/>
            <p:nvPr/>
          </p:nvGrpSpPr>
          <p:grpSpPr>
            <a:xfrm>
              <a:off x="361317" y="1086414"/>
              <a:ext cx="2917836" cy="1298232"/>
              <a:chOff x="325050" y="1075445"/>
              <a:chExt cx="2917836" cy="1298232"/>
            </a:xfrm>
          </p:grpSpPr>
          <p:sp>
            <p:nvSpPr>
              <p:cNvPr id="89" name="object 89"/>
              <p:cNvSpPr/>
              <p:nvPr/>
            </p:nvSpPr>
            <p:spPr>
              <a:xfrm>
                <a:off x="737108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90" name="object 90"/>
              <p:cNvSpPr/>
              <p:nvPr/>
            </p:nvSpPr>
            <p:spPr>
              <a:xfrm>
                <a:off x="791374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91" name="object 91"/>
              <p:cNvSpPr/>
              <p:nvPr/>
            </p:nvSpPr>
            <p:spPr>
              <a:xfrm>
                <a:off x="845640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92" name="object 92"/>
              <p:cNvSpPr/>
              <p:nvPr/>
            </p:nvSpPr>
            <p:spPr>
              <a:xfrm>
                <a:off x="899906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93" name="object 93"/>
              <p:cNvSpPr/>
              <p:nvPr/>
            </p:nvSpPr>
            <p:spPr>
              <a:xfrm>
                <a:off x="954173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grpSp>
            <p:nvGrpSpPr>
              <p:cNvPr id="94" name="object 94"/>
              <p:cNvGrpSpPr/>
              <p:nvPr/>
            </p:nvGrpSpPr>
            <p:grpSpPr>
              <a:xfrm>
                <a:off x="1008439" y="1267179"/>
                <a:ext cx="551890" cy="633132"/>
                <a:chOff x="787297" y="1436136"/>
                <a:chExt cx="625475" cy="717550"/>
              </a:xfrm>
            </p:grpSpPr>
            <p:sp>
              <p:nvSpPr>
                <p:cNvPr id="95" name="object 95"/>
                <p:cNvSpPr/>
                <p:nvPr/>
              </p:nvSpPr>
              <p:spPr>
                <a:xfrm>
                  <a:off x="787285" y="1439557"/>
                  <a:ext cx="625475" cy="714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5475" h="714375">
                      <a:moveTo>
                        <a:pt x="10261" y="703821"/>
                      </a:moveTo>
                      <a:lnTo>
                        <a:pt x="0" y="703821"/>
                      </a:lnTo>
                      <a:lnTo>
                        <a:pt x="0" y="714057"/>
                      </a:lnTo>
                      <a:lnTo>
                        <a:pt x="10261" y="714057"/>
                      </a:lnTo>
                      <a:lnTo>
                        <a:pt x="10261" y="703821"/>
                      </a:lnTo>
                      <a:close/>
                    </a:path>
                    <a:path w="625475" h="714375">
                      <a:moveTo>
                        <a:pt x="10261" y="0"/>
                      </a:moveTo>
                      <a:lnTo>
                        <a:pt x="0" y="0"/>
                      </a:lnTo>
                      <a:lnTo>
                        <a:pt x="0" y="10223"/>
                      </a:lnTo>
                      <a:lnTo>
                        <a:pt x="10261" y="10223"/>
                      </a:lnTo>
                      <a:lnTo>
                        <a:pt x="10261" y="0"/>
                      </a:lnTo>
                      <a:close/>
                    </a:path>
                    <a:path w="625475" h="714375">
                      <a:moveTo>
                        <a:pt x="71755" y="708939"/>
                      </a:moveTo>
                      <a:lnTo>
                        <a:pt x="61506" y="708939"/>
                      </a:lnTo>
                      <a:lnTo>
                        <a:pt x="61506" y="714057"/>
                      </a:lnTo>
                      <a:lnTo>
                        <a:pt x="71755" y="714057"/>
                      </a:lnTo>
                      <a:lnTo>
                        <a:pt x="71755" y="708939"/>
                      </a:lnTo>
                      <a:close/>
                    </a:path>
                    <a:path w="625475" h="714375">
                      <a:moveTo>
                        <a:pt x="133261" y="708939"/>
                      </a:moveTo>
                      <a:lnTo>
                        <a:pt x="123012" y="708939"/>
                      </a:lnTo>
                      <a:lnTo>
                        <a:pt x="123012" y="714057"/>
                      </a:lnTo>
                      <a:lnTo>
                        <a:pt x="133261" y="714057"/>
                      </a:lnTo>
                      <a:lnTo>
                        <a:pt x="133261" y="708939"/>
                      </a:lnTo>
                      <a:close/>
                    </a:path>
                    <a:path w="625475" h="714375">
                      <a:moveTo>
                        <a:pt x="194767" y="708939"/>
                      </a:moveTo>
                      <a:lnTo>
                        <a:pt x="184505" y="708939"/>
                      </a:lnTo>
                      <a:lnTo>
                        <a:pt x="184505" y="714057"/>
                      </a:lnTo>
                      <a:lnTo>
                        <a:pt x="194767" y="714057"/>
                      </a:lnTo>
                      <a:lnTo>
                        <a:pt x="194767" y="708939"/>
                      </a:lnTo>
                      <a:close/>
                    </a:path>
                    <a:path w="625475" h="714375">
                      <a:moveTo>
                        <a:pt x="256260" y="708939"/>
                      </a:moveTo>
                      <a:lnTo>
                        <a:pt x="246011" y="708939"/>
                      </a:lnTo>
                      <a:lnTo>
                        <a:pt x="246011" y="714057"/>
                      </a:lnTo>
                      <a:lnTo>
                        <a:pt x="256260" y="714057"/>
                      </a:lnTo>
                      <a:lnTo>
                        <a:pt x="256260" y="708939"/>
                      </a:lnTo>
                      <a:close/>
                    </a:path>
                    <a:path w="625475" h="714375">
                      <a:moveTo>
                        <a:pt x="317766" y="708939"/>
                      </a:moveTo>
                      <a:lnTo>
                        <a:pt x="307517" y="708939"/>
                      </a:lnTo>
                      <a:lnTo>
                        <a:pt x="307517" y="714057"/>
                      </a:lnTo>
                      <a:lnTo>
                        <a:pt x="317766" y="714057"/>
                      </a:lnTo>
                      <a:lnTo>
                        <a:pt x="317766" y="708939"/>
                      </a:lnTo>
                      <a:close/>
                    </a:path>
                    <a:path w="625475" h="714375">
                      <a:moveTo>
                        <a:pt x="379272" y="708939"/>
                      </a:moveTo>
                      <a:lnTo>
                        <a:pt x="369011" y="708939"/>
                      </a:lnTo>
                      <a:lnTo>
                        <a:pt x="369011" y="714057"/>
                      </a:lnTo>
                      <a:lnTo>
                        <a:pt x="379272" y="714057"/>
                      </a:lnTo>
                      <a:lnTo>
                        <a:pt x="379272" y="708939"/>
                      </a:lnTo>
                      <a:close/>
                    </a:path>
                    <a:path w="625475" h="714375">
                      <a:moveTo>
                        <a:pt x="440766" y="708939"/>
                      </a:moveTo>
                      <a:lnTo>
                        <a:pt x="430517" y="708939"/>
                      </a:lnTo>
                      <a:lnTo>
                        <a:pt x="430517" y="714057"/>
                      </a:lnTo>
                      <a:lnTo>
                        <a:pt x="440766" y="714057"/>
                      </a:lnTo>
                      <a:lnTo>
                        <a:pt x="440766" y="708939"/>
                      </a:lnTo>
                      <a:close/>
                    </a:path>
                    <a:path w="625475" h="714375">
                      <a:moveTo>
                        <a:pt x="502272" y="708939"/>
                      </a:moveTo>
                      <a:lnTo>
                        <a:pt x="492023" y="708939"/>
                      </a:lnTo>
                      <a:lnTo>
                        <a:pt x="492023" y="714057"/>
                      </a:lnTo>
                      <a:lnTo>
                        <a:pt x="502272" y="714057"/>
                      </a:lnTo>
                      <a:lnTo>
                        <a:pt x="502272" y="708939"/>
                      </a:lnTo>
                      <a:close/>
                    </a:path>
                    <a:path w="625475" h="714375">
                      <a:moveTo>
                        <a:pt x="563778" y="708939"/>
                      </a:moveTo>
                      <a:lnTo>
                        <a:pt x="553516" y="708939"/>
                      </a:lnTo>
                      <a:lnTo>
                        <a:pt x="553516" y="714057"/>
                      </a:lnTo>
                      <a:lnTo>
                        <a:pt x="563778" y="714057"/>
                      </a:lnTo>
                      <a:lnTo>
                        <a:pt x="563778" y="708939"/>
                      </a:lnTo>
                      <a:close/>
                    </a:path>
                    <a:path w="625475" h="714375">
                      <a:moveTo>
                        <a:pt x="625271" y="703821"/>
                      </a:moveTo>
                      <a:lnTo>
                        <a:pt x="615022" y="703821"/>
                      </a:lnTo>
                      <a:lnTo>
                        <a:pt x="615022" y="708939"/>
                      </a:lnTo>
                      <a:lnTo>
                        <a:pt x="615022" y="714057"/>
                      </a:lnTo>
                      <a:lnTo>
                        <a:pt x="625271" y="714057"/>
                      </a:lnTo>
                      <a:lnTo>
                        <a:pt x="625271" y="708939"/>
                      </a:lnTo>
                      <a:lnTo>
                        <a:pt x="625271" y="703821"/>
                      </a:lnTo>
                      <a:close/>
                    </a:path>
                    <a:path w="625475" h="714375">
                      <a:moveTo>
                        <a:pt x="625271" y="0"/>
                      </a:moveTo>
                      <a:lnTo>
                        <a:pt x="615162" y="0"/>
                      </a:lnTo>
                      <a:lnTo>
                        <a:pt x="615162" y="10223"/>
                      </a:lnTo>
                      <a:lnTo>
                        <a:pt x="625271" y="10223"/>
                      </a:lnTo>
                      <a:lnTo>
                        <a:pt x="625271" y="0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96" name="object 96"/>
                <p:cNvSpPr/>
                <p:nvPr/>
              </p:nvSpPr>
              <p:spPr>
                <a:xfrm>
                  <a:off x="798526" y="1436136"/>
                  <a:ext cx="604520" cy="7124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4519" h="712469">
                      <a:moveTo>
                        <a:pt x="603925" y="712355"/>
                      </a:moveTo>
                      <a:lnTo>
                        <a:pt x="0" y="712355"/>
                      </a:lnTo>
                      <a:lnTo>
                        <a:pt x="0" y="0"/>
                      </a:lnTo>
                      <a:lnTo>
                        <a:pt x="603925" y="0"/>
                      </a:lnTo>
                      <a:lnTo>
                        <a:pt x="603925" y="712355"/>
                      </a:lnTo>
                      <a:close/>
                    </a:path>
                  </a:pathLst>
                </a:custGeom>
                <a:solidFill>
                  <a:srgbClr val="118CFF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</p:grpSp>
          <p:sp>
            <p:nvSpPr>
              <p:cNvPr id="97" name="object 97"/>
              <p:cNvSpPr/>
              <p:nvPr/>
            </p:nvSpPr>
            <p:spPr>
              <a:xfrm>
                <a:off x="1605369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98" name="object 98"/>
              <p:cNvSpPr/>
              <p:nvPr/>
            </p:nvSpPr>
            <p:spPr>
              <a:xfrm>
                <a:off x="1659636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grpSp>
            <p:nvGrpSpPr>
              <p:cNvPr id="99" name="object 99"/>
              <p:cNvGrpSpPr/>
              <p:nvPr/>
            </p:nvGrpSpPr>
            <p:grpSpPr>
              <a:xfrm>
                <a:off x="1713902" y="1270191"/>
                <a:ext cx="551890" cy="630331"/>
                <a:chOff x="1586822" y="1439549"/>
                <a:chExt cx="625475" cy="714375"/>
              </a:xfrm>
            </p:grpSpPr>
            <p:sp>
              <p:nvSpPr>
                <p:cNvPr id="100" name="object 100"/>
                <p:cNvSpPr/>
                <p:nvPr/>
              </p:nvSpPr>
              <p:spPr>
                <a:xfrm>
                  <a:off x="1586814" y="1439557"/>
                  <a:ext cx="625475" cy="714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5475" h="714375">
                      <a:moveTo>
                        <a:pt x="10248" y="703821"/>
                      </a:moveTo>
                      <a:lnTo>
                        <a:pt x="0" y="703821"/>
                      </a:lnTo>
                      <a:lnTo>
                        <a:pt x="0" y="708939"/>
                      </a:lnTo>
                      <a:lnTo>
                        <a:pt x="0" y="714057"/>
                      </a:lnTo>
                      <a:lnTo>
                        <a:pt x="10248" y="714057"/>
                      </a:lnTo>
                      <a:lnTo>
                        <a:pt x="10248" y="708939"/>
                      </a:lnTo>
                      <a:lnTo>
                        <a:pt x="10248" y="703821"/>
                      </a:lnTo>
                      <a:close/>
                    </a:path>
                    <a:path w="625475" h="714375">
                      <a:moveTo>
                        <a:pt x="10248" y="0"/>
                      </a:moveTo>
                      <a:lnTo>
                        <a:pt x="0" y="0"/>
                      </a:lnTo>
                      <a:lnTo>
                        <a:pt x="0" y="10223"/>
                      </a:lnTo>
                      <a:lnTo>
                        <a:pt x="10248" y="10223"/>
                      </a:lnTo>
                      <a:lnTo>
                        <a:pt x="10248" y="0"/>
                      </a:lnTo>
                      <a:close/>
                    </a:path>
                    <a:path w="625475" h="714375">
                      <a:moveTo>
                        <a:pt x="71755" y="708939"/>
                      </a:moveTo>
                      <a:lnTo>
                        <a:pt x="61506" y="708939"/>
                      </a:lnTo>
                      <a:lnTo>
                        <a:pt x="61506" y="714057"/>
                      </a:lnTo>
                      <a:lnTo>
                        <a:pt x="71755" y="714057"/>
                      </a:lnTo>
                      <a:lnTo>
                        <a:pt x="71755" y="708939"/>
                      </a:lnTo>
                      <a:close/>
                    </a:path>
                    <a:path w="625475" h="714375">
                      <a:moveTo>
                        <a:pt x="71755" y="0"/>
                      </a:moveTo>
                      <a:lnTo>
                        <a:pt x="61506" y="0"/>
                      </a:lnTo>
                      <a:lnTo>
                        <a:pt x="61506" y="10223"/>
                      </a:lnTo>
                      <a:lnTo>
                        <a:pt x="71755" y="10223"/>
                      </a:lnTo>
                      <a:lnTo>
                        <a:pt x="71755" y="0"/>
                      </a:lnTo>
                      <a:close/>
                    </a:path>
                    <a:path w="625475" h="714375">
                      <a:moveTo>
                        <a:pt x="133261" y="708939"/>
                      </a:moveTo>
                      <a:lnTo>
                        <a:pt x="122999" y="708939"/>
                      </a:lnTo>
                      <a:lnTo>
                        <a:pt x="122999" y="714057"/>
                      </a:lnTo>
                      <a:lnTo>
                        <a:pt x="133261" y="714057"/>
                      </a:lnTo>
                      <a:lnTo>
                        <a:pt x="133261" y="708939"/>
                      </a:lnTo>
                      <a:close/>
                    </a:path>
                    <a:path w="625475" h="714375">
                      <a:moveTo>
                        <a:pt x="133261" y="0"/>
                      </a:moveTo>
                      <a:lnTo>
                        <a:pt x="122999" y="0"/>
                      </a:lnTo>
                      <a:lnTo>
                        <a:pt x="122999" y="10223"/>
                      </a:lnTo>
                      <a:lnTo>
                        <a:pt x="133261" y="10223"/>
                      </a:lnTo>
                      <a:lnTo>
                        <a:pt x="133261" y="0"/>
                      </a:lnTo>
                      <a:close/>
                    </a:path>
                    <a:path w="625475" h="714375">
                      <a:moveTo>
                        <a:pt x="194754" y="708939"/>
                      </a:moveTo>
                      <a:lnTo>
                        <a:pt x="184505" y="708939"/>
                      </a:lnTo>
                      <a:lnTo>
                        <a:pt x="184505" y="714057"/>
                      </a:lnTo>
                      <a:lnTo>
                        <a:pt x="194754" y="714057"/>
                      </a:lnTo>
                      <a:lnTo>
                        <a:pt x="194754" y="708939"/>
                      </a:lnTo>
                      <a:close/>
                    </a:path>
                    <a:path w="625475" h="714375">
                      <a:moveTo>
                        <a:pt x="194754" y="0"/>
                      </a:moveTo>
                      <a:lnTo>
                        <a:pt x="184505" y="0"/>
                      </a:lnTo>
                      <a:lnTo>
                        <a:pt x="184505" y="10223"/>
                      </a:lnTo>
                      <a:lnTo>
                        <a:pt x="194754" y="10223"/>
                      </a:lnTo>
                      <a:lnTo>
                        <a:pt x="194754" y="0"/>
                      </a:lnTo>
                      <a:close/>
                    </a:path>
                    <a:path w="625475" h="714375">
                      <a:moveTo>
                        <a:pt x="256260" y="708939"/>
                      </a:moveTo>
                      <a:lnTo>
                        <a:pt x="246011" y="708939"/>
                      </a:lnTo>
                      <a:lnTo>
                        <a:pt x="246011" y="714057"/>
                      </a:lnTo>
                      <a:lnTo>
                        <a:pt x="256260" y="714057"/>
                      </a:lnTo>
                      <a:lnTo>
                        <a:pt x="256260" y="708939"/>
                      </a:lnTo>
                      <a:close/>
                    </a:path>
                    <a:path w="625475" h="714375">
                      <a:moveTo>
                        <a:pt x="256260" y="0"/>
                      </a:moveTo>
                      <a:lnTo>
                        <a:pt x="246011" y="0"/>
                      </a:lnTo>
                      <a:lnTo>
                        <a:pt x="246011" y="10223"/>
                      </a:lnTo>
                      <a:lnTo>
                        <a:pt x="256260" y="10223"/>
                      </a:lnTo>
                      <a:lnTo>
                        <a:pt x="256260" y="0"/>
                      </a:lnTo>
                      <a:close/>
                    </a:path>
                    <a:path w="625475" h="714375">
                      <a:moveTo>
                        <a:pt x="317766" y="708939"/>
                      </a:moveTo>
                      <a:lnTo>
                        <a:pt x="307517" y="708939"/>
                      </a:lnTo>
                      <a:lnTo>
                        <a:pt x="307517" y="714057"/>
                      </a:lnTo>
                      <a:lnTo>
                        <a:pt x="317766" y="714057"/>
                      </a:lnTo>
                      <a:lnTo>
                        <a:pt x="317766" y="708939"/>
                      </a:lnTo>
                      <a:close/>
                    </a:path>
                    <a:path w="625475" h="714375">
                      <a:moveTo>
                        <a:pt x="317766" y="0"/>
                      </a:moveTo>
                      <a:lnTo>
                        <a:pt x="307517" y="0"/>
                      </a:lnTo>
                      <a:lnTo>
                        <a:pt x="307517" y="10223"/>
                      </a:lnTo>
                      <a:lnTo>
                        <a:pt x="317766" y="10223"/>
                      </a:lnTo>
                      <a:lnTo>
                        <a:pt x="317766" y="0"/>
                      </a:lnTo>
                      <a:close/>
                    </a:path>
                    <a:path w="625475" h="714375">
                      <a:moveTo>
                        <a:pt x="379260" y="708939"/>
                      </a:moveTo>
                      <a:lnTo>
                        <a:pt x="369011" y="708939"/>
                      </a:lnTo>
                      <a:lnTo>
                        <a:pt x="369011" y="714057"/>
                      </a:lnTo>
                      <a:lnTo>
                        <a:pt x="379260" y="714057"/>
                      </a:lnTo>
                      <a:lnTo>
                        <a:pt x="379260" y="708939"/>
                      </a:lnTo>
                      <a:close/>
                    </a:path>
                    <a:path w="625475" h="714375">
                      <a:moveTo>
                        <a:pt x="379260" y="0"/>
                      </a:moveTo>
                      <a:lnTo>
                        <a:pt x="369011" y="0"/>
                      </a:lnTo>
                      <a:lnTo>
                        <a:pt x="369011" y="10223"/>
                      </a:lnTo>
                      <a:lnTo>
                        <a:pt x="379260" y="10223"/>
                      </a:lnTo>
                      <a:lnTo>
                        <a:pt x="379260" y="0"/>
                      </a:lnTo>
                      <a:close/>
                    </a:path>
                    <a:path w="625475" h="714375">
                      <a:moveTo>
                        <a:pt x="440766" y="708939"/>
                      </a:moveTo>
                      <a:lnTo>
                        <a:pt x="430517" y="708939"/>
                      </a:lnTo>
                      <a:lnTo>
                        <a:pt x="430517" y="714057"/>
                      </a:lnTo>
                      <a:lnTo>
                        <a:pt x="440766" y="714057"/>
                      </a:lnTo>
                      <a:lnTo>
                        <a:pt x="440766" y="708939"/>
                      </a:lnTo>
                      <a:close/>
                    </a:path>
                    <a:path w="625475" h="714375">
                      <a:moveTo>
                        <a:pt x="440766" y="0"/>
                      </a:moveTo>
                      <a:lnTo>
                        <a:pt x="430517" y="0"/>
                      </a:lnTo>
                      <a:lnTo>
                        <a:pt x="430517" y="10223"/>
                      </a:lnTo>
                      <a:lnTo>
                        <a:pt x="440766" y="10223"/>
                      </a:lnTo>
                      <a:lnTo>
                        <a:pt x="440766" y="0"/>
                      </a:lnTo>
                      <a:close/>
                    </a:path>
                    <a:path w="625475" h="714375">
                      <a:moveTo>
                        <a:pt x="502272" y="708939"/>
                      </a:moveTo>
                      <a:lnTo>
                        <a:pt x="492023" y="708939"/>
                      </a:lnTo>
                      <a:lnTo>
                        <a:pt x="492023" y="714057"/>
                      </a:lnTo>
                      <a:lnTo>
                        <a:pt x="502272" y="714057"/>
                      </a:lnTo>
                      <a:lnTo>
                        <a:pt x="502272" y="708939"/>
                      </a:lnTo>
                      <a:close/>
                    </a:path>
                    <a:path w="625475" h="714375">
                      <a:moveTo>
                        <a:pt x="502272" y="0"/>
                      </a:moveTo>
                      <a:lnTo>
                        <a:pt x="492023" y="0"/>
                      </a:lnTo>
                      <a:lnTo>
                        <a:pt x="492023" y="10223"/>
                      </a:lnTo>
                      <a:lnTo>
                        <a:pt x="502272" y="10223"/>
                      </a:lnTo>
                      <a:lnTo>
                        <a:pt x="502272" y="0"/>
                      </a:lnTo>
                      <a:close/>
                    </a:path>
                    <a:path w="625475" h="714375">
                      <a:moveTo>
                        <a:pt x="563765" y="708939"/>
                      </a:moveTo>
                      <a:lnTo>
                        <a:pt x="553516" y="708939"/>
                      </a:lnTo>
                      <a:lnTo>
                        <a:pt x="553516" y="714057"/>
                      </a:lnTo>
                      <a:lnTo>
                        <a:pt x="563765" y="714057"/>
                      </a:lnTo>
                      <a:lnTo>
                        <a:pt x="563765" y="708939"/>
                      </a:lnTo>
                      <a:close/>
                    </a:path>
                    <a:path w="625475" h="714375">
                      <a:moveTo>
                        <a:pt x="563765" y="0"/>
                      </a:moveTo>
                      <a:lnTo>
                        <a:pt x="553516" y="0"/>
                      </a:lnTo>
                      <a:lnTo>
                        <a:pt x="553516" y="10223"/>
                      </a:lnTo>
                      <a:lnTo>
                        <a:pt x="563765" y="10223"/>
                      </a:lnTo>
                      <a:lnTo>
                        <a:pt x="563765" y="0"/>
                      </a:lnTo>
                      <a:close/>
                    </a:path>
                    <a:path w="625475" h="714375">
                      <a:moveTo>
                        <a:pt x="625271" y="703821"/>
                      </a:moveTo>
                      <a:lnTo>
                        <a:pt x="615022" y="703821"/>
                      </a:lnTo>
                      <a:lnTo>
                        <a:pt x="615022" y="714057"/>
                      </a:lnTo>
                      <a:lnTo>
                        <a:pt x="625271" y="714057"/>
                      </a:lnTo>
                      <a:lnTo>
                        <a:pt x="625271" y="703821"/>
                      </a:lnTo>
                      <a:close/>
                    </a:path>
                    <a:path w="625475" h="714375">
                      <a:moveTo>
                        <a:pt x="625271" y="0"/>
                      </a:moveTo>
                      <a:lnTo>
                        <a:pt x="615022" y="0"/>
                      </a:lnTo>
                      <a:lnTo>
                        <a:pt x="615022" y="10223"/>
                      </a:lnTo>
                      <a:lnTo>
                        <a:pt x="625271" y="10223"/>
                      </a:lnTo>
                      <a:lnTo>
                        <a:pt x="625271" y="0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101" name="object 101"/>
                <p:cNvSpPr/>
                <p:nvPr/>
              </p:nvSpPr>
              <p:spPr>
                <a:xfrm>
                  <a:off x="1595372" y="1483824"/>
                  <a:ext cx="604520" cy="6648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4519" h="664844">
                      <a:moveTo>
                        <a:pt x="603925" y="664666"/>
                      </a:moveTo>
                      <a:lnTo>
                        <a:pt x="0" y="664666"/>
                      </a:lnTo>
                      <a:lnTo>
                        <a:pt x="0" y="0"/>
                      </a:lnTo>
                      <a:lnTo>
                        <a:pt x="603925" y="0"/>
                      </a:lnTo>
                      <a:lnTo>
                        <a:pt x="603925" y="664666"/>
                      </a:lnTo>
                      <a:close/>
                    </a:path>
                  </a:pathLst>
                </a:custGeom>
                <a:solidFill>
                  <a:srgbClr val="118CFF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</p:grpSp>
          <p:sp>
            <p:nvSpPr>
              <p:cNvPr id="102" name="object 102"/>
              <p:cNvSpPr/>
              <p:nvPr/>
            </p:nvSpPr>
            <p:spPr>
              <a:xfrm>
                <a:off x="2310833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03" name="object 103"/>
              <p:cNvSpPr/>
              <p:nvPr/>
            </p:nvSpPr>
            <p:spPr>
              <a:xfrm>
                <a:off x="2365099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grpSp>
            <p:nvGrpSpPr>
              <p:cNvPr id="104" name="object 104"/>
              <p:cNvGrpSpPr/>
              <p:nvPr/>
            </p:nvGrpSpPr>
            <p:grpSpPr>
              <a:xfrm>
                <a:off x="2419365" y="1391744"/>
                <a:ext cx="551890" cy="508747"/>
                <a:chOff x="2386347" y="1577310"/>
                <a:chExt cx="625475" cy="576580"/>
              </a:xfrm>
            </p:grpSpPr>
            <p:sp>
              <p:nvSpPr>
                <p:cNvPr id="105" name="object 105"/>
                <p:cNvSpPr/>
                <p:nvPr/>
              </p:nvSpPr>
              <p:spPr>
                <a:xfrm>
                  <a:off x="2386342" y="2143378"/>
                  <a:ext cx="625475" cy="10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5475" h="10794">
                      <a:moveTo>
                        <a:pt x="10248" y="0"/>
                      </a:moveTo>
                      <a:lnTo>
                        <a:pt x="0" y="0"/>
                      </a:lnTo>
                      <a:lnTo>
                        <a:pt x="0" y="5118"/>
                      </a:lnTo>
                      <a:lnTo>
                        <a:pt x="0" y="10236"/>
                      </a:lnTo>
                      <a:lnTo>
                        <a:pt x="10248" y="10236"/>
                      </a:lnTo>
                      <a:lnTo>
                        <a:pt x="10248" y="5118"/>
                      </a:lnTo>
                      <a:lnTo>
                        <a:pt x="10248" y="0"/>
                      </a:lnTo>
                      <a:close/>
                    </a:path>
                    <a:path w="625475" h="10794">
                      <a:moveTo>
                        <a:pt x="71755" y="5118"/>
                      </a:moveTo>
                      <a:lnTo>
                        <a:pt x="61506" y="5118"/>
                      </a:lnTo>
                      <a:lnTo>
                        <a:pt x="61506" y="10236"/>
                      </a:lnTo>
                      <a:lnTo>
                        <a:pt x="71755" y="10236"/>
                      </a:lnTo>
                      <a:lnTo>
                        <a:pt x="71755" y="5118"/>
                      </a:lnTo>
                      <a:close/>
                    </a:path>
                    <a:path w="625475" h="10794">
                      <a:moveTo>
                        <a:pt x="133248" y="5118"/>
                      </a:moveTo>
                      <a:lnTo>
                        <a:pt x="122999" y="5118"/>
                      </a:lnTo>
                      <a:lnTo>
                        <a:pt x="122999" y="10236"/>
                      </a:lnTo>
                      <a:lnTo>
                        <a:pt x="133248" y="10236"/>
                      </a:lnTo>
                      <a:lnTo>
                        <a:pt x="133248" y="5118"/>
                      </a:lnTo>
                      <a:close/>
                    </a:path>
                    <a:path w="625475" h="10794">
                      <a:moveTo>
                        <a:pt x="194754" y="5118"/>
                      </a:moveTo>
                      <a:lnTo>
                        <a:pt x="184505" y="5118"/>
                      </a:lnTo>
                      <a:lnTo>
                        <a:pt x="184505" y="10236"/>
                      </a:lnTo>
                      <a:lnTo>
                        <a:pt x="194754" y="10236"/>
                      </a:lnTo>
                      <a:lnTo>
                        <a:pt x="194754" y="5118"/>
                      </a:lnTo>
                      <a:close/>
                    </a:path>
                    <a:path w="625475" h="10794">
                      <a:moveTo>
                        <a:pt x="256260" y="5118"/>
                      </a:moveTo>
                      <a:lnTo>
                        <a:pt x="246011" y="5118"/>
                      </a:lnTo>
                      <a:lnTo>
                        <a:pt x="246011" y="10236"/>
                      </a:lnTo>
                      <a:lnTo>
                        <a:pt x="256260" y="10236"/>
                      </a:lnTo>
                      <a:lnTo>
                        <a:pt x="256260" y="5118"/>
                      </a:lnTo>
                      <a:close/>
                    </a:path>
                    <a:path w="625475" h="10794">
                      <a:moveTo>
                        <a:pt x="317754" y="5118"/>
                      </a:moveTo>
                      <a:lnTo>
                        <a:pt x="307505" y="5118"/>
                      </a:lnTo>
                      <a:lnTo>
                        <a:pt x="307505" y="10236"/>
                      </a:lnTo>
                      <a:lnTo>
                        <a:pt x="317754" y="10236"/>
                      </a:lnTo>
                      <a:lnTo>
                        <a:pt x="317754" y="5118"/>
                      </a:lnTo>
                      <a:close/>
                    </a:path>
                    <a:path w="625475" h="10794">
                      <a:moveTo>
                        <a:pt x="379260" y="5118"/>
                      </a:moveTo>
                      <a:lnTo>
                        <a:pt x="369011" y="5118"/>
                      </a:lnTo>
                      <a:lnTo>
                        <a:pt x="369011" y="10236"/>
                      </a:lnTo>
                      <a:lnTo>
                        <a:pt x="379260" y="10236"/>
                      </a:lnTo>
                      <a:lnTo>
                        <a:pt x="379260" y="5118"/>
                      </a:lnTo>
                      <a:close/>
                    </a:path>
                    <a:path w="625475" h="10794">
                      <a:moveTo>
                        <a:pt x="440766" y="5118"/>
                      </a:moveTo>
                      <a:lnTo>
                        <a:pt x="430517" y="5118"/>
                      </a:lnTo>
                      <a:lnTo>
                        <a:pt x="430517" y="10236"/>
                      </a:lnTo>
                      <a:lnTo>
                        <a:pt x="440766" y="10236"/>
                      </a:lnTo>
                      <a:lnTo>
                        <a:pt x="440766" y="5118"/>
                      </a:lnTo>
                      <a:close/>
                    </a:path>
                    <a:path w="625475" h="10794">
                      <a:moveTo>
                        <a:pt x="502259" y="5118"/>
                      </a:moveTo>
                      <a:lnTo>
                        <a:pt x="492010" y="5118"/>
                      </a:lnTo>
                      <a:lnTo>
                        <a:pt x="492010" y="10236"/>
                      </a:lnTo>
                      <a:lnTo>
                        <a:pt x="502259" y="10236"/>
                      </a:lnTo>
                      <a:lnTo>
                        <a:pt x="502259" y="5118"/>
                      </a:lnTo>
                      <a:close/>
                    </a:path>
                    <a:path w="625475" h="10794">
                      <a:moveTo>
                        <a:pt x="563765" y="5118"/>
                      </a:moveTo>
                      <a:lnTo>
                        <a:pt x="553516" y="5118"/>
                      </a:lnTo>
                      <a:lnTo>
                        <a:pt x="553516" y="10236"/>
                      </a:lnTo>
                      <a:lnTo>
                        <a:pt x="563765" y="10236"/>
                      </a:lnTo>
                      <a:lnTo>
                        <a:pt x="563765" y="5118"/>
                      </a:lnTo>
                      <a:close/>
                    </a:path>
                    <a:path w="625475" h="10794">
                      <a:moveTo>
                        <a:pt x="625271" y="0"/>
                      </a:moveTo>
                      <a:lnTo>
                        <a:pt x="615022" y="0"/>
                      </a:lnTo>
                      <a:lnTo>
                        <a:pt x="615022" y="10236"/>
                      </a:lnTo>
                      <a:lnTo>
                        <a:pt x="625271" y="10236"/>
                      </a:lnTo>
                      <a:lnTo>
                        <a:pt x="625271" y="0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106" name="object 106"/>
                <p:cNvSpPr/>
                <p:nvPr/>
              </p:nvSpPr>
              <p:spPr>
                <a:xfrm>
                  <a:off x="2392218" y="1577310"/>
                  <a:ext cx="604520" cy="571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4519" h="571500">
                      <a:moveTo>
                        <a:pt x="603925" y="571180"/>
                      </a:moveTo>
                      <a:lnTo>
                        <a:pt x="0" y="571180"/>
                      </a:lnTo>
                      <a:lnTo>
                        <a:pt x="0" y="0"/>
                      </a:lnTo>
                      <a:lnTo>
                        <a:pt x="603925" y="0"/>
                      </a:lnTo>
                      <a:lnTo>
                        <a:pt x="603925" y="571180"/>
                      </a:lnTo>
                      <a:close/>
                    </a:path>
                  </a:pathLst>
                </a:custGeom>
                <a:solidFill>
                  <a:srgbClr val="118CFF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</p:grpSp>
          <p:sp>
            <p:nvSpPr>
              <p:cNvPr id="107" name="object 107"/>
              <p:cNvSpPr/>
              <p:nvPr/>
            </p:nvSpPr>
            <p:spPr>
              <a:xfrm>
                <a:off x="3016296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08" name="object 108"/>
              <p:cNvSpPr/>
              <p:nvPr/>
            </p:nvSpPr>
            <p:spPr>
              <a:xfrm>
                <a:off x="3070562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09" name="object 109"/>
              <p:cNvSpPr/>
              <p:nvPr/>
            </p:nvSpPr>
            <p:spPr>
              <a:xfrm>
                <a:off x="3124829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0" name="object 110"/>
              <p:cNvSpPr/>
              <p:nvPr/>
            </p:nvSpPr>
            <p:spPr>
              <a:xfrm>
                <a:off x="3179094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1" name="object 111"/>
              <p:cNvSpPr/>
              <p:nvPr/>
            </p:nvSpPr>
            <p:spPr>
              <a:xfrm>
                <a:off x="3233361" y="189121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2" name="object 112"/>
              <p:cNvSpPr txBox="1"/>
              <p:nvPr/>
            </p:nvSpPr>
            <p:spPr>
              <a:xfrm>
                <a:off x="510610" y="1819110"/>
                <a:ext cx="147357" cy="127297"/>
              </a:xfrm>
              <a:prstGeom prst="rect">
                <a:avLst/>
              </a:prstGeom>
            </p:spPr>
            <p:txBody>
              <a:bodyPr vert="horz" wrap="square" lIns="0" tIns="11766" rIns="0" bIns="0" rtlCol="0">
                <a:spAutoFit/>
              </a:bodyPr>
              <a:lstStyle/>
              <a:p>
                <a:pPr marL="11206">
                  <a:spcBef>
                    <a:spcPts val="93"/>
                  </a:spcBef>
                </a:pPr>
                <a:r>
                  <a:rPr sz="750" dirty="0">
                    <a:solidFill>
                      <a:srgbClr val="605D5C"/>
                    </a:solidFill>
                    <a:latin typeface="Segoe UI"/>
                    <a:cs typeface="Segoe UI"/>
                  </a:rPr>
                  <a:t>0.0</a:t>
                </a:r>
                <a:endParaRPr sz="750" dirty="0">
                  <a:latin typeface="Segoe UI"/>
                  <a:cs typeface="Segoe UI"/>
                </a:endParaRPr>
              </a:p>
            </p:txBody>
          </p:sp>
          <p:sp>
            <p:nvSpPr>
              <p:cNvPr id="113" name="object 113"/>
              <p:cNvSpPr/>
              <p:nvPr/>
            </p:nvSpPr>
            <p:spPr>
              <a:xfrm>
                <a:off x="737108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4" name="object 114"/>
              <p:cNvSpPr/>
              <p:nvPr/>
            </p:nvSpPr>
            <p:spPr>
              <a:xfrm>
                <a:off x="791374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5" name="object 115"/>
              <p:cNvSpPr/>
              <p:nvPr/>
            </p:nvSpPr>
            <p:spPr>
              <a:xfrm>
                <a:off x="845640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6" name="object 116"/>
              <p:cNvSpPr/>
              <p:nvPr/>
            </p:nvSpPr>
            <p:spPr>
              <a:xfrm>
                <a:off x="899906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7" name="object 117"/>
              <p:cNvSpPr/>
              <p:nvPr/>
            </p:nvSpPr>
            <p:spPr>
              <a:xfrm>
                <a:off x="954173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8" name="object 118"/>
              <p:cNvSpPr/>
              <p:nvPr/>
            </p:nvSpPr>
            <p:spPr>
              <a:xfrm>
                <a:off x="1605369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9" name="object 119"/>
              <p:cNvSpPr/>
              <p:nvPr/>
            </p:nvSpPr>
            <p:spPr>
              <a:xfrm>
                <a:off x="1659636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0" name="object 120"/>
              <p:cNvSpPr/>
              <p:nvPr/>
            </p:nvSpPr>
            <p:spPr>
              <a:xfrm>
                <a:off x="2310833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1" name="object 121"/>
              <p:cNvSpPr/>
              <p:nvPr/>
            </p:nvSpPr>
            <p:spPr>
              <a:xfrm>
                <a:off x="2365099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2" name="object 122"/>
              <p:cNvSpPr/>
              <p:nvPr/>
            </p:nvSpPr>
            <p:spPr>
              <a:xfrm>
                <a:off x="2419365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3" name="object 123"/>
              <p:cNvSpPr/>
              <p:nvPr/>
            </p:nvSpPr>
            <p:spPr>
              <a:xfrm>
                <a:off x="2473632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4" name="object 124"/>
              <p:cNvSpPr/>
              <p:nvPr/>
            </p:nvSpPr>
            <p:spPr>
              <a:xfrm>
                <a:off x="2527898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5" name="object 125"/>
              <p:cNvSpPr/>
              <p:nvPr/>
            </p:nvSpPr>
            <p:spPr>
              <a:xfrm>
                <a:off x="2582164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6" name="object 126"/>
              <p:cNvSpPr/>
              <p:nvPr/>
            </p:nvSpPr>
            <p:spPr>
              <a:xfrm>
                <a:off x="2636430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7" name="object 127"/>
              <p:cNvSpPr/>
              <p:nvPr/>
            </p:nvSpPr>
            <p:spPr>
              <a:xfrm>
                <a:off x="2690697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8" name="object 128"/>
              <p:cNvSpPr/>
              <p:nvPr/>
            </p:nvSpPr>
            <p:spPr>
              <a:xfrm>
                <a:off x="2744963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9" name="object 129"/>
              <p:cNvSpPr/>
              <p:nvPr/>
            </p:nvSpPr>
            <p:spPr>
              <a:xfrm>
                <a:off x="2799230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0" name="object 130"/>
              <p:cNvSpPr/>
              <p:nvPr/>
            </p:nvSpPr>
            <p:spPr>
              <a:xfrm>
                <a:off x="2853496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1" name="object 131"/>
              <p:cNvSpPr/>
              <p:nvPr/>
            </p:nvSpPr>
            <p:spPr>
              <a:xfrm>
                <a:off x="2907763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2" name="object 132"/>
              <p:cNvSpPr/>
              <p:nvPr/>
            </p:nvSpPr>
            <p:spPr>
              <a:xfrm>
                <a:off x="2962029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3" name="object 133"/>
              <p:cNvSpPr/>
              <p:nvPr/>
            </p:nvSpPr>
            <p:spPr>
              <a:xfrm>
                <a:off x="3016296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4" name="object 134"/>
              <p:cNvSpPr/>
              <p:nvPr/>
            </p:nvSpPr>
            <p:spPr>
              <a:xfrm>
                <a:off x="3070562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5" name="object 135"/>
              <p:cNvSpPr/>
              <p:nvPr/>
            </p:nvSpPr>
            <p:spPr>
              <a:xfrm>
                <a:off x="3124829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6" name="object 136"/>
              <p:cNvSpPr/>
              <p:nvPr/>
            </p:nvSpPr>
            <p:spPr>
              <a:xfrm>
                <a:off x="3179094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7" name="object 137"/>
              <p:cNvSpPr/>
              <p:nvPr/>
            </p:nvSpPr>
            <p:spPr>
              <a:xfrm>
                <a:off x="3233361" y="127019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4">
                    <a:moveTo>
                      <a:pt x="10250" y="10229"/>
                    </a:moveTo>
                    <a:lnTo>
                      <a:pt x="0" y="10229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29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38" name="object 138"/>
              <p:cNvSpPr txBox="1"/>
              <p:nvPr/>
            </p:nvSpPr>
            <p:spPr>
              <a:xfrm>
                <a:off x="510610" y="1198087"/>
                <a:ext cx="147357" cy="127297"/>
              </a:xfrm>
              <a:prstGeom prst="rect">
                <a:avLst/>
              </a:prstGeom>
            </p:spPr>
            <p:txBody>
              <a:bodyPr vert="horz" wrap="square" lIns="0" tIns="11766" rIns="0" bIns="0" rtlCol="0">
                <a:spAutoFit/>
              </a:bodyPr>
              <a:lstStyle/>
              <a:p>
                <a:pPr marL="11206">
                  <a:spcBef>
                    <a:spcPts val="93"/>
                  </a:spcBef>
                </a:pPr>
                <a:r>
                  <a:rPr sz="750" dirty="0">
                    <a:solidFill>
                      <a:srgbClr val="605D5C"/>
                    </a:solidFill>
                    <a:latin typeface="Segoe UI"/>
                    <a:cs typeface="Segoe UI"/>
                  </a:rPr>
                  <a:t>0.5</a:t>
                </a:r>
                <a:endParaRPr sz="750" dirty="0">
                  <a:latin typeface="Segoe UI"/>
                  <a:cs typeface="Segoe UI"/>
                </a:endParaRPr>
              </a:p>
            </p:txBody>
          </p:sp>
          <p:sp>
            <p:nvSpPr>
              <p:cNvPr id="139" name="object 139"/>
              <p:cNvSpPr txBox="1"/>
              <p:nvPr/>
            </p:nvSpPr>
            <p:spPr>
              <a:xfrm>
                <a:off x="1622797" y="2222166"/>
                <a:ext cx="888924" cy="151511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900" spc="40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Review</a:t>
                </a:r>
                <a:r>
                  <a:rPr sz="900" spc="-26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 </a:t>
                </a:r>
                <a:r>
                  <a:rPr sz="900" spc="35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Category</a:t>
                </a:r>
                <a:endParaRPr sz="900" dirty="0">
                  <a:latin typeface="Arial Narrow"/>
                  <a:cs typeface="Arial Narrow"/>
                </a:endParaRPr>
              </a:p>
            </p:txBody>
          </p:sp>
          <p:sp>
            <p:nvSpPr>
              <p:cNvPr id="140" name="object 140"/>
              <p:cNvSpPr txBox="1"/>
              <p:nvPr/>
            </p:nvSpPr>
            <p:spPr>
              <a:xfrm>
                <a:off x="325050" y="1198087"/>
                <a:ext cx="116570" cy="662340"/>
              </a:xfrm>
              <a:prstGeom prst="rect">
                <a:avLst/>
              </a:prstGeom>
            </p:spPr>
            <p:txBody>
              <a:bodyPr vert="vert270" wrap="square" lIns="0" tIns="0" rIns="0" bIns="0" rtlCol="0">
                <a:spAutoFit/>
              </a:bodyPr>
              <a:lstStyle/>
              <a:p>
                <a:pPr marL="11206">
                  <a:lnSpc>
                    <a:spcPts val="922"/>
                  </a:lnSpc>
                </a:pPr>
                <a:r>
                  <a:rPr sz="1050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Usefulness</a:t>
                </a:r>
                <a:endParaRPr sz="1050" dirty="0">
                  <a:latin typeface="Arial Narrow"/>
                  <a:cs typeface="Arial Narrow"/>
                </a:endParaRPr>
              </a:p>
            </p:txBody>
          </p:sp>
          <p:sp>
            <p:nvSpPr>
              <p:cNvPr id="141" name="object 141"/>
              <p:cNvSpPr txBox="1"/>
              <p:nvPr/>
            </p:nvSpPr>
            <p:spPr>
              <a:xfrm>
                <a:off x="1159837" y="1988714"/>
                <a:ext cx="279587" cy="127297"/>
              </a:xfrm>
              <a:prstGeom prst="rect">
                <a:avLst/>
              </a:prstGeom>
            </p:spPr>
            <p:txBody>
              <a:bodyPr vert="horz" wrap="square" lIns="0" tIns="11766" rIns="0" bIns="0" rtlCol="0">
                <a:spAutoFit/>
              </a:bodyPr>
              <a:lstStyle/>
              <a:p>
                <a:pPr marL="11206">
                  <a:spcBef>
                    <a:spcPts val="93"/>
                  </a:spcBef>
                </a:pPr>
                <a:r>
                  <a:rPr sz="750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Books</a:t>
                </a:r>
                <a:endParaRPr sz="750" dirty="0">
                  <a:latin typeface="Segoe UI"/>
                  <a:cs typeface="Segoe UI"/>
                </a:endParaRPr>
              </a:p>
            </p:txBody>
          </p:sp>
          <p:sp>
            <p:nvSpPr>
              <p:cNvPr id="142" name="object 142"/>
              <p:cNvSpPr txBox="1"/>
              <p:nvPr/>
            </p:nvSpPr>
            <p:spPr>
              <a:xfrm>
                <a:off x="1710032" y="1988714"/>
                <a:ext cx="585507" cy="127297"/>
              </a:xfrm>
              <a:prstGeom prst="rect">
                <a:avLst/>
              </a:prstGeom>
            </p:spPr>
            <p:txBody>
              <a:bodyPr vert="horz" wrap="square" lIns="0" tIns="11766" rIns="0" bIns="0" rtlCol="0">
                <a:spAutoFit/>
              </a:bodyPr>
              <a:lstStyle/>
              <a:p>
                <a:pPr marL="11206">
                  <a:spcBef>
                    <a:spcPts val="93"/>
                  </a:spcBef>
                </a:pPr>
                <a:r>
                  <a:rPr sz="750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Video</a:t>
                </a:r>
                <a:r>
                  <a:rPr sz="750" spc="-57" dirty="0">
                    <a:solidFill>
                      <a:srgbClr val="605D5C"/>
                    </a:solidFill>
                    <a:latin typeface="Segoe UI"/>
                    <a:cs typeface="Segoe UI"/>
                  </a:rPr>
                  <a:t> </a:t>
                </a:r>
                <a:r>
                  <a:rPr sz="750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Games</a:t>
                </a:r>
                <a:endParaRPr sz="750" dirty="0">
                  <a:latin typeface="Segoe UI"/>
                  <a:cs typeface="Segoe UI"/>
                </a:endParaRPr>
              </a:p>
            </p:txBody>
          </p:sp>
          <p:sp>
            <p:nvSpPr>
              <p:cNvPr id="143" name="object 143"/>
              <p:cNvSpPr txBox="1"/>
              <p:nvPr/>
            </p:nvSpPr>
            <p:spPr>
              <a:xfrm>
                <a:off x="2471977" y="1981336"/>
                <a:ext cx="467846" cy="260049"/>
              </a:xfrm>
              <a:prstGeom prst="rect">
                <a:avLst/>
              </a:prstGeom>
            </p:spPr>
            <p:txBody>
              <a:bodyPr vert="horz" wrap="square" lIns="0" tIns="10646" rIns="0" bIns="0" rtlCol="0">
                <a:spAutoFit/>
              </a:bodyPr>
              <a:lstStyle/>
              <a:p>
                <a:pPr marL="75644" marR="4483" indent="-64998">
                  <a:lnSpc>
                    <a:spcPct val="107500"/>
                  </a:lnSpc>
                  <a:spcBef>
                    <a:spcPts val="84"/>
                  </a:spcBef>
                </a:pPr>
                <a:r>
                  <a:rPr sz="750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Home</a:t>
                </a:r>
                <a:r>
                  <a:rPr sz="750" spc="-75" dirty="0">
                    <a:solidFill>
                      <a:srgbClr val="605D5C"/>
                    </a:solidFill>
                    <a:latin typeface="Segoe UI"/>
                    <a:cs typeface="Segoe UI"/>
                  </a:rPr>
                  <a:t> </a:t>
                </a:r>
                <a:r>
                  <a:rPr sz="750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and  </a:t>
                </a:r>
                <a:r>
                  <a:rPr sz="750" dirty="0">
                    <a:solidFill>
                      <a:srgbClr val="605D5C"/>
                    </a:solidFill>
                    <a:latin typeface="Segoe UI"/>
                    <a:cs typeface="Segoe UI"/>
                  </a:rPr>
                  <a:t>Kitchen</a:t>
                </a:r>
                <a:endParaRPr sz="750" dirty="0">
                  <a:latin typeface="Segoe UI"/>
                  <a:cs typeface="Segoe UI"/>
                </a:endParaRPr>
              </a:p>
            </p:txBody>
          </p:sp>
          <p:sp>
            <p:nvSpPr>
              <p:cNvPr id="144" name="object 144"/>
              <p:cNvSpPr txBox="1"/>
              <p:nvPr/>
            </p:nvSpPr>
            <p:spPr>
              <a:xfrm>
                <a:off x="1174055" y="1075445"/>
                <a:ext cx="221876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0.51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145" name="object 145"/>
              <p:cNvSpPr txBox="1"/>
              <p:nvPr/>
            </p:nvSpPr>
            <p:spPr>
              <a:xfrm>
                <a:off x="1877154" y="1117523"/>
                <a:ext cx="221876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0.47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146" name="object 146"/>
              <p:cNvSpPr txBox="1"/>
              <p:nvPr/>
            </p:nvSpPr>
            <p:spPr>
              <a:xfrm>
                <a:off x="2580253" y="1200011"/>
                <a:ext cx="221876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0.41</a:t>
                </a:r>
                <a:endParaRPr sz="838" dirty="0">
                  <a:latin typeface="Segoe UI"/>
                  <a:cs typeface="Segoe UI"/>
                </a:endParaRPr>
              </a:p>
            </p:txBody>
          </p:sp>
        </p:grpSp>
      </p:grpSp>
      <p:grpSp>
        <p:nvGrpSpPr>
          <p:cNvPr id="452" name="Group 451">
            <a:extLst>
              <a:ext uri="{FF2B5EF4-FFF2-40B4-BE49-F238E27FC236}">
                <a16:creationId xmlns:a16="http://schemas.microsoft.com/office/drawing/2014/main" id="{CB1068EC-6A26-4AC6-9E43-4CEF8270DC0D}"/>
              </a:ext>
            </a:extLst>
          </p:cNvPr>
          <p:cNvGrpSpPr/>
          <p:nvPr/>
        </p:nvGrpSpPr>
        <p:grpSpPr>
          <a:xfrm>
            <a:off x="3697584" y="3983155"/>
            <a:ext cx="3282753" cy="2665556"/>
            <a:chOff x="3697584" y="3983155"/>
            <a:chExt cx="3282753" cy="2665556"/>
          </a:xfrm>
        </p:grpSpPr>
        <p:sp>
          <p:nvSpPr>
            <p:cNvPr id="147" name="object 147"/>
            <p:cNvSpPr txBox="1"/>
            <p:nvPr/>
          </p:nvSpPr>
          <p:spPr>
            <a:xfrm>
              <a:off x="4899172" y="3983155"/>
              <a:ext cx="1122921" cy="210805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11206">
                <a:spcBef>
                  <a:spcPts val="84"/>
                </a:spcBef>
              </a:pPr>
              <a:r>
                <a:rPr sz="1300" b="1" spc="40" dirty="0">
                  <a:solidFill>
                    <a:srgbClr val="252423"/>
                  </a:solidFill>
                  <a:latin typeface="Arial Narrow"/>
                  <a:cs typeface="Arial Narrow"/>
                </a:rPr>
                <a:t>Word</a:t>
              </a:r>
              <a:r>
                <a:rPr sz="1300" b="1" spc="-62" dirty="0">
                  <a:solidFill>
                    <a:srgbClr val="252423"/>
                  </a:solidFill>
                  <a:latin typeface="Arial Narrow"/>
                  <a:cs typeface="Arial Narrow"/>
                </a:rPr>
                <a:t> </a:t>
              </a:r>
              <a:r>
                <a:rPr sz="1300" b="1" spc="35" dirty="0">
                  <a:solidFill>
                    <a:srgbClr val="252423"/>
                  </a:solidFill>
                  <a:latin typeface="Arial Narrow"/>
                  <a:cs typeface="Arial Narrow"/>
                </a:rPr>
                <a:t>Count</a:t>
              </a:r>
              <a:endParaRPr sz="1300" b="1" dirty="0">
                <a:latin typeface="Arial Narrow"/>
                <a:cs typeface="Arial Narrow"/>
              </a:endParaRPr>
            </a:p>
          </p:txBody>
        </p:sp>
        <p:grpSp>
          <p:nvGrpSpPr>
            <p:cNvPr id="449" name="Group 448">
              <a:extLst>
                <a:ext uri="{FF2B5EF4-FFF2-40B4-BE49-F238E27FC236}">
                  <a16:creationId xmlns:a16="http://schemas.microsoft.com/office/drawing/2014/main" id="{F610F7A5-86A2-4E9D-AE91-DD20D2B326EA}"/>
                </a:ext>
              </a:extLst>
            </p:cNvPr>
            <p:cNvGrpSpPr/>
            <p:nvPr/>
          </p:nvGrpSpPr>
          <p:grpSpPr>
            <a:xfrm>
              <a:off x="3697584" y="4283783"/>
              <a:ext cx="3282753" cy="2364928"/>
              <a:chOff x="3484415" y="4281484"/>
              <a:chExt cx="3282753" cy="2364928"/>
            </a:xfrm>
          </p:grpSpPr>
          <p:sp>
            <p:nvSpPr>
              <p:cNvPr id="148" name="object 148"/>
              <p:cNvSpPr/>
              <p:nvPr/>
            </p:nvSpPr>
            <p:spPr>
              <a:xfrm>
                <a:off x="3935832" y="6087176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49" name="object 149"/>
              <p:cNvSpPr/>
              <p:nvPr/>
            </p:nvSpPr>
            <p:spPr>
              <a:xfrm>
                <a:off x="3990108" y="6087176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50" name="object 150"/>
              <p:cNvSpPr/>
              <p:nvPr/>
            </p:nvSpPr>
            <p:spPr>
              <a:xfrm>
                <a:off x="4044384" y="6087176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51" name="object 151"/>
              <p:cNvSpPr/>
              <p:nvPr/>
            </p:nvSpPr>
            <p:spPr>
              <a:xfrm>
                <a:off x="4098661" y="6087176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52" name="object 152"/>
              <p:cNvSpPr/>
              <p:nvPr/>
            </p:nvSpPr>
            <p:spPr>
              <a:xfrm>
                <a:off x="4152937" y="6087176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grpSp>
            <p:nvGrpSpPr>
              <p:cNvPr id="153" name="object 153"/>
              <p:cNvGrpSpPr/>
              <p:nvPr/>
            </p:nvGrpSpPr>
            <p:grpSpPr>
              <a:xfrm>
                <a:off x="4207214" y="4509205"/>
                <a:ext cx="660587" cy="1596277"/>
                <a:chOff x="4412575" y="5110432"/>
                <a:chExt cx="748665" cy="1809114"/>
              </a:xfrm>
            </p:grpSpPr>
            <p:sp>
              <p:nvSpPr>
                <p:cNvPr id="154" name="object 154"/>
                <p:cNvSpPr/>
                <p:nvPr/>
              </p:nvSpPr>
              <p:spPr>
                <a:xfrm>
                  <a:off x="4412564" y="5264188"/>
                  <a:ext cx="748665" cy="16554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8664" h="1655445">
                      <a:moveTo>
                        <a:pt x="10261" y="1634617"/>
                      </a:moveTo>
                      <a:lnTo>
                        <a:pt x="0" y="1634617"/>
                      </a:lnTo>
                      <a:lnTo>
                        <a:pt x="0" y="1655089"/>
                      </a:lnTo>
                      <a:lnTo>
                        <a:pt x="10261" y="1655089"/>
                      </a:lnTo>
                      <a:lnTo>
                        <a:pt x="10261" y="1634617"/>
                      </a:lnTo>
                      <a:close/>
                    </a:path>
                    <a:path w="748664" h="1655445">
                      <a:moveTo>
                        <a:pt x="10261" y="1089748"/>
                      </a:moveTo>
                      <a:lnTo>
                        <a:pt x="0" y="1089748"/>
                      </a:lnTo>
                      <a:lnTo>
                        <a:pt x="0" y="1110221"/>
                      </a:lnTo>
                      <a:lnTo>
                        <a:pt x="10261" y="1110221"/>
                      </a:lnTo>
                      <a:lnTo>
                        <a:pt x="10261" y="1089748"/>
                      </a:lnTo>
                      <a:close/>
                    </a:path>
                    <a:path w="748664" h="1655445">
                      <a:moveTo>
                        <a:pt x="10261" y="544880"/>
                      </a:moveTo>
                      <a:lnTo>
                        <a:pt x="0" y="544880"/>
                      </a:lnTo>
                      <a:lnTo>
                        <a:pt x="0" y="565353"/>
                      </a:lnTo>
                      <a:lnTo>
                        <a:pt x="10261" y="565353"/>
                      </a:lnTo>
                      <a:lnTo>
                        <a:pt x="10261" y="544880"/>
                      </a:lnTo>
                      <a:close/>
                    </a:path>
                    <a:path w="748664" h="1655445">
                      <a:moveTo>
                        <a:pt x="10261" y="0"/>
                      </a:moveTo>
                      <a:lnTo>
                        <a:pt x="0" y="0"/>
                      </a:lnTo>
                      <a:lnTo>
                        <a:pt x="0" y="20485"/>
                      </a:lnTo>
                      <a:lnTo>
                        <a:pt x="10261" y="20485"/>
                      </a:lnTo>
                      <a:lnTo>
                        <a:pt x="10261" y="0"/>
                      </a:lnTo>
                      <a:close/>
                    </a:path>
                    <a:path w="748664" h="1655445">
                      <a:moveTo>
                        <a:pt x="71767" y="1644853"/>
                      </a:moveTo>
                      <a:lnTo>
                        <a:pt x="61518" y="1644853"/>
                      </a:lnTo>
                      <a:lnTo>
                        <a:pt x="61518" y="1655089"/>
                      </a:lnTo>
                      <a:lnTo>
                        <a:pt x="71767" y="1655089"/>
                      </a:lnTo>
                      <a:lnTo>
                        <a:pt x="71767" y="1644853"/>
                      </a:lnTo>
                      <a:close/>
                    </a:path>
                    <a:path w="748664" h="1655445">
                      <a:moveTo>
                        <a:pt x="133286" y="1644853"/>
                      </a:moveTo>
                      <a:lnTo>
                        <a:pt x="123037" y="1644853"/>
                      </a:lnTo>
                      <a:lnTo>
                        <a:pt x="123037" y="1655089"/>
                      </a:lnTo>
                      <a:lnTo>
                        <a:pt x="133286" y="1655089"/>
                      </a:lnTo>
                      <a:lnTo>
                        <a:pt x="133286" y="1644853"/>
                      </a:lnTo>
                      <a:close/>
                    </a:path>
                    <a:path w="748664" h="1655445">
                      <a:moveTo>
                        <a:pt x="194792" y="1644853"/>
                      </a:moveTo>
                      <a:lnTo>
                        <a:pt x="184543" y="1644853"/>
                      </a:lnTo>
                      <a:lnTo>
                        <a:pt x="184543" y="1655089"/>
                      </a:lnTo>
                      <a:lnTo>
                        <a:pt x="194792" y="1655089"/>
                      </a:lnTo>
                      <a:lnTo>
                        <a:pt x="194792" y="1644853"/>
                      </a:lnTo>
                      <a:close/>
                    </a:path>
                    <a:path w="748664" h="1655445">
                      <a:moveTo>
                        <a:pt x="256311" y="1644853"/>
                      </a:moveTo>
                      <a:lnTo>
                        <a:pt x="246062" y="1644853"/>
                      </a:lnTo>
                      <a:lnTo>
                        <a:pt x="246062" y="1655089"/>
                      </a:lnTo>
                      <a:lnTo>
                        <a:pt x="256311" y="1655089"/>
                      </a:lnTo>
                      <a:lnTo>
                        <a:pt x="256311" y="1644853"/>
                      </a:lnTo>
                      <a:close/>
                    </a:path>
                    <a:path w="748664" h="1655445">
                      <a:moveTo>
                        <a:pt x="317817" y="1644853"/>
                      </a:moveTo>
                      <a:lnTo>
                        <a:pt x="307568" y="1644853"/>
                      </a:lnTo>
                      <a:lnTo>
                        <a:pt x="307568" y="1655089"/>
                      </a:lnTo>
                      <a:lnTo>
                        <a:pt x="317817" y="1655089"/>
                      </a:lnTo>
                      <a:lnTo>
                        <a:pt x="317817" y="1644853"/>
                      </a:lnTo>
                      <a:close/>
                    </a:path>
                    <a:path w="748664" h="1655445">
                      <a:moveTo>
                        <a:pt x="379336" y="1644853"/>
                      </a:moveTo>
                      <a:lnTo>
                        <a:pt x="369087" y="1644853"/>
                      </a:lnTo>
                      <a:lnTo>
                        <a:pt x="369087" y="1655089"/>
                      </a:lnTo>
                      <a:lnTo>
                        <a:pt x="379336" y="1655089"/>
                      </a:lnTo>
                      <a:lnTo>
                        <a:pt x="379336" y="1644853"/>
                      </a:lnTo>
                      <a:close/>
                    </a:path>
                    <a:path w="748664" h="1655445">
                      <a:moveTo>
                        <a:pt x="440855" y="1644853"/>
                      </a:moveTo>
                      <a:lnTo>
                        <a:pt x="430593" y="1644853"/>
                      </a:lnTo>
                      <a:lnTo>
                        <a:pt x="430593" y="1655089"/>
                      </a:lnTo>
                      <a:lnTo>
                        <a:pt x="440855" y="1655089"/>
                      </a:lnTo>
                      <a:lnTo>
                        <a:pt x="440855" y="1644853"/>
                      </a:lnTo>
                      <a:close/>
                    </a:path>
                    <a:path w="748664" h="1655445">
                      <a:moveTo>
                        <a:pt x="502361" y="1644853"/>
                      </a:moveTo>
                      <a:lnTo>
                        <a:pt x="492112" y="1644853"/>
                      </a:lnTo>
                      <a:lnTo>
                        <a:pt x="492112" y="1655089"/>
                      </a:lnTo>
                      <a:lnTo>
                        <a:pt x="502361" y="1655089"/>
                      </a:lnTo>
                      <a:lnTo>
                        <a:pt x="502361" y="1644853"/>
                      </a:lnTo>
                      <a:close/>
                    </a:path>
                    <a:path w="748664" h="1655445">
                      <a:moveTo>
                        <a:pt x="563880" y="1644853"/>
                      </a:moveTo>
                      <a:lnTo>
                        <a:pt x="553618" y="1644853"/>
                      </a:lnTo>
                      <a:lnTo>
                        <a:pt x="553618" y="1655089"/>
                      </a:lnTo>
                      <a:lnTo>
                        <a:pt x="563880" y="1655089"/>
                      </a:lnTo>
                      <a:lnTo>
                        <a:pt x="563880" y="1644853"/>
                      </a:lnTo>
                      <a:close/>
                    </a:path>
                    <a:path w="748664" h="1655445">
                      <a:moveTo>
                        <a:pt x="625386" y="1644853"/>
                      </a:moveTo>
                      <a:lnTo>
                        <a:pt x="615137" y="1644853"/>
                      </a:lnTo>
                      <a:lnTo>
                        <a:pt x="615137" y="1655089"/>
                      </a:lnTo>
                      <a:lnTo>
                        <a:pt x="625386" y="1655089"/>
                      </a:lnTo>
                      <a:lnTo>
                        <a:pt x="625386" y="1644853"/>
                      </a:lnTo>
                      <a:close/>
                    </a:path>
                    <a:path w="748664" h="1655445">
                      <a:moveTo>
                        <a:pt x="686904" y="1644853"/>
                      </a:moveTo>
                      <a:lnTo>
                        <a:pt x="676656" y="1644853"/>
                      </a:lnTo>
                      <a:lnTo>
                        <a:pt x="676656" y="1655089"/>
                      </a:lnTo>
                      <a:lnTo>
                        <a:pt x="686904" y="1655089"/>
                      </a:lnTo>
                      <a:lnTo>
                        <a:pt x="686904" y="1644853"/>
                      </a:lnTo>
                      <a:close/>
                    </a:path>
                    <a:path w="748664" h="1655445">
                      <a:moveTo>
                        <a:pt x="748411" y="1634617"/>
                      </a:moveTo>
                      <a:lnTo>
                        <a:pt x="738162" y="1634617"/>
                      </a:lnTo>
                      <a:lnTo>
                        <a:pt x="738162" y="1655089"/>
                      </a:lnTo>
                      <a:lnTo>
                        <a:pt x="748411" y="1655089"/>
                      </a:lnTo>
                      <a:lnTo>
                        <a:pt x="748411" y="1634617"/>
                      </a:lnTo>
                      <a:close/>
                    </a:path>
                    <a:path w="748664" h="1655445">
                      <a:moveTo>
                        <a:pt x="748411" y="1089748"/>
                      </a:moveTo>
                      <a:lnTo>
                        <a:pt x="738162" y="1089748"/>
                      </a:lnTo>
                      <a:lnTo>
                        <a:pt x="738162" y="1110221"/>
                      </a:lnTo>
                      <a:lnTo>
                        <a:pt x="748411" y="1110221"/>
                      </a:lnTo>
                      <a:lnTo>
                        <a:pt x="748411" y="1089748"/>
                      </a:lnTo>
                      <a:close/>
                    </a:path>
                    <a:path w="748664" h="1655445">
                      <a:moveTo>
                        <a:pt x="748411" y="544880"/>
                      </a:moveTo>
                      <a:lnTo>
                        <a:pt x="738162" y="544880"/>
                      </a:lnTo>
                      <a:lnTo>
                        <a:pt x="738162" y="565353"/>
                      </a:lnTo>
                      <a:lnTo>
                        <a:pt x="748411" y="565353"/>
                      </a:lnTo>
                      <a:lnTo>
                        <a:pt x="748411" y="544880"/>
                      </a:lnTo>
                      <a:close/>
                    </a:path>
                    <a:path w="748664" h="1655445">
                      <a:moveTo>
                        <a:pt x="748411" y="0"/>
                      </a:moveTo>
                      <a:lnTo>
                        <a:pt x="738162" y="0"/>
                      </a:lnTo>
                      <a:lnTo>
                        <a:pt x="738162" y="20485"/>
                      </a:lnTo>
                      <a:lnTo>
                        <a:pt x="748411" y="20485"/>
                      </a:lnTo>
                      <a:lnTo>
                        <a:pt x="748411" y="0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155" name="object 155"/>
                <p:cNvSpPr/>
                <p:nvPr/>
              </p:nvSpPr>
              <p:spPr>
                <a:xfrm>
                  <a:off x="4461490" y="5110432"/>
                  <a:ext cx="675640" cy="1798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5639" h="1798954">
                      <a:moveTo>
                        <a:pt x="675438" y="1798603"/>
                      </a:moveTo>
                      <a:lnTo>
                        <a:pt x="0" y="1798603"/>
                      </a:lnTo>
                      <a:lnTo>
                        <a:pt x="0" y="0"/>
                      </a:lnTo>
                      <a:lnTo>
                        <a:pt x="675438" y="0"/>
                      </a:lnTo>
                      <a:lnTo>
                        <a:pt x="675438" y="1798603"/>
                      </a:lnTo>
                      <a:close/>
                    </a:path>
                  </a:pathLst>
                </a:custGeom>
                <a:solidFill>
                  <a:srgbClr val="118CFF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</p:grpSp>
          <p:sp>
            <p:nvSpPr>
              <p:cNvPr id="156" name="object 156"/>
              <p:cNvSpPr/>
              <p:nvPr/>
            </p:nvSpPr>
            <p:spPr>
              <a:xfrm>
                <a:off x="4912807" y="6087176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57" name="object 157"/>
              <p:cNvSpPr/>
              <p:nvPr/>
            </p:nvSpPr>
            <p:spPr>
              <a:xfrm>
                <a:off x="4967083" y="6087176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grpSp>
            <p:nvGrpSpPr>
              <p:cNvPr id="158" name="object 158"/>
              <p:cNvGrpSpPr/>
              <p:nvPr/>
            </p:nvGrpSpPr>
            <p:grpSpPr>
              <a:xfrm>
                <a:off x="5021359" y="4955994"/>
                <a:ext cx="611841" cy="1149724"/>
                <a:chOff x="5335273" y="5616793"/>
                <a:chExt cx="693420" cy="1303020"/>
              </a:xfrm>
            </p:grpSpPr>
            <p:sp>
              <p:nvSpPr>
                <p:cNvPr id="159" name="object 159"/>
                <p:cNvSpPr/>
                <p:nvPr/>
              </p:nvSpPr>
              <p:spPr>
                <a:xfrm>
                  <a:off x="5335270" y="5809068"/>
                  <a:ext cx="687070" cy="11106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7070" h="1110615">
                      <a:moveTo>
                        <a:pt x="10248" y="1089736"/>
                      </a:moveTo>
                      <a:lnTo>
                        <a:pt x="0" y="1089736"/>
                      </a:lnTo>
                      <a:lnTo>
                        <a:pt x="0" y="1110208"/>
                      </a:lnTo>
                      <a:lnTo>
                        <a:pt x="10248" y="1110208"/>
                      </a:lnTo>
                      <a:lnTo>
                        <a:pt x="10248" y="1089736"/>
                      </a:lnTo>
                      <a:close/>
                    </a:path>
                    <a:path w="687070" h="1110615">
                      <a:moveTo>
                        <a:pt x="10248" y="544868"/>
                      </a:moveTo>
                      <a:lnTo>
                        <a:pt x="0" y="544868"/>
                      </a:lnTo>
                      <a:lnTo>
                        <a:pt x="0" y="565340"/>
                      </a:lnTo>
                      <a:lnTo>
                        <a:pt x="10248" y="565340"/>
                      </a:lnTo>
                      <a:lnTo>
                        <a:pt x="10248" y="544868"/>
                      </a:lnTo>
                      <a:close/>
                    </a:path>
                    <a:path w="687070" h="1110615">
                      <a:moveTo>
                        <a:pt x="10248" y="0"/>
                      </a:moveTo>
                      <a:lnTo>
                        <a:pt x="0" y="0"/>
                      </a:lnTo>
                      <a:lnTo>
                        <a:pt x="0" y="20472"/>
                      </a:lnTo>
                      <a:lnTo>
                        <a:pt x="10248" y="20472"/>
                      </a:lnTo>
                      <a:lnTo>
                        <a:pt x="10248" y="0"/>
                      </a:lnTo>
                      <a:close/>
                    </a:path>
                    <a:path w="687070" h="1110615">
                      <a:moveTo>
                        <a:pt x="71767" y="1099972"/>
                      </a:moveTo>
                      <a:lnTo>
                        <a:pt x="61506" y="1099972"/>
                      </a:lnTo>
                      <a:lnTo>
                        <a:pt x="61506" y="1110208"/>
                      </a:lnTo>
                      <a:lnTo>
                        <a:pt x="71767" y="1110208"/>
                      </a:lnTo>
                      <a:lnTo>
                        <a:pt x="71767" y="1099972"/>
                      </a:lnTo>
                      <a:close/>
                    </a:path>
                    <a:path w="687070" h="1110615">
                      <a:moveTo>
                        <a:pt x="133273" y="1099972"/>
                      </a:moveTo>
                      <a:lnTo>
                        <a:pt x="123024" y="1099972"/>
                      </a:lnTo>
                      <a:lnTo>
                        <a:pt x="123024" y="1110208"/>
                      </a:lnTo>
                      <a:lnTo>
                        <a:pt x="133273" y="1110208"/>
                      </a:lnTo>
                      <a:lnTo>
                        <a:pt x="133273" y="1099972"/>
                      </a:lnTo>
                      <a:close/>
                    </a:path>
                    <a:path w="687070" h="1110615">
                      <a:moveTo>
                        <a:pt x="194792" y="1099972"/>
                      </a:moveTo>
                      <a:lnTo>
                        <a:pt x="184531" y="1099972"/>
                      </a:lnTo>
                      <a:lnTo>
                        <a:pt x="184531" y="1110208"/>
                      </a:lnTo>
                      <a:lnTo>
                        <a:pt x="194792" y="1110208"/>
                      </a:lnTo>
                      <a:lnTo>
                        <a:pt x="194792" y="1099972"/>
                      </a:lnTo>
                      <a:close/>
                    </a:path>
                    <a:path w="687070" h="1110615">
                      <a:moveTo>
                        <a:pt x="256298" y="1099972"/>
                      </a:moveTo>
                      <a:lnTo>
                        <a:pt x="246049" y="1099972"/>
                      </a:lnTo>
                      <a:lnTo>
                        <a:pt x="246049" y="1110208"/>
                      </a:lnTo>
                      <a:lnTo>
                        <a:pt x="256298" y="1110208"/>
                      </a:lnTo>
                      <a:lnTo>
                        <a:pt x="256298" y="1099972"/>
                      </a:lnTo>
                      <a:close/>
                    </a:path>
                    <a:path w="687070" h="1110615">
                      <a:moveTo>
                        <a:pt x="317817" y="1099972"/>
                      </a:moveTo>
                      <a:lnTo>
                        <a:pt x="307568" y="1099972"/>
                      </a:lnTo>
                      <a:lnTo>
                        <a:pt x="307568" y="1110208"/>
                      </a:lnTo>
                      <a:lnTo>
                        <a:pt x="317817" y="1110208"/>
                      </a:lnTo>
                      <a:lnTo>
                        <a:pt x="317817" y="1099972"/>
                      </a:lnTo>
                      <a:close/>
                    </a:path>
                    <a:path w="687070" h="1110615">
                      <a:moveTo>
                        <a:pt x="379323" y="1099972"/>
                      </a:moveTo>
                      <a:lnTo>
                        <a:pt x="369074" y="1099972"/>
                      </a:lnTo>
                      <a:lnTo>
                        <a:pt x="369074" y="1110208"/>
                      </a:lnTo>
                      <a:lnTo>
                        <a:pt x="379323" y="1110208"/>
                      </a:lnTo>
                      <a:lnTo>
                        <a:pt x="379323" y="1099972"/>
                      </a:lnTo>
                      <a:close/>
                    </a:path>
                    <a:path w="687070" h="1110615">
                      <a:moveTo>
                        <a:pt x="440842" y="1099972"/>
                      </a:moveTo>
                      <a:lnTo>
                        <a:pt x="430593" y="1099972"/>
                      </a:lnTo>
                      <a:lnTo>
                        <a:pt x="430593" y="1110208"/>
                      </a:lnTo>
                      <a:lnTo>
                        <a:pt x="440842" y="1110208"/>
                      </a:lnTo>
                      <a:lnTo>
                        <a:pt x="440842" y="1099972"/>
                      </a:lnTo>
                      <a:close/>
                    </a:path>
                    <a:path w="687070" h="1110615">
                      <a:moveTo>
                        <a:pt x="502361" y="1099972"/>
                      </a:moveTo>
                      <a:lnTo>
                        <a:pt x="492099" y="1099972"/>
                      </a:lnTo>
                      <a:lnTo>
                        <a:pt x="492099" y="1110208"/>
                      </a:lnTo>
                      <a:lnTo>
                        <a:pt x="502361" y="1110208"/>
                      </a:lnTo>
                      <a:lnTo>
                        <a:pt x="502361" y="1099972"/>
                      </a:lnTo>
                      <a:close/>
                    </a:path>
                    <a:path w="687070" h="1110615">
                      <a:moveTo>
                        <a:pt x="563867" y="1099972"/>
                      </a:moveTo>
                      <a:lnTo>
                        <a:pt x="553618" y="1099972"/>
                      </a:lnTo>
                      <a:lnTo>
                        <a:pt x="553618" y="1110208"/>
                      </a:lnTo>
                      <a:lnTo>
                        <a:pt x="563867" y="1110208"/>
                      </a:lnTo>
                      <a:lnTo>
                        <a:pt x="563867" y="1099972"/>
                      </a:lnTo>
                      <a:close/>
                    </a:path>
                    <a:path w="687070" h="1110615">
                      <a:moveTo>
                        <a:pt x="625386" y="1099972"/>
                      </a:moveTo>
                      <a:lnTo>
                        <a:pt x="615124" y="1099972"/>
                      </a:lnTo>
                      <a:lnTo>
                        <a:pt x="615124" y="1110208"/>
                      </a:lnTo>
                      <a:lnTo>
                        <a:pt x="625386" y="1110208"/>
                      </a:lnTo>
                      <a:lnTo>
                        <a:pt x="625386" y="1099972"/>
                      </a:lnTo>
                      <a:close/>
                    </a:path>
                    <a:path w="687070" h="1110615">
                      <a:moveTo>
                        <a:pt x="686892" y="1099972"/>
                      </a:moveTo>
                      <a:lnTo>
                        <a:pt x="676643" y="1099972"/>
                      </a:lnTo>
                      <a:lnTo>
                        <a:pt x="676643" y="1110208"/>
                      </a:lnTo>
                      <a:lnTo>
                        <a:pt x="686892" y="1110208"/>
                      </a:lnTo>
                      <a:lnTo>
                        <a:pt x="686892" y="1099972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160" name="object 160"/>
                <p:cNvSpPr/>
                <p:nvPr/>
              </p:nvSpPr>
              <p:spPr>
                <a:xfrm>
                  <a:off x="5352694" y="5616793"/>
                  <a:ext cx="675640" cy="12928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5639" h="1292859">
                      <a:moveTo>
                        <a:pt x="675438" y="1292242"/>
                      </a:moveTo>
                      <a:lnTo>
                        <a:pt x="0" y="1292242"/>
                      </a:lnTo>
                      <a:lnTo>
                        <a:pt x="0" y="0"/>
                      </a:lnTo>
                      <a:lnTo>
                        <a:pt x="675438" y="0"/>
                      </a:lnTo>
                      <a:lnTo>
                        <a:pt x="675438" y="1292242"/>
                      </a:lnTo>
                      <a:close/>
                    </a:path>
                  </a:pathLst>
                </a:custGeom>
                <a:solidFill>
                  <a:srgbClr val="118CFF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</p:grpSp>
          <p:sp>
            <p:nvSpPr>
              <p:cNvPr id="161" name="object 161"/>
              <p:cNvSpPr/>
              <p:nvPr/>
            </p:nvSpPr>
            <p:spPr>
              <a:xfrm>
                <a:off x="5672676" y="6087176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2" name="object 162"/>
              <p:cNvSpPr/>
              <p:nvPr/>
            </p:nvSpPr>
            <p:spPr>
              <a:xfrm>
                <a:off x="5726953" y="6087176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grpSp>
            <p:nvGrpSpPr>
              <p:cNvPr id="163" name="object 163"/>
              <p:cNvGrpSpPr/>
              <p:nvPr/>
            </p:nvGrpSpPr>
            <p:grpSpPr>
              <a:xfrm>
                <a:off x="5781229" y="5351598"/>
                <a:ext cx="660587" cy="754156"/>
                <a:chOff x="6196459" y="6065144"/>
                <a:chExt cx="748665" cy="854710"/>
              </a:xfrm>
            </p:grpSpPr>
            <p:sp>
              <p:nvSpPr>
                <p:cNvPr id="164" name="object 164"/>
                <p:cNvSpPr/>
                <p:nvPr/>
              </p:nvSpPr>
              <p:spPr>
                <a:xfrm>
                  <a:off x="6196457" y="6353936"/>
                  <a:ext cx="748665" cy="5657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8665" h="565784">
                      <a:moveTo>
                        <a:pt x="10248" y="544868"/>
                      </a:moveTo>
                      <a:lnTo>
                        <a:pt x="0" y="544868"/>
                      </a:lnTo>
                      <a:lnTo>
                        <a:pt x="0" y="565340"/>
                      </a:lnTo>
                      <a:lnTo>
                        <a:pt x="10248" y="565340"/>
                      </a:lnTo>
                      <a:lnTo>
                        <a:pt x="10248" y="544868"/>
                      </a:lnTo>
                      <a:close/>
                    </a:path>
                    <a:path w="748665" h="565784">
                      <a:moveTo>
                        <a:pt x="10248" y="0"/>
                      </a:moveTo>
                      <a:lnTo>
                        <a:pt x="0" y="0"/>
                      </a:lnTo>
                      <a:lnTo>
                        <a:pt x="0" y="20472"/>
                      </a:lnTo>
                      <a:lnTo>
                        <a:pt x="10248" y="20472"/>
                      </a:lnTo>
                      <a:lnTo>
                        <a:pt x="10248" y="0"/>
                      </a:lnTo>
                      <a:close/>
                    </a:path>
                    <a:path w="748665" h="565784">
                      <a:moveTo>
                        <a:pt x="71767" y="555104"/>
                      </a:moveTo>
                      <a:lnTo>
                        <a:pt x="61506" y="555104"/>
                      </a:lnTo>
                      <a:lnTo>
                        <a:pt x="61506" y="565340"/>
                      </a:lnTo>
                      <a:lnTo>
                        <a:pt x="71767" y="565340"/>
                      </a:lnTo>
                      <a:lnTo>
                        <a:pt x="71767" y="555104"/>
                      </a:lnTo>
                      <a:close/>
                    </a:path>
                    <a:path w="748665" h="565784">
                      <a:moveTo>
                        <a:pt x="133273" y="555104"/>
                      </a:moveTo>
                      <a:lnTo>
                        <a:pt x="123024" y="555104"/>
                      </a:lnTo>
                      <a:lnTo>
                        <a:pt x="123024" y="565340"/>
                      </a:lnTo>
                      <a:lnTo>
                        <a:pt x="133273" y="565340"/>
                      </a:lnTo>
                      <a:lnTo>
                        <a:pt x="133273" y="555104"/>
                      </a:lnTo>
                      <a:close/>
                    </a:path>
                    <a:path w="748665" h="565784">
                      <a:moveTo>
                        <a:pt x="194792" y="555104"/>
                      </a:moveTo>
                      <a:lnTo>
                        <a:pt x="184531" y="555104"/>
                      </a:lnTo>
                      <a:lnTo>
                        <a:pt x="184531" y="565340"/>
                      </a:lnTo>
                      <a:lnTo>
                        <a:pt x="194792" y="565340"/>
                      </a:lnTo>
                      <a:lnTo>
                        <a:pt x="194792" y="555104"/>
                      </a:lnTo>
                      <a:close/>
                    </a:path>
                    <a:path w="748665" h="565784">
                      <a:moveTo>
                        <a:pt x="256298" y="555104"/>
                      </a:moveTo>
                      <a:lnTo>
                        <a:pt x="246049" y="555104"/>
                      </a:lnTo>
                      <a:lnTo>
                        <a:pt x="246049" y="565340"/>
                      </a:lnTo>
                      <a:lnTo>
                        <a:pt x="256298" y="565340"/>
                      </a:lnTo>
                      <a:lnTo>
                        <a:pt x="256298" y="555104"/>
                      </a:lnTo>
                      <a:close/>
                    </a:path>
                    <a:path w="748665" h="565784">
                      <a:moveTo>
                        <a:pt x="317817" y="555104"/>
                      </a:moveTo>
                      <a:lnTo>
                        <a:pt x="307555" y="555104"/>
                      </a:lnTo>
                      <a:lnTo>
                        <a:pt x="307555" y="565340"/>
                      </a:lnTo>
                      <a:lnTo>
                        <a:pt x="317817" y="565340"/>
                      </a:lnTo>
                      <a:lnTo>
                        <a:pt x="317817" y="555104"/>
                      </a:lnTo>
                      <a:close/>
                    </a:path>
                    <a:path w="748665" h="565784">
                      <a:moveTo>
                        <a:pt x="379323" y="555104"/>
                      </a:moveTo>
                      <a:lnTo>
                        <a:pt x="369074" y="555104"/>
                      </a:lnTo>
                      <a:lnTo>
                        <a:pt x="369074" y="565340"/>
                      </a:lnTo>
                      <a:lnTo>
                        <a:pt x="379323" y="565340"/>
                      </a:lnTo>
                      <a:lnTo>
                        <a:pt x="379323" y="555104"/>
                      </a:lnTo>
                      <a:close/>
                    </a:path>
                    <a:path w="748665" h="565784">
                      <a:moveTo>
                        <a:pt x="440842" y="555104"/>
                      </a:moveTo>
                      <a:lnTo>
                        <a:pt x="430593" y="555104"/>
                      </a:lnTo>
                      <a:lnTo>
                        <a:pt x="430593" y="565340"/>
                      </a:lnTo>
                      <a:lnTo>
                        <a:pt x="440842" y="565340"/>
                      </a:lnTo>
                      <a:lnTo>
                        <a:pt x="440842" y="555104"/>
                      </a:lnTo>
                      <a:close/>
                    </a:path>
                    <a:path w="748665" h="565784">
                      <a:moveTo>
                        <a:pt x="502348" y="555104"/>
                      </a:moveTo>
                      <a:lnTo>
                        <a:pt x="492099" y="555104"/>
                      </a:lnTo>
                      <a:lnTo>
                        <a:pt x="492099" y="565340"/>
                      </a:lnTo>
                      <a:lnTo>
                        <a:pt x="502348" y="565340"/>
                      </a:lnTo>
                      <a:lnTo>
                        <a:pt x="502348" y="555104"/>
                      </a:lnTo>
                      <a:close/>
                    </a:path>
                    <a:path w="748665" h="565784">
                      <a:moveTo>
                        <a:pt x="563867" y="555104"/>
                      </a:moveTo>
                      <a:lnTo>
                        <a:pt x="553618" y="555104"/>
                      </a:lnTo>
                      <a:lnTo>
                        <a:pt x="553618" y="565340"/>
                      </a:lnTo>
                      <a:lnTo>
                        <a:pt x="563867" y="565340"/>
                      </a:lnTo>
                      <a:lnTo>
                        <a:pt x="563867" y="555104"/>
                      </a:lnTo>
                      <a:close/>
                    </a:path>
                    <a:path w="748665" h="565784">
                      <a:moveTo>
                        <a:pt x="625386" y="555104"/>
                      </a:moveTo>
                      <a:lnTo>
                        <a:pt x="615124" y="555104"/>
                      </a:lnTo>
                      <a:lnTo>
                        <a:pt x="615124" y="565340"/>
                      </a:lnTo>
                      <a:lnTo>
                        <a:pt x="625386" y="565340"/>
                      </a:lnTo>
                      <a:lnTo>
                        <a:pt x="625386" y="555104"/>
                      </a:lnTo>
                      <a:close/>
                    </a:path>
                    <a:path w="748665" h="565784">
                      <a:moveTo>
                        <a:pt x="686892" y="555104"/>
                      </a:moveTo>
                      <a:lnTo>
                        <a:pt x="676643" y="555104"/>
                      </a:lnTo>
                      <a:lnTo>
                        <a:pt x="676643" y="565340"/>
                      </a:lnTo>
                      <a:lnTo>
                        <a:pt x="686892" y="565340"/>
                      </a:lnTo>
                      <a:lnTo>
                        <a:pt x="686892" y="555104"/>
                      </a:lnTo>
                      <a:close/>
                    </a:path>
                    <a:path w="748665" h="565784">
                      <a:moveTo>
                        <a:pt x="748411" y="544868"/>
                      </a:moveTo>
                      <a:lnTo>
                        <a:pt x="738149" y="544868"/>
                      </a:lnTo>
                      <a:lnTo>
                        <a:pt x="738149" y="565340"/>
                      </a:lnTo>
                      <a:lnTo>
                        <a:pt x="748411" y="565340"/>
                      </a:lnTo>
                      <a:lnTo>
                        <a:pt x="748411" y="544868"/>
                      </a:lnTo>
                      <a:close/>
                    </a:path>
                    <a:path w="748665" h="565784">
                      <a:moveTo>
                        <a:pt x="748411" y="0"/>
                      </a:moveTo>
                      <a:lnTo>
                        <a:pt x="738149" y="0"/>
                      </a:lnTo>
                      <a:lnTo>
                        <a:pt x="738149" y="20472"/>
                      </a:lnTo>
                      <a:lnTo>
                        <a:pt x="748411" y="20472"/>
                      </a:lnTo>
                      <a:lnTo>
                        <a:pt x="748411" y="0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165" name="object 165"/>
                <p:cNvSpPr/>
                <p:nvPr/>
              </p:nvSpPr>
              <p:spPr>
                <a:xfrm>
                  <a:off x="6243898" y="6065144"/>
                  <a:ext cx="675640" cy="843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5640" h="843915">
                      <a:moveTo>
                        <a:pt x="675438" y="843891"/>
                      </a:moveTo>
                      <a:lnTo>
                        <a:pt x="0" y="843891"/>
                      </a:lnTo>
                      <a:lnTo>
                        <a:pt x="0" y="0"/>
                      </a:lnTo>
                      <a:lnTo>
                        <a:pt x="675438" y="0"/>
                      </a:lnTo>
                      <a:lnTo>
                        <a:pt x="675438" y="843891"/>
                      </a:lnTo>
                      <a:close/>
                    </a:path>
                  </a:pathLst>
                </a:custGeom>
                <a:solidFill>
                  <a:srgbClr val="118CFF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</p:grpSp>
          <p:sp>
            <p:nvSpPr>
              <p:cNvPr id="166" name="object 166"/>
              <p:cNvSpPr/>
              <p:nvPr/>
            </p:nvSpPr>
            <p:spPr>
              <a:xfrm>
                <a:off x="6486822" y="6087176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7" name="object 167"/>
              <p:cNvSpPr/>
              <p:nvPr/>
            </p:nvSpPr>
            <p:spPr>
              <a:xfrm>
                <a:off x="6541098" y="6087176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8" name="object 168"/>
              <p:cNvSpPr/>
              <p:nvPr/>
            </p:nvSpPr>
            <p:spPr>
              <a:xfrm>
                <a:off x="6595374" y="6087176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9" name="object 169"/>
              <p:cNvSpPr/>
              <p:nvPr/>
            </p:nvSpPr>
            <p:spPr>
              <a:xfrm>
                <a:off x="6649651" y="6087176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0" name="object 170"/>
              <p:cNvSpPr/>
              <p:nvPr/>
            </p:nvSpPr>
            <p:spPr>
              <a:xfrm>
                <a:off x="6703928" y="6087176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1" name="object 171"/>
              <p:cNvSpPr/>
              <p:nvPr/>
            </p:nvSpPr>
            <p:spPr>
              <a:xfrm>
                <a:off x="6758203" y="6087176"/>
                <a:ext cx="896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159" h="20954">
                    <a:moveTo>
                      <a:pt x="9644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9644" y="0"/>
                    </a:lnTo>
                    <a:lnTo>
                      <a:pt x="9644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2" name="object 172"/>
              <p:cNvSpPr txBox="1"/>
              <p:nvPr/>
            </p:nvSpPr>
            <p:spPr>
              <a:xfrm>
                <a:off x="3775649" y="6011295"/>
                <a:ext cx="81243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0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173" name="object 173"/>
              <p:cNvSpPr/>
              <p:nvPr/>
            </p:nvSpPr>
            <p:spPr>
              <a:xfrm>
                <a:off x="3935832" y="5606407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4" name="object 174"/>
              <p:cNvSpPr/>
              <p:nvPr/>
            </p:nvSpPr>
            <p:spPr>
              <a:xfrm>
                <a:off x="3990108" y="5606407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5" name="object 175"/>
              <p:cNvSpPr/>
              <p:nvPr/>
            </p:nvSpPr>
            <p:spPr>
              <a:xfrm>
                <a:off x="4044384" y="5606407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6" name="object 176"/>
              <p:cNvSpPr/>
              <p:nvPr/>
            </p:nvSpPr>
            <p:spPr>
              <a:xfrm>
                <a:off x="4098661" y="5606407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7" name="object 177"/>
              <p:cNvSpPr/>
              <p:nvPr/>
            </p:nvSpPr>
            <p:spPr>
              <a:xfrm>
                <a:off x="4152937" y="5606407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8" name="object 178"/>
              <p:cNvSpPr/>
              <p:nvPr/>
            </p:nvSpPr>
            <p:spPr>
              <a:xfrm>
                <a:off x="4912807" y="5606407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9" name="object 179"/>
              <p:cNvSpPr/>
              <p:nvPr/>
            </p:nvSpPr>
            <p:spPr>
              <a:xfrm>
                <a:off x="4967083" y="5606407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0" name="object 180"/>
              <p:cNvSpPr/>
              <p:nvPr/>
            </p:nvSpPr>
            <p:spPr>
              <a:xfrm>
                <a:off x="5672676" y="5606407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1" name="object 181"/>
              <p:cNvSpPr/>
              <p:nvPr/>
            </p:nvSpPr>
            <p:spPr>
              <a:xfrm>
                <a:off x="5726953" y="5606407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2" name="object 182"/>
              <p:cNvSpPr/>
              <p:nvPr/>
            </p:nvSpPr>
            <p:spPr>
              <a:xfrm>
                <a:off x="6486822" y="5606407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3" name="object 183"/>
              <p:cNvSpPr/>
              <p:nvPr/>
            </p:nvSpPr>
            <p:spPr>
              <a:xfrm>
                <a:off x="6541098" y="5606407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4" name="object 184"/>
              <p:cNvSpPr/>
              <p:nvPr/>
            </p:nvSpPr>
            <p:spPr>
              <a:xfrm>
                <a:off x="6595374" y="5606407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5" name="object 185"/>
              <p:cNvSpPr/>
              <p:nvPr/>
            </p:nvSpPr>
            <p:spPr>
              <a:xfrm>
                <a:off x="6649651" y="5606407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6" name="object 186"/>
              <p:cNvSpPr/>
              <p:nvPr/>
            </p:nvSpPr>
            <p:spPr>
              <a:xfrm>
                <a:off x="6703928" y="5606407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7" name="object 187"/>
              <p:cNvSpPr/>
              <p:nvPr/>
            </p:nvSpPr>
            <p:spPr>
              <a:xfrm>
                <a:off x="6758203" y="5606407"/>
                <a:ext cx="896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159" h="20954">
                    <a:moveTo>
                      <a:pt x="9644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9644" y="0"/>
                    </a:lnTo>
                    <a:lnTo>
                      <a:pt x="9644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8" name="object 188"/>
              <p:cNvSpPr txBox="1"/>
              <p:nvPr/>
            </p:nvSpPr>
            <p:spPr>
              <a:xfrm>
                <a:off x="3658615" y="5530529"/>
                <a:ext cx="198344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100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189" name="object 189"/>
              <p:cNvSpPr/>
              <p:nvPr/>
            </p:nvSpPr>
            <p:spPr>
              <a:xfrm>
                <a:off x="3935832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0" name="object 190"/>
              <p:cNvSpPr/>
              <p:nvPr/>
            </p:nvSpPr>
            <p:spPr>
              <a:xfrm>
                <a:off x="3990108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1" name="object 191"/>
              <p:cNvSpPr/>
              <p:nvPr/>
            </p:nvSpPr>
            <p:spPr>
              <a:xfrm>
                <a:off x="4044384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2" name="object 192"/>
              <p:cNvSpPr/>
              <p:nvPr/>
            </p:nvSpPr>
            <p:spPr>
              <a:xfrm>
                <a:off x="4098661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3" name="object 193"/>
              <p:cNvSpPr/>
              <p:nvPr/>
            </p:nvSpPr>
            <p:spPr>
              <a:xfrm>
                <a:off x="4152937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4" name="object 194"/>
              <p:cNvSpPr/>
              <p:nvPr/>
            </p:nvSpPr>
            <p:spPr>
              <a:xfrm>
                <a:off x="4912807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5" name="object 195"/>
              <p:cNvSpPr/>
              <p:nvPr/>
            </p:nvSpPr>
            <p:spPr>
              <a:xfrm>
                <a:off x="4967083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6" name="object 196"/>
              <p:cNvSpPr/>
              <p:nvPr/>
            </p:nvSpPr>
            <p:spPr>
              <a:xfrm>
                <a:off x="5672676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7" name="object 197"/>
              <p:cNvSpPr/>
              <p:nvPr/>
            </p:nvSpPr>
            <p:spPr>
              <a:xfrm>
                <a:off x="5726953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8" name="object 198"/>
              <p:cNvSpPr/>
              <p:nvPr/>
            </p:nvSpPr>
            <p:spPr>
              <a:xfrm>
                <a:off x="5781229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9" name="object 199"/>
              <p:cNvSpPr/>
              <p:nvPr/>
            </p:nvSpPr>
            <p:spPr>
              <a:xfrm>
                <a:off x="5835505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0" name="object 200"/>
              <p:cNvSpPr/>
              <p:nvPr/>
            </p:nvSpPr>
            <p:spPr>
              <a:xfrm>
                <a:off x="5889781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grpSp>
            <p:nvGrpSpPr>
              <p:cNvPr id="201" name="object 201"/>
              <p:cNvGrpSpPr/>
              <p:nvPr/>
            </p:nvGrpSpPr>
            <p:grpSpPr>
              <a:xfrm>
                <a:off x="5944057" y="5123877"/>
                <a:ext cx="337297" cy="173691"/>
                <a:chOff x="6380998" y="5807060"/>
                <a:chExt cx="382270" cy="196850"/>
              </a:xfrm>
            </p:grpSpPr>
            <p:sp>
              <p:nvSpPr>
                <p:cNvPr id="202" name="object 202"/>
                <p:cNvSpPr/>
                <p:nvPr/>
              </p:nvSpPr>
              <p:spPr>
                <a:xfrm>
                  <a:off x="6380988" y="5809068"/>
                  <a:ext cx="379730" cy="20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9729" h="20954">
                      <a:moveTo>
                        <a:pt x="10261" y="0"/>
                      </a:moveTo>
                      <a:lnTo>
                        <a:pt x="0" y="0"/>
                      </a:lnTo>
                      <a:lnTo>
                        <a:pt x="0" y="20472"/>
                      </a:lnTo>
                      <a:lnTo>
                        <a:pt x="10261" y="20472"/>
                      </a:lnTo>
                      <a:lnTo>
                        <a:pt x="10261" y="0"/>
                      </a:lnTo>
                      <a:close/>
                    </a:path>
                    <a:path w="379729" h="20954">
                      <a:moveTo>
                        <a:pt x="71767" y="0"/>
                      </a:moveTo>
                      <a:lnTo>
                        <a:pt x="61518" y="0"/>
                      </a:lnTo>
                      <a:lnTo>
                        <a:pt x="61518" y="20472"/>
                      </a:lnTo>
                      <a:lnTo>
                        <a:pt x="71767" y="20472"/>
                      </a:lnTo>
                      <a:lnTo>
                        <a:pt x="71767" y="0"/>
                      </a:lnTo>
                      <a:close/>
                    </a:path>
                    <a:path w="379729" h="20954">
                      <a:moveTo>
                        <a:pt x="133286" y="0"/>
                      </a:moveTo>
                      <a:lnTo>
                        <a:pt x="123037" y="0"/>
                      </a:lnTo>
                      <a:lnTo>
                        <a:pt x="123037" y="20472"/>
                      </a:lnTo>
                      <a:lnTo>
                        <a:pt x="133286" y="20472"/>
                      </a:lnTo>
                      <a:lnTo>
                        <a:pt x="133286" y="0"/>
                      </a:lnTo>
                      <a:close/>
                    </a:path>
                    <a:path w="379729" h="20954">
                      <a:moveTo>
                        <a:pt x="194792" y="0"/>
                      </a:moveTo>
                      <a:lnTo>
                        <a:pt x="184543" y="0"/>
                      </a:lnTo>
                      <a:lnTo>
                        <a:pt x="184543" y="20472"/>
                      </a:lnTo>
                      <a:lnTo>
                        <a:pt x="194792" y="20472"/>
                      </a:lnTo>
                      <a:lnTo>
                        <a:pt x="194792" y="0"/>
                      </a:lnTo>
                      <a:close/>
                    </a:path>
                    <a:path w="379729" h="20954">
                      <a:moveTo>
                        <a:pt x="256311" y="0"/>
                      </a:moveTo>
                      <a:lnTo>
                        <a:pt x="246062" y="0"/>
                      </a:lnTo>
                      <a:lnTo>
                        <a:pt x="246062" y="20472"/>
                      </a:lnTo>
                      <a:lnTo>
                        <a:pt x="256311" y="20472"/>
                      </a:lnTo>
                      <a:lnTo>
                        <a:pt x="256311" y="0"/>
                      </a:lnTo>
                      <a:close/>
                    </a:path>
                    <a:path w="379729" h="20954">
                      <a:moveTo>
                        <a:pt x="317817" y="0"/>
                      </a:moveTo>
                      <a:lnTo>
                        <a:pt x="307568" y="0"/>
                      </a:lnTo>
                      <a:lnTo>
                        <a:pt x="307568" y="20472"/>
                      </a:lnTo>
                      <a:lnTo>
                        <a:pt x="317817" y="20472"/>
                      </a:lnTo>
                      <a:lnTo>
                        <a:pt x="317817" y="0"/>
                      </a:lnTo>
                      <a:close/>
                    </a:path>
                    <a:path w="379729" h="20954">
                      <a:moveTo>
                        <a:pt x="379336" y="0"/>
                      </a:moveTo>
                      <a:lnTo>
                        <a:pt x="369087" y="0"/>
                      </a:lnTo>
                      <a:lnTo>
                        <a:pt x="369087" y="20472"/>
                      </a:lnTo>
                      <a:lnTo>
                        <a:pt x="379336" y="20472"/>
                      </a:lnTo>
                      <a:lnTo>
                        <a:pt x="379336" y="0"/>
                      </a:lnTo>
                      <a:close/>
                    </a:path>
                  </a:pathLst>
                </a:custGeom>
                <a:solidFill>
                  <a:srgbClr val="C7C6C3"/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  <p:sp>
              <p:nvSpPr>
                <p:cNvPr id="203" name="object 203"/>
                <p:cNvSpPr/>
                <p:nvPr/>
              </p:nvSpPr>
              <p:spPr>
                <a:xfrm>
                  <a:off x="6400121" y="5807060"/>
                  <a:ext cx="363220" cy="1968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3220" h="196850">
                      <a:moveTo>
                        <a:pt x="327421" y="196662"/>
                      </a:moveTo>
                      <a:lnTo>
                        <a:pt x="35570" y="196662"/>
                      </a:lnTo>
                      <a:lnTo>
                        <a:pt x="30339" y="195622"/>
                      </a:lnTo>
                      <a:lnTo>
                        <a:pt x="1040" y="166367"/>
                      </a:lnTo>
                      <a:lnTo>
                        <a:pt x="0" y="161144"/>
                      </a:lnTo>
                      <a:lnTo>
                        <a:pt x="0" y="35517"/>
                      </a:lnTo>
                      <a:lnTo>
                        <a:pt x="30339" y="1038"/>
                      </a:lnTo>
                      <a:lnTo>
                        <a:pt x="35570" y="0"/>
                      </a:lnTo>
                      <a:lnTo>
                        <a:pt x="41009" y="0"/>
                      </a:lnTo>
                      <a:lnTo>
                        <a:pt x="327421" y="0"/>
                      </a:lnTo>
                      <a:lnTo>
                        <a:pt x="361951" y="30294"/>
                      </a:lnTo>
                      <a:lnTo>
                        <a:pt x="362991" y="35517"/>
                      </a:lnTo>
                      <a:lnTo>
                        <a:pt x="362991" y="161144"/>
                      </a:lnTo>
                      <a:lnTo>
                        <a:pt x="332652" y="195622"/>
                      </a:lnTo>
                      <a:lnTo>
                        <a:pt x="327421" y="196662"/>
                      </a:lnTo>
                      <a:close/>
                    </a:path>
                  </a:pathLst>
                </a:custGeom>
                <a:solidFill>
                  <a:srgbClr val="252423">
                    <a:alpha val="10198"/>
                  </a:srgbClr>
                </a:solidFill>
              </p:spPr>
              <p:txBody>
                <a:bodyPr wrap="square" lIns="0" tIns="0" rIns="0" bIns="0" rtlCol="0"/>
                <a:lstStyle/>
                <a:p>
                  <a:endParaRPr sz="1588" dirty="0"/>
                </a:p>
              </p:txBody>
            </p:sp>
          </p:grpSp>
          <p:sp>
            <p:nvSpPr>
              <p:cNvPr id="204" name="object 204"/>
              <p:cNvSpPr/>
              <p:nvPr/>
            </p:nvSpPr>
            <p:spPr>
              <a:xfrm>
                <a:off x="6323993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5" name="object 205"/>
              <p:cNvSpPr/>
              <p:nvPr/>
            </p:nvSpPr>
            <p:spPr>
              <a:xfrm>
                <a:off x="6378270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6" name="object 206"/>
              <p:cNvSpPr/>
              <p:nvPr/>
            </p:nvSpPr>
            <p:spPr>
              <a:xfrm>
                <a:off x="6432545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7" name="object 207"/>
              <p:cNvSpPr/>
              <p:nvPr/>
            </p:nvSpPr>
            <p:spPr>
              <a:xfrm>
                <a:off x="6486822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8" name="object 208"/>
              <p:cNvSpPr/>
              <p:nvPr/>
            </p:nvSpPr>
            <p:spPr>
              <a:xfrm>
                <a:off x="6541098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9" name="object 209"/>
              <p:cNvSpPr/>
              <p:nvPr/>
            </p:nvSpPr>
            <p:spPr>
              <a:xfrm>
                <a:off x="6595374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0" name="object 210"/>
              <p:cNvSpPr/>
              <p:nvPr/>
            </p:nvSpPr>
            <p:spPr>
              <a:xfrm>
                <a:off x="6649651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1" name="object 211"/>
              <p:cNvSpPr/>
              <p:nvPr/>
            </p:nvSpPr>
            <p:spPr>
              <a:xfrm>
                <a:off x="6703928" y="5125639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2" name="object 212"/>
              <p:cNvSpPr/>
              <p:nvPr/>
            </p:nvSpPr>
            <p:spPr>
              <a:xfrm>
                <a:off x="6758203" y="5125639"/>
                <a:ext cx="896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159" h="20954">
                    <a:moveTo>
                      <a:pt x="9644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9644" y="0"/>
                    </a:lnTo>
                    <a:lnTo>
                      <a:pt x="9644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3" name="object 213"/>
              <p:cNvSpPr txBox="1"/>
              <p:nvPr/>
            </p:nvSpPr>
            <p:spPr>
              <a:xfrm>
                <a:off x="3658615" y="5049760"/>
                <a:ext cx="198344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200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214" name="object 214"/>
              <p:cNvSpPr/>
              <p:nvPr/>
            </p:nvSpPr>
            <p:spPr>
              <a:xfrm>
                <a:off x="3935832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5" name="object 215"/>
              <p:cNvSpPr/>
              <p:nvPr/>
            </p:nvSpPr>
            <p:spPr>
              <a:xfrm>
                <a:off x="3990108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6" name="object 216"/>
              <p:cNvSpPr/>
              <p:nvPr/>
            </p:nvSpPr>
            <p:spPr>
              <a:xfrm>
                <a:off x="4044384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7" name="object 217"/>
              <p:cNvSpPr/>
              <p:nvPr/>
            </p:nvSpPr>
            <p:spPr>
              <a:xfrm>
                <a:off x="4098661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8" name="object 218"/>
              <p:cNvSpPr/>
              <p:nvPr/>
            </p:nvSpPr>
            <p:spPr>
              <a:xfrm>
                <a:off x="4152937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9" name="object 219"/>
              <p:cNvSpPr/>
              <p:nvPr/>
            </p:nvSpPr>
            <p:spPr>
              <a:xfrm>
                <a:off x="4912807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0" name="object 220"/>
              <p:cNvSpPr/>
              <p:nvPr/>
            </p:nvSpPr>
            <p:spPr>
              <a:xfrm>
                <a:off x="4967083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1" name="object 221"/>
              <p:cNvSpPr/>
              <p:nvPr/>
            </p:nvSpPr>
            <p:spPr>
              <a:xfrm>
                <a:off x="5021359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2" name="object 222"/>
              <p:cNvSpPr/>
              <p:nvPr/>
            </p:nvSpPr>
            <p:spPr>
              <a:xfrm>
                <a:off x="5075636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3" name="object 223"/>
              <p:cNvSpPr/>
              <p:nvPr/>
            </p:nvSpPr>
            <p:spPr>
              <a:xfrm>
                <a:off x="5129912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4" name="object 224"/>
              <p:cNvSpPr/>
              <p:nvPr/>
            </p:nvSpPr>
            <p:spPr>
              <a:xfrm>
                <a:off x="5184188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5" name="object 225"/>
              <p:cNvSpPr/>
              <p:nvPr/>
            </p:nvSpPr>
            <p:spPr>
              <a:xfrm>
                <a:off x="5238465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6" name="object 226"/>
              <p:cNvSpPr/>
              <p:nvPr/>
            </p:nvSpPr>
            <p:spPr>
              <a:xfrm>
                <a:off x="5292742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7" name="object 227"/>
              <p:cNvSpPr/>
              <p:nvPr/>
            </p:nvSpPr>
            <p:spPr>
              <a:xfrm>
                <a:off x="5347018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8" name="object 228"/>
              <p:cNvSpPr/>
              <p:nvPr/>
            </p:nvSpPr>
            <p:spPr>
              <a:xfrm>
                <a:off x="5401294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9" name="object 229"/>
              <p:cNvSpPr/>
              <p:nvPr/>
            </p:nvSpPr>
            <p:spPr>
              <a:xfrm>
                <a:off x="5455570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0" name="object 230"/>
              <p:cNvSpPr/>
              <p:nvPr/>
            </p:nvSpPr>
            <p:spPr>
              <a:xfrm>
                <a:off x="5509847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1" name="object 231"/>
              <p:cNvSpPr/>
              <p:nvPr/>
            </p:nvSpPr>
            <p:spPr>
              <a:xfrm>
                <a:off x="5564123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2" name="object 232"/>
              <p:cNvSpPr/>
              <p:nvPr/>
            </p:nvSpPr>
            <p:spPr>
              <a:xfrm>
                <a:off x="5618400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3" name="object 233"/>
              <p:cNvSpPr/>
              <p:nvPr/>
            </p:nvSpPr>
            <p:spPr>
              <a:xfrm>
                <a:off x="5672676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4" name="object 234"/>
              <p:cNvSpPr/>
              <p:nvPr/>
            </p:nvSpPr>
            <p:spPr>
              <a:xfrm>
                <a:off x="5726953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5" name="object 235"/>
              <p:cNvSpPr/>
              <p:nvPr/>
            </p:nvSpPr>
            <p:spPr>
              <a:xfrm>
                <a:off x="5781229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6" name="object 236"/>
              <p:cNvSpPr/>
              <p:nvPr/>
            </p:nvSpPr>
            <p:spPr>
              <a:xfrm>
                <a:off x="5835505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7" name="object 237"/>
              <p:cNvSpPr/>
              <p:nvPr/>
            </p:nvSpPr>
            <p:spPr>
              <a:xfrm>
                <a:off x="5889781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8" name="object 238"/>
              <p:cNvSpPr/>
              <p:nvPr/>
            </p:nvSpPr>
            <p:spPr>
              <a:xfrm>
                <a:off x="5944058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9" name="object 239"/>
              <p:cNvSpPr/>
              <p:nvPr/>
            </p:nvSpPr>
            <p:spPr>
              <a:xfrm>
                <a:off x="5998335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0" name="object 240"/>
              <p:cNvSpPr/>
              <p:nvPr/>
            </p:nvSpPr>
            <p:spPr>
              <a:xfrm>
                <a:off x="6052611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1" name="object 241"/>
              <p:cNvSpPr/>
              <p:nvPr/>
            </p:nvSpPr>
            <p:spPr>
              <a:xfrm>
                <a:off x="6106887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2" name="object 242"/>
              <p:cNvSpPr/>
              <p:nvPr/>
            </p:nvSpPr>
            <p:spPr>
              <a:xfrm>
                <a:off x="6161164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3" name="object 243"/>
              <p:cNvSpPr/>
              <p:nvPr/>
            </p:nvSpPr>
            <p:spPr>
              <a:xfrm>
                <a:off x="6215440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4" name="object 244"/>
              <p:cNvSpPr/>
              <p:nvPr/>
            </p:nvSpPr>
            <p:spPr>
              <a:xfrm>
                <a:off x="6269716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5" name="object 245"/>
              <p:cNvSpPr/>
              <p:nvPr/>
            </p:nvSpPr>
            <p:spPr>
              <a:xfrm>
                <a:off x="6323993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6" name="object 246"/>
              <p:cNvSpPr/>
              <p:nvPr/>
            </p:nvSpPr>
            <p:spPr>
              <a:xfrm>
                <a:off x="6378270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7" name="object 247"/>
              <p:cNvSpPr/>
              <p:nvPr/>
            </p:nvSpPr>
            <p:spPr>
              <a:xfrm>
                <a:off x="6432545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8" name="object 248"/>
              <p:cNvSpPr/>
              <p:nvPr/>
            </p:nvSpPr>
            <p:spPr>
              <a:xfrm>
                <a:off x="6486822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9" name="object 249"/>
              <p:cNvSpPr/>
              <p:nvPr/>
            </p:nvSpPr>
            <p:spPr>
              <a:xfrm>
                <a:off x="6541098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0" name="object 250"/>
              <p:cNvSpPr/>
              <p:nvPr/>
            </p:nvSpPr>
            <p:spPr>
              <a:xfrm>
                <a:off x="6595374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1" name="object 251"/>
              <p:cNvSpPr/>
              <p:nvPr/>
            </p:nvSpPr>
            <p:spPr>
              <a:xfrm>
                <a:off x="6649651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2" name="object 252"/>
              <p:cNvSpPr/>
              <p:nvPr/>
            </p:nvSpPr>
            <p:spPr>
              <a:xfrm>
                <a:off x="6703928" y="4644871"/>
                <a:ext cx="952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20954">
                    <a:moveTo>
                      <a:pt x="10252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10252" y="0"/>
                    </a:lnTo>
                    <a:lnTo>
                      <a:pt x="10252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3" name="object 253"/>
              <p:cNvSpPr/>
              <p:nvPr/>
            </p:nvSpPr>
            <p:spPr>
              <a:xfrm>
                <a:off x="6758203" y="4644871"/>
                <a:ext cx="8965" cy="18490"/>
              </a:xfrm>
              <a:custGeom>
                <a:avLst/>
                <a:gdLst/>
                <a:ahLst/>
                <a:cxnLst/>
                <a:rect l="l" t="t" r="r" b="b"/>
                <a:pathLst>
                  <a:path w="10159" h="20954">
                    <a:moveTo>
                      <a:pt x="9644" y="20473"/>
                    </a:moveTo>
                    <a:lnTo>
                      <a:pt x="0" y="20473"/>
                    </a:lnTo>
                    <a:lnTo>
                      <a:pt x="0" y="0"/>
                    </a:lnTo>
                    <a:lnTo>
                      <a:pt x="9644" y="0"/>
                    </a:lnTo>
                    <a:lnTo>
                      <a:pt x="9644" y="2047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54" name="object 254"/>
              <p:cNvSpPr txBox="1"/>
              <p:nvPr/>
            </p:nvSpPr>
            <p:spPr>
              <a:xfrm>
                <a:off x="3658615" y="4568992"/>
                <a:ext cx="198344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300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255" name="object 255"/>
              <p:cNvSpPr txBox="1"/>
              <p:nvPr/>
            </p:nvSpPr>
            <p:spPr>
              <a:xfrm>
                <a:off x="4848399" y="6460844"/>
                <a:ext cx="1006288" cy="185568"/>
              </a:xfrm>
              <a:prstGeom prst="rect">
                <a:avLst/>
              </a:prstGeom>
            </p:spPr>
            <p:txBody>
              <a:bodyPr vert="horz" wrap="square" lIns="0" tIns="15688" rIns="0" bIns="0" rtlCol="0">
                <a:spAutoFit/>
              </a:bodyPr>
              <a:lstStyle/>
              <a:p>
                <a:pPr marL="11206">
                  <a:spcBef>
                    <a:spcPts val="124"/>
                  </a:spcBef>
                </a:pPr>
                <a:r>
                  <a:rPr sz="1103" spc="62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Review</a:t>
                </a:r>
                <a:r>
                  <a:rPr sz="1103" spc="-49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 </a:t>
                </a:r>
                <a:r>
                  <a:rPr sz="1103" spc="57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Category</a:t>
                </a:r>
                <a:endParaRPr sz="1103" dirty="0">
                  <a:latin typeface="Arial Narrow"/>
                  <a:cs typeface="Arial Narrow"/>
                </a:endParaRPr>
              </a:p>
            </p:txBody>
          </p:sp>
          <p:sp>
            <p:nvSpPr>
              <p:cNvPr id="256" name="object 256"/>
              <p:cNvSpPr txBox="1"/>
              <p:nvPr/>
            </p:nvSpPr>
            <p:spPr>
              <a:xfrm>
                <a:off x="3484415" y="4405696"/>
                <a:ext cx="128240" cy="1358383"/>
              </a:xfrm>
              <a:prstGeom prst="rect">
                <a:avLst/>
              </a:prstGeom>
            </p:spPr>
            <p:txBody>
              <a:bodyPr vert="vert270" wrap="square" lIns="0" tIns="0" rIns="0" bIns="0" rtlCol="0">
                <a:spAutoFit/>
              </a:bodyPr>
              <a:lstStyle/>
              <a:p>
                <a:pPr marL="11206">
                  <a:lnSpc>
                    <a:spcPts val="1015"/>
                  </a:lnSpc>
                </a:pPr>
                <a:r>
                  <a:rPr sz="1000" spc="35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Average </a:t>
                </a:r>
                <a:r>
                  <a:rPr sz="1000" spc="40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of Word</a:t>
                </a:r>
                <a:r>
                  <a:rPr sz="1000" spc="-97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 </a:t>
                </a:r>
                <a:r>
                  <a:rPr sz="1000" spc="35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Count</a:t>
                </a:r>
                <a:endParaRPr sz="1000" dirty="0">
                  <a:latin typeface="Arial Narrow"/>
                  <a:cs typeface="Arial Narrow"/>
                </a:endParaRPr>
              </a:p>
            </p:txBody>
          </p:sp>
          <p:sp>
            <p:nvSpPr>
              <p:cNvPr id="257" name="object 257"/>
              <p:cNvSpPr txBox="1"/>
              <p:nvPr/>
            </p:nvSpPr>
            <p:spPr>
              <a:xfrm>
                <a:off x="4236824" y="6191700"/>
                <a:ext cx="656665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Video</a:t>
                </a:r>
                <a:r>
                  <a:rPr sz="838" spc="-4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 </a:t>
                </a: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Games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258" name="object 258"/>
              <p:cNvSpPr txBox="1"/>
              <p:nvPr/>
            </p:nvSpPr>
            <p:spPr>
              <a:xfrm>
                <a:off x="5195339" y="6191700"/>
                <a:ext cx="312084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Books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259" name="object 259"/>
              <p:cNvSpPr txBox="1"/>
              <p:nvPr/>
            </p:nvSpPr>
            <p:spPr>
              <a:xfrm>
                <a:off x="5875793" y="6177107"/>
                <a:ext cx="523875" cy="302112"/>
              </a:xfrm>
              <a:prstGeom prst="rect">
                <a:avLst/>
              </a:prstGeom>
            </p:spPr>
            <p:txBody>
              <a:bodyPr vert="horz" wrap="square" lIns="0" tIns="10646" rIns="0" bIns="0" rtlCol="0">
                <a:spAutoFit/>
              </a:bodyPr>
              <a:lstStyle/>
              <a:p>
                <a:pPr marL="83488" marR="4483" indent="-72842">
                  <a:lnSpc>
                    <a:spcPct val="113199"/>
                  </a:lnSpc>
                  <a:spcBef>
                    <a:spcPts val="84"/>
                  </a:spcBef>
                </a:pP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Home</a:t>
                </a:r>
                <a:r>
                  <a:rPr sz="838" spc="-71" dirty="0">
                    <a:solidFill>
                      <a:srgbClr val="605D5C"/>
                    </a:solidFill>
                    <a:latin typeface="Segoe UI"/>
                    <a:cs typeface="Segoe UI"/>
                  </a:rPr>
                  <a:t> </a:t>
                </a: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and  </a:t>
                </a:r>
                <a:r>
                  <a:rPr sz="838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Kitchen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260" name="object 260"/>
              <p:cNvSpPr/>
              <p:nvPr/>
            </p:nvSpPr>
            <p:spPr>
              <a:xfrm>
                <a:off x="4388217" y="4281484"/>
                <a:ext cx="320488" cy="173691"/>
              </a:xfrm>
              <a:custGeom>
                <a:avLst/>
                <a:gdLst/>
                <a:ahLst/>
                <a:cxnLst/>
                <a:rect l="l" t="t" r="r" b="b"/>
                <a:pathLst>
                  <a:path w="363220" h="196850">
                    <a:moveTo>
                      <a:pt x="327421" y="196662"/>
                    </a:moveTo>
                    <a:lnTo>
                      <a:pt x="35570" y="196662"/>
                    </a:lnTo>
                    <a:lnTo>
                      <a:pt x="30339" y="195623"/>
                    </a:lnTo>
                    <a:lnTo>
                      <a:pt x="1040" y="166367"/>
                    </a:lnTo>
                    <a:lnTo>
                      <a:pt x="0" y="161144"/>
                    </a:lnTo>
                    <a:lnTo>
                      <a:pt x="0" y="35517"/>
                    </a:lnTo>
                    <a:lnTo>
                      <a:pt x="30339" y="1038"/>
                    </a:lnTo>
                    <a:lnTo>
                      <a:pt x="41008" y="0"/>
                    </a:lnTo>
                    <a:lnTo>
                      <a:pt x="327421" y="0"/>
                    </a:lnTo>
                    <a:lnTo>
                      <a:pt x="361951" y="30294"/>
                    </a:lnTo>
                    <a:lnTo>
                      <a:pt x="362992" y="35517"/>
                    </a:lnTo>
                    <a:lnTo>
                      <a:pt x="362992" y="161144"/>
                    </a:lnTo>
                    <a:lnTo>
                      <a:pt x="332652" y="195623"/>
                    </a:lnTo>
                    <a:lnTo>
                      <a:pt x="327421" y="196662"/>
                    </a:lnTo>
                    <a:close/>
                  </a:path>
                </a:pathLst>
              </a:custGeom>
              <a:solidFill>
                <a:srgbClr val="252423">
                  <a:alpha val="10198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1" name="object 261"/>
              <p:cNvSpPr/>
              <p:nvPr/>
            </p:nvSpPr>
            <p:spPr>
              <a:xfrm>
                <a:off x="5174574" y="4728273"/>
                <a:ext cx="320488" cy="173691"/>
              </a:xfrm>
              <a:custGeom>
                <a:avLst/>
                <a:gdLst/>
                <a:ahLst/>
                <a:cxnLst/>
                <a:rect l="l" t="t" r="r" b="b"/>
                <a:pathLst>
                  <a:path w="363220" h="196850">
                    <a:moveTo>
                      <a:pt x="327421" y="196662"/>
                    </a:moveTo>
                    <a:lnTo>
                      <a:pt x="35570" y="196662"/>
                    </a:lnTo>
                    <a:lnTo>
                      <a:pt x="30339" y="195623"/>
                    </a:lnTo>
                    <a:lnTo>
                      <a:pt x="1040" y="166367"/>
                    </a:lnTo>
                    <a:lnTo>
                      <a:pt x="0" y="161144"/>
                    </a:lnTo>
                    <a:lnTo>
                      <a:pt x="0" y="35517"/>
                    </a:lnTo>
                    <a:lnTo>
                      <a:pt x="30339" y="1038"/>
                    </a:lnTo>
                    <a:lnTo>
                      <a:pt x="35570" y="0"/>
                    </a:lnTo>
                    <a:lnTo>
                      <a:pt x="41008" y="0"/>
                    </a:lnTo>
                    <a:lnTo>
                      <a:pt x="327421" y="0"/>
                    </a:lnTo>
                    <a:lnTo>
                      <a:pt x="361951" y="30294"/>
                    </a:lnTo>
                    <a:lnTo>
                      <a:pt x="362992" y="35517"/>
                    </a:lnTo>
                    <a:lnTo>
                      <a:pt x="362992" y="161144"/>
                    </a:lnTo>
                    <a:lnTo>
                      <a:pt x="332652" y="195623"/>
                    </a:lnTo>
                    <a:lnTo>
                      <a:pt x="327421" y="196662"/>
                    </a:lnTo>
                    <a:close/>
                  </a:path>
                </a:pathLst>
              </a:custGeom>
              <a:solidFill>
                <a:srgbClr val="252423">
                  <a:alpha val="10198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2" name="object 262"/>
              <p:cNvSpPr txBox="1"/>
              <p:nvPr/>
            </p:nvSpPr>
            <p:spPr>
              <a:xfrm>
                <a:off x="4449381" y="4299281"/>
                <a:ext cx="198344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330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263" name="object 263"/>
              <p:cNvSpPr txBox="1"/>
              <p:nvPr/>
            </p:nvSpPr>
            <p:spPr>
              <a:xfrm>
                <a:off x="5235737" y="4746070"/>
                <a:ext cx="198344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237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264" name="object 264"/>
              <p:cNvSpPr txBox="1"/>
              <p:nvPr/>
            </p:nvSpPr>
            <p:spPr>
              <a:xfrm>
                <a:off x="6022093" y="5141675"/>
                <a:ext cx="198344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155</a:t>
                </a:r>
                <a:endParaRPr sz="838" dirty="0">
                  <a:latin typeface="Segoe UI"/>
                  <a:cs typeface="Segoe UI"/>
                </a:endParaRPr>
              </a:p>
            </p:txBody>
          </p:sp>
        </p:grpSp>
      </p:grpSp>
      <p:sp>
        <p:nvSpPr>
          <p:cNvPr id="296" name="object 296"/>
          <p:cNvSpPr/>
          <p:nvPr/>
        </p:nvSpPr>
        <p:spPr>
          <a:xfrm>
            <a:off x="313766" y="247256"/>
            <a:ext cx="11435544" cy="488016"/>
          </a:xfrm>
          <a:custGeom>
            <a:avLst/>
            <a:gdLst/>
            <a:ahLst/>
            <a:cxnLst/>
            <a:rect l="l" t="t" r="r" b="b"/>
            <a:pathLst>
              <a:path w="13106400" h="553085">
                <a:moveTo>
                  <a:pt x="13106387" y="0"/>
                </a:moveTo>
                <a:lnTo>
                  <a:pt x="0" y="0"/>
                </a:lnTo>
                <a:lnTo>
                  <a:pt x="0" y="17208"/>
                </a:lnTo>
                <a:lnTo>
                  <a:pt x="0" y="552919"/>
                </a:lnTo>
                <a:lnTo>
                  <a:pt x="13106387" y="552919"/>
                </a:lnTo>
                <a:lnTo>
                  <a:pt x="13106387" y="17208"/>
                </a:lnTo>
                <a:lnTo>
                  <a:pt x="13106387" y="0"/>
                </a:lnTo>
                <a:close/>
              </a:path>
            </a:pathLst>
          </a:custGeom>
          <a:solidFill>
            <a:srgbClr val="FFB618"/>
          </a:solidFill>
          <a:ln>
            <a:solidFill>
              <a:srgbClr val="FFB618"/>
            </a:solidFill>
          </a:ln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297" name="object 297"/>
          <p:cNvSpPr txBox="1">
            <a:spLocks noGrp="1"/>
          </p:cNvSpPr>
          <p:nvPr>
            <p:ph type="title"/>
          </p:nvPr>
        </p:nvSpPr>
        <p:spPr>
          <a:xfrm>
            <a:off x="1284373" y="334686"/>
            <a:ext cx="5279862" cy="303703"/>
          </a:xfrm>
          <a:prstGeom prst="rect">
            <a:avLst/>
          </a:prstGeom>
        </p:spPr>
        <p:txBody>
          <a:bodyPr vert="horz" wrap="square" lIns="0" tIns="11206" rIns="0" bIns="0" rtlCol="0" anchor="ctr">
            <a:spAutoFit/>
          </a:bodyPr>
          <a:lstStyle/>
          <a:p>
            <a:pPr marL="11206">
              <a:lnSpc>
                <a:spcPct val="100000"/>
              </a:lnSpc>
              <a:spcBef>
                <a:spcPts val="88"/>
              </a:spcBef>
            </a:pPr>
            <a:r>
              <a:rPr lang="en-US" sz="1900" b="1" i="1" dirty="0">
                <a:latin typeface="+mn-lt"/>
              </a:rPr>
              <a:t>Reviewing Habits </a:t>
            </a:r>
            <a:r>
              <a:rPr sz="1900" b="1" i="1" dirty="0">
                <a:latin typeface="+mn-lt"/>
              </a:rPr>
              <a:t>per</a:t>
            </a:r>
            <a:r>
              <a:rPr sz="1900" b="1" i="1" spc="-110" dirty="0">
                <a:latin typeface="+mn-lt"/>
              </a:rPr>
              <a:t> </a:t>
            </a:r>
            <a:r>
              <a:rPr sz="1900" b="1" i="1" dirty="0">
                <a:latin typeface="+mn-lt"/>
              </a:rPr>
              <a:t>Category</a:t>
            </a:r>
            <a:r>
              <a:rPr lang="en-US" sz="1900" b="1" i="1" dirty="0">
                <a:latin typeface="+mn-lt"/>
              </a:rPr>
              <a:t>: Home and Kitchen </a:t>
            </a:r>
            <a:endParaRPr sz="1900" b="1" i="1" dirty="0">
              <a:latin typeface="+mn-lt"/>
            </a:endParaRPr>
          </a:p>
        </p:txBody>
      </p:sp>
      <p:grpSp>
        <p:nvGrpSpPr>
          <p:cNvPr id="448" name="Group 447">
            <a:extLst>
              <a:ext uri="{FF2B5EF4-FFF2-40B4-BE49-F238E27FC236}">
                <a16:creationId xmlns:a16="http://schemas.microsoft.com/office/drawing/2014/main" id="{959438A8-97C8-4070-9C78-1FD56297135A}"/>
              </a:ext>
            </a:extLst>
          </p:cNvPr>
          <p:cNvGrpSpPr/>
          <p:nvPr/>
        </p:nvGrpSpPr>
        <p:grpSpPr>
          <a:xfrm>
            <a:off x="3697584" y="1042486"/>
            <a:ext cx="3165715" cy="2662382"/>
            <a:chOff x="3484415" y="1040187"/>
            <a:chExt cx="3165715" cy="2662382"/>
          </a:xfrm>
        </p:grpSpPr>
        <p:sp>
          <p:nvSpPr>
            <p:cNvPr id="298" name="object 298"/>
            <p:cNvSpPr txBox="1"/>
            <p:nvPr/>
          </p:nvSpPr>
          <p:spPr>
            <a:xfrm>
              <a:off x="4624832" y="1040187"/>
              <a:ext cx="1355836" cy="210805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11206">
                <a:spcBef>
                  <a:spcPts val="84"/>
                </a:spcBef>
              </a:pPr>
              <a:r>
                <a:rPr sz="1300" b="1" spc="40" dirty="0">
                  <a:solidFill>
                    <a:srgbClr val="252423"/>
                  </a:solidFill>
                  <a:latin typeface="Arial Narrow"/>
                  <a:cs typeface="Arial Narrow"/>
                </a:rPr>
                <a:t>Sentence</a:t>
              </a:r>
              <a:r>
                <a:rPr sz="1300" b="1" spc="-66" dirty="0">
                  <a:solidFill>
                    <a:srgbClr val="252423"/>
                  </a:solidFill>
                  <a:latin typeface="Arial Narrow"/>
                  <a:cs typeface="Arial Narrow"/>
                </a:rPr>
                <a:t> </a:t>
              </a:r>
              <a:r>
                <a:rPr sz="1300" b="1" spc="35" dirty="0">
                  <a:solidFill>
                    <a:srgbClr val="252423"/>
                  </a:solidFill>
                  <a:latin typeface="Arial Narrow"/>
                  <a:cs typeface="Arial Narrow"/>
                </a:rPr>
                <a:t>Count</a:t>
              </a:r>
              <a:endParaRPr sz="1300" b="1" dirty="0">
                <a:latin typeface="Arial Narrow"/>
                <a:cs typeface="Arial Narrow"/>
              </a:endParaRPr>
            </a:p>
          </p:txBody>
        </p:sp>
        <p:sp>
          <p:nvSpPr>
            <p:cNvPr id="299" name="object 299"/>
            <p:cNvSpPr/>
            <p:nvPr/>
          </p:nvSpPr>
          <p:spPr>
            <a:xfrm>
              <a:off x="3872509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0" name="object 300"/>
            <p:cNvSpPr/>
            <p:nvPr/>
          </p:nvSpPr>
          <p:spPr>
            <a:xfrm>
              <a:off x="3926786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1" name="object 301"/>
            <p:cNvSpPr/>
            <p:nvPr/>
          </p:nvSpPr>
          <p:spPr>
            <a:xfrm>
              <a:off x="3981062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2" name="object 302"/>
            <p:cNvSpPr/>
            <p:nvPr/>
          </p:nvSpPr>
          <p:spPr>
            <a:xfrm>
              <a:off x="4035338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3" name="object 303"/>
            <p:cNvSpPr/>
            <p:nvPr/>
          </p:nvSpPr>
          <p:spPr>
            <a:xfrm>
              <a:off x="4089615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4" name="object 304"/>
            <p:cNvSpPr/>
            <p:nvPr/>
          </p:nvSpPr>
          <p:spPr>
            <a:xfrm>
              <a:off x="4143892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305" name="object 305"/>
            <p:cNvGrpSpPr/>
            <p:nvPr/>
          </p:nvGrpSpPr>
          <p:grpSpPr>
            <a:xfrm>
              <a:off x="4194087" y="1583066"/>
              <a:ext cx="610721" cy="1578349"/>
              <a:chOff x="4397699" y="1794141"/>
              <a:chExt cx="692150" cy="1788795"/>
            </a:xfrm>
          </p:grpSpPr>
          <p:sp>
            <p:nvSpPr>
              <p:cNvPr id="306" name="object 306"/>
              <p:cNvSpPr/>
              <p:nvPr/>
            </p:nvSpPr>
            <p:spPr>
              <a:xfrm>
                <a:off x="4402315" y="1904301"/>
                <a:ext cx="687070" cy="1678939"/>
              </a:xfrm>
              <a:custGeom>
                <a:avLst/>
                <a:gdLst/>
                <a:ahLst/>
                <a:cxnLst/>
                <a:rect l="l" t="t" r="r" b="b"/>
                <a:pathLst>
                  <a:path w="687070" h="1678939">
                    <a:moveTo>
                      <a:pt x="10248" y="1668386"/>
                    </a:moveTo>
                    <a:lnTo>
                      <a:pt x="0" y="1668386"/>
                    </a:lnTo>
                    <a:lnTo>
                      <a:pt x="0" y="1678622"/>
                    </a:lnTo>
                    <a:lnTo>
                      <a:pt x="10248" y="1678622"/>
                    </a:lnTo>
                    <a:lnTo>
                      <a:pt x="10248" y="1668386"/>
                    </a:lnTo>
                    <a:close/>
                  </a:path>
                  <a:path w="687070" h="1678939">
                    <a:moveTo>
                      <a:pt x="71767" y="1668386"/>
                    </a:moveTo>
                    <a:lnTo>
                      <a:pt x="61518" y="1668386"/>
                    </a:lnTo>
                    <a:lnTo>
                      <a:pt x="61518" y="1678622"/>
                    </a:lnTo>
                    <a:lnTo>
                      <a:pt x="71767" y="1678622"/>
                    </a:lnTo>
                    <a:lnTo>
                      <a:pt x="71767" y="1668386"/>
                    </a:lnTo>
                    <a:close/>
                  </a:path>
                  <a:path w="687070" h="1678939">
                    <a:moveTo>
                      <a:pt x="133286" y="1668386"/>
                    </a:moveTo>
                    <a:lnTo>
                      <a:pt x="123024" y="1668386"/>
                    </a:lnTo>
                    <a:lnTo>
                      <a:pt x="123024" y="1678622"/>
                    </a:lnTo>
                    <a:lnTo>
                      <a:pt x="133286" y="1678622"/>
                    </a:lnTo>
                    <a:lnTo>
                      <a:pt x="133286" y="1668386"/>
                    </a:lnTo>
                    <a:close/>
                  </a:path>
                  <a:path w="687070" h="1678939">
                    <a:moveTo>
                      <a:pt x="194792" y="1668386"/>
                    </a:moveTo>
                    <a:lnTo>
                      <a:pt x="184543" y="1668386"/>
                    </a:lnTo>
                    <a:lnTo>
                      <a:pt x="184543" y="1678622"/>
                    </a:lnTo>
                    <a:lnTo>
                      <a:pt x="194792" y="1678622"/>
                    </a:lnTo>
                    <a:lnTo>
                      <a:pt x="194792" y="1668386"/>
                    </a:lnTo>
                    <a:close/>
                  </a:path>
                  <a:path w="687070" h="1678939">
                    <a:moveTo>
                      <a:pt x="256311" y="1668386"/>
                    </a:moveTo>
                    <a:lnTo>
                      <a:pt x="246049" y="1668386"/>
                    </a:lnTo>
                    <a:lnTo>
                      <a:pt x="246049" y="1678622"/>
                    </a:lnTo>
                    <a:lnTo>
                      <a:pt x="256311" y="1678622"/>
                    </a:lnTo>
                    <a:lnTo>
                      <a:pt x="256311" y="1668386"/>
                    </a:lnTo>
                    <a:close/>
                  </a:path>
                  <a:path w="687070" h="1678939">
                    <a:moveTo>
                      <a:pt x="317817" y="1668386"/>
                    </a:moveTo>
                    <a:lnTo>
                      <a:pt x="307568" y="1668386"/>
                    </a:lnTo>
                    <a:lnTo>
                      <a:pt x="307568" y="1678622"/>
                    </a:lnTo>
                    <a:lnTo>
                      <a:pt x="317817" y="1678622"/>
                    </a:lnTo>
                    <a:lnTo>
                      <a:pt x="317817" y="1668386"/>
                    </a:lnTo>
                    <a:close/>
                  </a:path>
                  <a:path w="687070" h="1678939">
                    <a:moveTo>
                      <a:pt x="379336" y="1668386"/>
                    </a:moveTo>
                    <a:lnTo>
                      <a:pt x="369087" y="1668386"/>
                    </a:lnTo>
                    <a:lnTo>
                      <a:pt x="369087" y="1678622"/>
                    </a:lnTo>
                    <a:lnTo>
                      <a:pt x="379336" y="1678622"/>
                    </a:lnTo>
                    <a:lnTo>
                      <a:pt x="379336" y="1668386"/>
                    </a:lnTo>
                    <a:close/>
                  </a:path>
                  <a:path w="687070" h="1678939">
                    <a:moveTo>
                      <a:pt x="440842" y="1668386"/>
                    </a:moveTo>
                    <a:lnTo>
                      <a:pt x="430593" y="1668386"/>
                    </a:lnTo>
                    <a:lnTo>
                      <a:pt x="430593" y="1678622"/>
                    </a:lnTo>
                    <a:lnTo>
                      <a:pt x="440842" y="1678622"/>
                    </a:lnTo>
                    <a:lnTo>
                      <a:pt x="440842" y="1668386"/>
                    </a:lnTo>
                    <a:close/>
                  </a:path>
                  <a:path w="687070" h="1678939">
                    <a:moveTo>
                      <a:pt x="502361" y="1668386"/>
                    </a:moveTo>
                    <a:lnTo>
                      <a:pt x="492112" y="1668386"/>
                    </a:lnTo>
                    <a:lnTo>
                      <a:pt x="492112" y="1678622"/>
                    </a:lnTo>
                    <a:lnTo>
                      <a:pt x="502361" y="1678622"/>
                    </a:lnTo>
                    <a:lnTo>
                      <a:pt x="502361" y="1668386"/>
                    </a:lnTo>
                    <a:close/>
                  </a:path>
                  <a:path w="687070" h="1678939">
                    <a:moveTo>
                      <a:pt x="563867" y="1668386"/>
                    </a:moveTo>
                    <a:lnTo>
                      <a:pt x="553618" y="1668386"/>
                    </a:lnTo>
                    <a:lnTo>
                      <a:pt x="553618" y="1678622"/>
                    </a:lnTo>
                    <a:lnTo>
                      <a:pt x="563867" y="1678622"/>
                    </a:lnTo>
                    <a:lnTo>
                      <a:pt x="563867" y="1668386"/>
                    </a:lnTo>
                    <a:close/>
                  </a:path>
                  <a:path w="687070" h="1678939">
                    <a:moveTo>
                      <a:pt x="625386" y="1668386"/>
                    </a:moveTo>
                    <a:lnTo>
                      <a:pt x="615137" y="1668386"/>
                    </a:lnTo>
                    <a:lnTo>
                      <a:pt x="615137" y="1678622"/>
                    </a:lnTo>
                    <a:lnTo>
                      <a:pt x="625386" y="1678622"/>
                    </a:lnTo>
                    <a:lnTo>
                      <a:pt x="625386" y="1668386"/>
                    </a:lnTo>
                    <a:close/>
                  </a:path>
                  <a:path w="687070" h="1678939">
                    <a:moveTo>
                      <a:pt x="686904" y="1658150"/>
                    </a:moveTo>
                    <a:lnTo>
                      <a:pt x="676643" y="1658150"/>
                    </a:lnTo>
                    <a:lnTo>
                      <a:pt x="676643" y="1668386"/>
                    </a:lnTo>
                    <a:lnTo>
                      <a:pt x="676643" y="1678622"/>
                    </a:lnTo>
                    <a:lnTo>
                      <a:pt x="686904" y="1678622"/>
                    </a:lnTo>
                    <a:lnTo>
                      <a:pt x="686904" y="1668386"/>
                    </a:lnTo>
                    <a:lnTo>
                      <a:pt x="686904" y="1658150"/>
                    </a:lnTo>
                    <a:close/>
                  </a:path>
                  <a:path w="687070" h="1678939">
                    <a:moveTo>
                      <a:pt x="686904" y="1243609"/>
                    </a:moveTo>
                    <a:lnTo>
                      <a:pt x="685927" y="1243609"/>
                    </a:lnTo>
                    <a:lnTo>
                      <a:pt x="685927" y="1264081"/>
                    </a:lnTo>
                    <a:lnTo>
                      <a:pt x="686904" y="1264081"/>
                    </a:lnTo>
                    <a:lnTo>
                      <a:pt x="686904" y="1243609"/>
                    </a:lnTo>
                    <a:close/>
                  </a:path>
                  <a:path w="687070" h="1678939">
                    <a:moveTo>
                      <a:pt x="686904" y="829068"/>
                    </a:moveTo>
                    <a:lnTo>
                      <a:pt x="685927" y="829068"/>
                    </a:lnTo>
                    <a:lnTo>
                      <a:pt x="685927" y="849541"/>
                    </a:lnTo>
                    <a:lnTo>
                      <a:pt x="686904" y="849541"/>
                    </a:lnTo>
                    <a:lnTo>
                      <a:pt x="686904" y="829068"/>
                    </a:lnTo>
                    <a:close/>
                  </a:path>
                  <a:path w="687070" h="1678939">
                    <a:moveTo>
                      <a:pt x="686904" y="414528"/>
                    </a:moveTo>
                    <a:lnTo>
                      <a:pt x="685927" y="414528"/>
                    </a:lnTo>
                    <a:lnTo>
                      <a:pt x="685927" y="435013"/>
                    </a:lnTo>
                    <a:lnTo>
                      <a:pt x="686904" y="435013"/>
                    </a:lnTo>
                    <a:lnTo>
                      <a:pt x="686904" y="414528"/>
                    </a:lnTo>
                    <a:close/>
                  </a:path>
                  <a:path w="687070" h="1678939">
                    <a:moveTo>
                      <a:pt x="686904" y="0"/>
                    </a:moveTo>
                    <a:lnTo>
                      <a:pt x="685927" y="0"/>
                    </a:lnTo>
                    <a:lnTo>
                      <a:pt x="685927" y="20472"/>
                    </a:lnTo>
                    <a:lnTo>
                      <a:pt x="686904" y="20472"/>
                    </a:lnTo>
                    <a:lnTo>
                      <a:pt x="68690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7" name="object 307"/>
              <p:cNvSpPr/>
              <p:nvPr/>
            </p:nvSpPr>
            <p:spPr>
              <a:xfrm>
                <a:off x="4397699" y="1794141"/>
                <a:ext cx="690880" cy="1778635"/>
              </a:xfrm>
              <a:custGeom>
                <a:avLst/>
                <a:gdLst/>
                <a:ahLst/>
                <a:cxnLst/>
                <a:rect l="l" t="t" r="r" b="b"/>
                <a:pathLst>
                  <a:path w="690879" h="1778635">
                    <a:moveTo>
                      <a:pt x="690547" y="1778539"/>
                    </a:moveTo>
                    <a:lnTo>
                      <a:pt x="0" y="1778539"/>
                    </a:lnTo>
                    <a:lnTo>
                      <a:pt x="0" y="0"/>
                    </a:lnTo>
                    <a:lnTo>
                      <a:pt x="690547" y="0"/>
                    </a:lnTo>
                    <a:lnTo>
                      <a:pt x="690547" y="1778539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308" name="object 308"/>
            <p:cNvSpPr/>
            <p:nvPr/>
          </p:nvSpPr>
          <p:spPr>
            <a:xfrm>
              <a:off x="4849485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9" name="object 309"/>
            <p:cNvSpPr/>
            <p:nvPr/>
          </p:nvSpPr>
          <p:spPr>
            <a:xfrm>
              <a:off x="4903761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310" name="object 310"/>
            <p:cNvGrpSpPr/>
            <p:nvPr/>
          </p:nvGrpSpPr>
          <p:grpSpPr>
            <a:xfrm>
              <a:off x="4958037" y="1969396"/>
              <a:ext cx="660587" cy="1192306"/>
              <a:chOff x="5263508" y="2231982"/>
              <a:chExt cx="748665" cy="1351280"/>
            </a:xfrm>
          </p:grpSpPr>
          <p:sp>
            <p:nvSpPr>
              <p:cNvPr id="311" name="object 311"/>
              <p:cNvSpPr/>
              <p:nvPr/>
            </p:nvSpPr>
            <p:spPr>
              <a:xfrm>
                <a:off x="5263502" y="2318829"/>
                <a:ext cx="748665" cy="1264285"/>
              </a:xfrm>
              <a:custGeom>
                <a:avLst/>
                <a:gdLst/>
                <a:ahLst/>
                <a:cxnLst/>
                <a:rect l="l" t="t" r="r" b="b"/>
                <a:pathLst>
                  <a:path w="748664" h="1264285">
                    <a:moveTo>
                      <a:pt x="10248" y="1243622"/>
                    </a:moveTo>
                    <a:lnTo>
                      <a:pt x="0" y="1243622"/>
                    </a:lnTo>
                    <a:lnTo>
                      <a:pt x="0" y="1264094"/>
                    </a:lnTo>
                    <a:lnTo>
                      <a:pt x="10248" y="1264094"/>
                    </a:lnTo>
                    <a:lnTo>
                      <a:pt x="10248" y="1243622"/>
                    </a:lnTo>
                    <a:close/>
                  </a:path>
                  <a:path w="748664" h="1264285">
                    <a:moveTo>
                      <a:pt x="10248" y="829081"/>
                    </a:moveTo>
                    <a:lnTo>
                      <a:pt x="0" y="829081"/>
                    </a:lnTo>
                    <a:lnTo>
                      <a:pt x="0" y="849553"/>
                    </a:lnTo>
                    <a:lnTo>
                      <a:pt x="10248" y="849553"/>
                    </a:lnTo>
                    <a:lnTo>
                      <a:pt x="10248" y="829081"/>
                    </a:lnTo>
                    <a:close/>
                  </a:path>
                  <a:path w="748664" h="1264285">
                    <a:moveTo>
                      <a:pt x="10248" y="414540"/>
                    </a:moveTo>
                    <a:lnTo>
                      <a:pt x="0" y="414540"/>
                    </a:lnTo>
                    <a:lnTo>
                      <a:pt x="0" y="435013"/>
                    </a:lnTo>
                    <a:lnTo>
                      <a:pt x="10248" y="435013"/>
                    </a:lnTo>
                    <a:lnTo>
                      <a:pt x="10248" y="414540"/>
                    </a:lnTo>
                    <a:close/>
                  </a:path>
                  <a:path w="748664" h="126428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20485"/>
                    </a:lnTo>
                    <a:lnTo>
                      <a:pt x="10248" y="20485"/>
                    </a:lnTo>
                    <a:lnTo>
                      <a:pt x="10248" y="0"/>
                    </a:lnTo>
                    <a:close/>
                  </a:path>
                  <a:path w="748664" h="1264285">
                    <a:moveTo>
                      <a:pt x="71767" y="1253858"/>
                    </a:moveTo>
                    <a:lnTo>
                      <a:pt x="61518" y="1253858"/>
                    </a:lnTo>
                    <a:lnTo>
                      <a:pt x="61518" y="1264094"/>
                    </a:lnTo>
                    <a:lnTo>
                      <a:pt x="71767" y="1264094"/>
                    </a:lnTo>
                    <a:lnTo>
                      <a:pt x="71767" y="1253858"/>
                    </a:lnTo>
                    <a:close/>
                  </a:path>
                  <a:path w="748664" h="1264285">
                    <a:moveTo>
                      <a:pt x="133273" y="1253858"/>
                    </a:moveTo>
                    <a:lnTo>
                      <a:pt x="123024" y="1253858"/>
                    </a:lnTo>
                    <a:lnTo>
                      <a:pt x="123024" y="1264094"/>
                    </a:lnTo>
                    <a:lnTo>
                      <a:pt x="133273" y="1264094"/>
                    </a:lnTo>
                    <a:lnTo>
                      <a:pt x="133273" y="1253858"/>
                    </a:lnTo>
                    <a:close/>
                  </a:path>
                  <a:path w="748664" h="1264285">
                    <a:moveTo>
                      <a:pt x="194792" y="1253858"/>
                    </a:moveTo>
                    <a:lnTo>
                      <a:pt x="184543" y="1253858"/>
                    </a:lnTo>
                    <a:lnTo>
                      <a:pt x="184543" y="1264094"/>
                    </a:lnTo>
                    <a:lnTo>
                      <a:pt x="194792" y="1264094"/>
                    </a:lnTo>
                    <a:lnTo>
                      <a:pt x="194792" y="1253858"/>
                    </a:lnTo>
                    <a:close/>
                  </a:path>
                  <a:path w="748664" h="1264285">
                    <a:moveTo>
                      <a:pt x="256311" y="1253858"/>
                    </a:moveTo>
                    <a:lnTo>
                      <a:pt x="246049" y="1253858"/>
                    </a:lnTo>
                    <a:lnTo>
                      <a:pt x="246049" y="1264094"/>
                    </a:lnTo>
                    <a:lnTo>
                      <a:pt x="256311" y="1264094"/>
                    </a:lnTo>
                    <a:lnTo>
                      <a:pt x="256311" y="1253858"/>
                    </a:lnTo>
                    <a:close/>
                  </a:path>
                  <a:path w="748664" h="1264285">
                    <a:moveTo>
                      <a:pt x="317817" y="1253858"/>
                    </a:moveTo>
                    <a:lnTo>
                      <a:pt x="307568" y="1253858"/>
                    </a:lnTo>
                    <a:lnTo>
                      <a:pt x="307568" y="1264094"/>
                    </a:lnTo>
                    <a:lnTo>
                      <a:pt x="317817" y="1264094"/>
                    </a:lnTo>
                    <a:lnTo>
                      <a:pt x="317817" y="1253858"/>
                    </a:lnTo>
                    <a:close/>
                  </a:path>
                  <a:path w="748664" h="1264285">
                    <a:moveTo>
                      <a:pt x="379336" y="1253858"/>
                    </a:moveTo>
                    <a:lnTo>
                      <a:pt x="369074" y="1253858"/>
                    </a:lnTo>
                    <a:lnTo>
                      <a:pt x="369074" y="1264094"/>
                    </a:lnTo>
                    <a:lnTo>
                      <a:pt x="379336" y="1264094"/>
                    </a:lnTo>
                    <a:lnTo>
                      <a:pt x="379336" y="1253858"/>
                    </a:lnTo>
                    <a:close/>
                  </a:path>
                  <a:path w="748664" h="1264285">
                    <a:moveTo>
                      <a:pt x="440842" y="1253858"/>
                    </a:moveTo>
                    <a:lnTo>
                      <a:pt x="430593" y="1253858"/>
                    </a:lnTo>
                    <a:lnTo>
                      <a:pt x="430593" y="1264094"/>
                    </a:lnTo>
                    <a:lnTo>
                      <a:pt x="440842" y="1264094"/>
                    </a:lnTo>
                    <a:lnTo>
                      <a:pt x="440842" y="1253858"/>
                    </a:lnTo>
                    <a:close/>
                  </a:path>
                  <a:path w="748664" h="1264285">
                    <a:moveTo>
                      <a:pt x="502361" y="1253858"/>
                    </a:moveTo>
                    <a:lnTo>
                      <a:pt x="492099" y="1253858"/>
                    </a:lnTo>
                    <a:lnTo>
                      <a:pt x="492099" y="1264094"/>
                    </a:lnTo>
                    <a:lnTo>
                      <a:pt x="502361" y="1264094"/>
                    </a:lnTo>
                    <a:lnTo>
                      <a:pt x="502361" y="1253858"/>
                    </a:lnTo>
                    <a:close/>
                  </a:path>
                  <a:path w="748664" h="1264285">
                    <a:moveTo>
                      <a:pt x="563867" y="1253858"/>
                    </a:moveTo>
                    <a:lnTo>
                      <a:pt x="553618" y="1253858"/>
                    </a:lnTo>
                    <a:lnTo>
                      <a:pt x="553618" y="1264094"/>
                    </a:lnTo>
                    <a:lnTo>
                      <a:pt x="563867" y="1264094"/>
                    </a:lnTo>
                    <a:lnTo>
                      <a:pt x="563867" y="1253858"/>
                    </a:lnTo>
                    <a:close/>
                  </a:path>
                  <a:path w="748664" h="1264285">
                    <a:moveTo>
                      <a:pt x="625386" y="1253858"/>
                    </a:moveTo>
                    <a:lnTo>
                      <a:pt x="615137" y="1253858"/>
                    </a:lnTo>
                    <a:lnTo>
                      <a:pt x="615137" y="1264094"/>
                    </a:lnTo>
                    <a:lnTo>
                      <a:pt x="625386" y="1264094"/>
                    </a:lnTo>
                    <a:lnTo>
                      <a:pt x="625386" y="1253858"/>
                    </a:lnTo>
                    <a:close/>
                  </a:path>
                  <a:path w="748664" h="1264285">
                    <a:moveTo>
                      <a:pt x="686892" y="1253858"/>
                    </a:moveTo>
                    <a:lnTo>
                      <a:pt x="676643" y="1253858"/>
                    </a:lnTo>
                    <a:lnTo>
                      <a:pt x="676643" y="1264094"/>
                    </a:lnTo>
                    <a:lnTo>
                      <a:pt x="686892" y="1264094"/>
                    </a:lnTo>
                    <a:lnTo>
                      <a:pt x="686892" y="1253858"/>
                    </a:lnTo>
                    <a:close/>
                  </a:path>
                  <a:path w="748664" h="1264285">
                    <a:moveTo>
                      <a:pt x="748411" y="1243622"/>
                    </a:moveTo>
                    <a:lnTo>
                      <a:pt x="738162" y="1243622"/>
                    </a:lnTo>
                    <a:lnTo>
                      <a:pt x="738162" y="1264094"/>
                    </a:lnTo>
                    <a:lnTo>
                      <a:pt x="748411" y="1264094"/>
                    </a:lnTo>
                    <a:lnTo>
                      <a:pt x="748411" y="1243622"/>
                    </a:lnTo>
                    <a:close/>
                  </a:path>
                  <a:path w="748664" h="1264285">
                    <a:moveTo>
                      <a:pt x="748411" y="829081"/>
                    </a:moveTo>
                    <a:lnTo>
                      <a:pt x="738162" y="829081"/>
                    </a:lnTo>
                    <a:lnTo>
                      <a:pt x="738162" y="849553"/>
                    </a:lnTo>
                    <a:lnTo>
                      <a:pt x="748411" y="849553"/>
                    </a:lnTo>
                    <a:lnTo>
                      <a:pt x="748411" y="829081"/>
                    </a:lnTo>
                    <a:close/>
                  </a:path>
                  <a:path w="748664" h="1264285">
                    <a:moveTo>
                      <a:pt x="748411" y="414540"/>
                    </a:moveTo>
                    <a:lnTo>
                      <a:pt x="738162" y="414540"/>
                    </a:lnTo>
                    <a:lnTo>
                      <a:pt x="738162" y="435013"/>
                    </a:lnTo>
                    <a:lnTo>
                      <a:pt x="748411" y="435013"/>
                    </a:lnTo>
                    <a:lnTo>
                      <a:pt x="748411" y="414540"/>
                    </a:lnTo>
                    <a:close/>
                  </a:path>
                  <a:path w="748664" h="1264285">
                    <a:moveTo>
                      <a:pt x="748411" y="0"/>
                    </a:moveTo>
                    <a:lnTo>
                      <a:pt x="738162" y="0"/>
                    </a:lnTo>
                    <a:lnTo>
                      <a:pt x="738162" y="20485"/>
                    </a:lnTo>
                    <a:lnTo>
                      <a:pt x="748411" y="20485"/>
                    </a:lnTo>
                    <a:lnTo>
                      <a:pt x="748411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2" name="object 312"/>
              <p:cNvSpPr/>
              <p:nvPr/>
            </p:nvSpPr>
            <p:spPr>
              <a:xfrm>
                <a:off x="5308837" y="2231982"/>
                <a:ext cx="690880" cy="1341120"/>
              </a:xfrm>
              <a:custGeom>
                <a:avLst/>
                <a:gdLst/>
                <a:ahLst/>
                <a:cxnLst/>
                <a:rect l="l" t="t" r="r" b="b"/>
                <a:pathLst>
                  <a:path w="690879" h="1341120">
                    <a:moveTo>
                      <a:pt x="690547" y="1340697"/>
                    </a:moveTo>
                    <a:lnTo>
                      <a:pt x="0" y="1340697"/>
                    </a:lnTo>
                    <a:lnTo>
                      <a:pt x="0" y="0"/>
                    </a:lnTo>
                    <a:lnTo>
                      <a:pt x="690547" y="0"/>
                    </a:lnTo>
                    <a:lnTo>
                      <a:pt x="690547" y="1340697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313" name="object 313"/>
            <p:cNvSpPr/>
            <p:nvPr/>
          </p:nvSpPr>
          <p:spPr>
            <a:xfrm>
              <a:off x="5663630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4" name="object 314"/>
            <p:cNvSpPr/>
            <p:nvPr/>
          </p:nvSpPr>
          <p:spPr>
            <a:xfrm>
              <a:off x="5717906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315" name="object 315"/>
            <p:cNvGrpSpPr/>
            <p:nvPr/>
          </p:nvGrpSpPr>
          <p:grpSpPr>
            <a:xfrm>
              <a:off x="5772183" y="2190884"/>
              <a:ext cx="660587" cy="970990"/>
              <a:chOff x="6186207" y="2483002"/>
              <a:chExt cx="748665" cy="1100455"/>
            </a:xfrm>
          </p:grpSpPr>
          <p:sp>
            <p:nvSpPr>
              <p:cNvPr id="316" name="object 316"/>
              <p:cNvSpPr/>
              <p:nvPr/>
            </p:nvSpPr>
            <p:spPr>
              <a:xfrm>
                <a:off x="6186195" y="2733369"/>
                <a:ext cx="748665" cy="849630"/>
              </a:xfrm>
              <a:custGeom>
                <a:avLst/>
                <a:gdLst/>
                <a:ahLst/>
                <a:cxnLst/>
                <a:rect l="l" t="t" r="r" b="b"/>
                <a:pathLst>
                  <a:path w="748665" h="849629">
                    <a:moveTo>
                      <a:pt x="10261" y="829081"/>
                    </a:moveTo>
                    <a:lnTo>
                      <a:pt x="0" y="829081"/>
                    </a:lnTo>
                    <a:lnTo>
                      <a:pt x="0" y="849553"/>
                    </a:lnTo>
                    <a:lnTo>
                      <a:pt x="10261" y="849553"/>
                    </a:lnTo>
                    <a:lnTo>
                      <a:pt x="10261" y="829081"/>
                    </a:lnTo>
                    <a:close/>
                  </a:path>
                  <a:path w="748665" h="849629">
                    <a:moveTo>
                      <a:pt x="10261" y="414540"/>
                    </a:moveTo>
                    <a:lnTo>
                      <a:pt x="0" y="414540"/>
                    </a:lnTo>
                    <a:lnTo>
                      <a:pt x="0" y="435013"/>
                    </a:lnTo>
                    <a:lnTo>
                      <a:pt x="10261" y="435013"/>
                    </a:lnTo>
                    <a:lnTo>
                      <a:pt x="10261" y="414540"/>
                    </a:lnTo>
                    <a:close/>
                  </a:path>
                  <a:path w="748665" h="849629">
                    <a:moveTo>
                      <a:pt x="10261" y="0"/>
                    </a:moveTo>
                    <a:lnTo>
                      <a:pt x="0" y="0"/>
                    </a:lnTo>
                    <a:lnTo>
                      <a:pt x="0" y="20472"/>
                    </a:lnTo>
                    <a:lnTo>
                      <a:pt x="10261" y="20472"/>
                    </a:lnTo>
                    <a:lnTo>
                      <a:pt x="10261" y="0"/>
                    </a:lnTo>
                    <a:close/>
                  </a:path>
                  <a:path w="748665" h="849629">
                    <a:moveTo>
                      <a:pt x="71767" y="839317"/>
                    </a:moveTo>
                    <a:lnTo>
                      <a:pt x="61518" y="839317"/>
                    </a:lnTo>
                    <a:lnTo>
                      <a:pt x="61518" y="849553"/>
                    </a:lnTo>
                    <a:lnTo>
                      <a:pt x="71767" y="849553"/>
                    </a:lnTo>
                    <a:lnTo>
                      <a:pt x="71767" y="839317"/>
                    </a:lnTo>
                    <a:close/>
                  </a:path>
                  <a:path w="748665" h="849629">
                    <a:moveTo>
                      <a:pt x="133286" y="839317"/>
                    </a:moveTo>
                    <a:lnTo>
                      <a:pt x="123037" y="839317"/>
                    </a:lnTo>
                    <a:lnTo>
                      <a:pt x="123037" y="849553"/>
                    </a:lnTo>
                    <a:lnTo>
                      <a:pt x="133286" y="849553"/>
                    </a:lnTo>
                    <a:lnTo>
                      <a:pt x="133286" y="839317"/>
                    </a:lnTo>
                    <a:close/>
                  </a:path>
                  <a:path w="748665" h="849629">
                    <a:moveTo>
                      <a:pt x="194792" y="839317"/>
                    </a:moveTo>
                    <a:lnTo>
                      <a:pt x="184543" y="839317"/>
                    </a:lnTo>
                    <a:lnTo>
                      <a:pt x="184543" y="849553"/>
                    </a:lnTo>
                    <a:lnTo>
                      <a:pt x="194792" y="849553"/>
                    </a:lnTo>
                    <a:lnTo>
                      <a:pt x="194792" y="839317"/>
                    </a:lnTo>
                    <a:close/>
                  </a:path>
                  <a:path w="748665" h="849629">
                    <a:moveTo>
                      <a:pt x="256311" y="839317"/>
                    </a:moveTo>
                    <a:lnTo>
                      <a:pt x="246062" y="839317"/>
                    </a:lnTo>
                    <a:lnTo>
                      <a:pt x="246062" y="849553"/>
                    </a:lnTo>
                    <a:lnTo>
                      <a:pt x="256311" y="849553"/>
                    </a:lnTo>
                    <a:lnTo>
                      <a:pt x="256311" y="839317"/>
                    </a:lnTo>
                    <a:close/>
                  </a:path>
                  <a:path w="748665" h="849629">
                    <a:moveTo>
                      <a:pt x="317830" y="839317"/>
                    </a:moveTo>
                    <a:lnTo>
                      <a:pt x="307568" y="839317"/>
                    </a:lnTo>
                    <a:lnTo>
                      <a:pt x="307568" y="849553"/>
                    </a:lnTo>
                    <a:lnTo>
                      <a:pt x="317830" y="849553"/>
                    </a:lnTo>
                    <a:lnTo>
                      <a:pt x="317830" y="839317"/>
                    </a:lnTo>
                    <a:close/>
                  </a:path>
                  <a:path w="748665" h="849629">
                    <a:moveTo>
                      <a:pt x="379336" y="839317"/>
                    </a:moveTo>
                    <a:lnTo>
                      <a:pt x="369087" y="839317"/>
                    </a:lnTo>
                    <a:lnTo>
                      <a:pt x="369087" y="849553"/>
                    </a:lnTo>
                    <a:lnTo>
                      <a:pt x="379336" y="849553"/>
                    </a:lnTo>
                    <a:lnTo>
                      <a:pt x="379336" y="839317"/>
                    </a:lnTo>
                    <a:close/>
                  </a:path>
                  <a:path w="748665" h="849629">
                    <a:moveTo>
                      <a:pt x="440855" y="839317"/>
                    </a:moveTo>
                    <a:lnTo>
                      <a:pt x="430593" y="839317"/>
                    </a:lnTo>
                    <a:lnTo>
                      <a:pt x="430593" y="849553"/>
                    </a:lnTo>
                    <a:lnTo>
                      <a:pt x="440855" y="849553"/>
                    </a:lnTo>
                    <a:lnTo>
                      <a:pt x="440855" y="839317"/>
                    </a:lnTo>
                    <a:close/>
                  </a:path>
                  <a:path w="748665" h="849629">
                    <a:moveTo>
                      <a:pt x="502361" y="839317"/>
                    </a:moveTo>
                    <a:lnTo>
                      <a:pt x="492112" y="839317"/>
                    </a:lnTo>
                    <a:lnTo>
                      <a:pt x="492112" y="849553"/>
                    </a:lnTo>
                    <a:lnTo>
                      <a:pt x="502361" y="849553"/>
                    </a:lnTo>
                    <a:lnTo>
                      <a:pt x="502361" y="839317"/>
                    </a:lnTo>
                    <a:close/>
                  </a:path>
                  <a:path w="748665" h="849629">
                    <a:moveTo>
                      <a:pt x="563880" y="839317"/>
                    </a:moveTo>
                    <a:lnTo>
                      <a:pt x="553618" y="839317"/>
                    </a:lnTo>
                    <a:lnTo>
                      <a:pt x="553618" y="849553"/>
                    </a:lnTo>
                    <a:lnTo>
                      <a:pt x="563880" y="849553"/>
                    </a:lnTo>
                    <a:lnTo>
                      <a:pt x="563880" y="839317"/>
                    </a:lnTo>
                    <a:close/>
                  </a:path>
                  <a:path w="748665" h="849629">
                    <a:moveTo>
                      <a:pt x="625386" y="839317"/>
                    </a:moveTo>
                    <a:lnTo>
                      <a:pt x="615137" y="839317"/>
                    </a:lnTo>
                    <a:lnTo>
                      <a:pt x="615137" y="849553"/>
                    </a:lnTo>
                    <a:lnTo>
                      <a:pt x="625386" y="849553"/>
                    </a:lnTo>
                    <a:lnTo>
                      <a:pt x="625386" y="839317"/>
                    </a:lnTo>
                    <a:close/>
                  </a:path>
                  <a:path w="748665" h="849629">
                    <a:moveTo>
                      <a:pt x="686904" y="839317"/>
                    </a:moveTo>
                    <a:lnTo>
                      <a:pt x="676656" y="839317"/>
                    </a:lnTo>
                    <a:lnTo>
                      <a:pt x="676656" y="849553"/>
                    </a:lnTo>
                    <a:lnTo>
                      <a:pt x="686904" y="849553"/>
                    </a:lnTo>
                    <a:lnTo>
                      <a:pt x="686904" y="839317"/>
                    </a:lnTo>
                    <a:close/>
                  </a:path>
                  <a:path w="748665" h="849629">
                    <a:moveTo>
                      <a:pt x="748411" y="829081"/>
                    </a:moveTo>
                    <a:lnTo>
                      <a:pt x="738162" y="829081"/>
                    </a:lnTo>
                    <a:lnTo>
                      <a:pt x="738162" y="849553"/>
                    </a:lnTo>
                    <a:lnTo>
                      <a:pt x="748411" y="849553"/>
                    </a:lnTo>
                    <a:lnTo>
                      <a:pt x="748411" y="829081"/>
                    </a:lnTo>
                    <a:close/>
                  </a:path>
                  <a:path w="748665" h="849629">
                    <a:moveTo>
                      <a:pt x="748411" y="414540"/>
                    </a:moveTo>
                    <a:lnTo>
                      <a:pt x="738162" y="414540"/>
                    </a:lnTo>
                    <a:lnTo>
                      <a:pt x="738162" y="435013"/>
                    </a:lnTo>
                    <a:lnTo>
                      <a:pt x="748411" y="435013"/>
                    </a:lnTo>
                    <a:lnTo>
                      <a:pt x="748411" y="414540"/>
                    </a:lnTo>
                    <a:close/>
                  </a:path>
                  <a:path w="748665" h="849629">
                    <a:moveTo>
                      <a:pt x="748411" y="0"/>
                    </a:moveTo>
                    <a:lnTo>
                      <a:pt x="738162" y="0"/>
                    </a:lnTo>
                    <a:lnTo>
                      <a:pt x="738162" y="20472"/>
                    </a:lnTo>
                    <a:lnTo>
                      <a:pt x="748411" y="20472"/>
                    </a:lnTo>
                    <a:lnTo>
                      <a:pt x="748411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7" name="object 317"/>
              <p:cNvSpPr/>
              <p:nvPr/>
            </p:nvSpPr>
            <p:spPr>
              <a:xfrm>
                <a:off x="6219976" y="2483002"/>
                <a:ext cx="690880" cy="1090295"/>
              </a:xfrm>
              <a:custGeom>
                <a:avLst/>
                <a:gdLst/>
                <a:ahLst/>
                <a:cxnLst/>
                <a:rect l="l" t="t" r="r" b="b"/>
                <a:pathLst>
                  <a:path w="690879" h="1090295">
                    <a:moveTo>
                      <a:pt x="690547" y="1089678"/>
                    </a:moveTo>
                    <a:lnTo>
                      <a:pt x="0" y="1089678"/>
                    </a:lnTo>
                    <a:lnTo>
                      <a:pt x="0" y="0"/>
                    </a:lnTo>
                    <a:lnTo>
                      <a:pt x="690547" y="0"/>
                    </a:lnTo>
                    <a:lnTo>
                      <a:pt x="690547" y="1089678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318" name="object 318"/>
            <p:cNvSpPr/>
            <p:nvPr/>
          </p:nvSpPr>
          <p:spPr>
            <a:xfrm>
              <a:off x="6477776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9" name="object 319"/>
            <p:cNvSpPr/>
            <p:nvPr/>
          </p:nvSpPr>
          <p:spPr>
            <a:xfrm>
              <a:off x="6532052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0" name="object 320"/>
            <p:cNvSpPr/>
            <p:nvPr/>
          </p:nvSpPr>
          <p:spPr>
            <a:xfrm>
              <a:off x="6586328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1" name="object 321"/>
            <p:cNvSpPr/>
            <p:nvPr/>
          </p:nvSpPr>
          <p:spPr>
            <a:xfrm>
              <a:off x="6640605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4" name="object 324"/>
            <p:cNvSpPr txBox="1"/>
            <p:nvPr/>
          </p:nvSpPr>
          <p:spPr>
            <a:xfrm>
              <a:off x="3712326" y="3067453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25" name="object 325"/>
            <p:cNvSpPr/>
            <p:nvPr/>
          </p:nvSpPr>
          <p:spPr>
            <a:xfrm>
              <a:off x="3872509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6" name="object 326"/>
            <p:cNvSpPr/>
            <p:nvPr/>
          </p:nvSpPr>
          <p:spPr>
            <a:xfrm>
              <a:off x="3926786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7" name="object 327"/>
            <p:cNvSpPr/>
            <p:nvPr/>
          </p:nvSpPr>
          <p:spPr>
            <a:xfrm>
              <a:off x="3981062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8" name="object 328"/>
            <p:cNvSpPr/>
            <p:nvPr/>
          </p:nvSpPr>
          <p:spPr>
            <a:xfrm>
              <a:off x="4035338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9" name="object 329"/>
            <p:cNvSpPr/>
            <p:nvPr/>
          </p:nvSpPr>
          <p:spPr>
            <a:xfrm>
              <a:off x="4089615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0" name="object 330"/>
            <p:cNvSpPr/>
            <p:nvPr/>
          </p:nvSpPr>
          <p:spPr>
            <a:xfrm>
              <a:off x="4143892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1" name="object 331"/>
            <p:cNvSpPr/>
            <p:nvPr/>
          </p:nvSpPr>
          <p:spPr>
            <a:xfrm>
              <a:off x="4849485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2" name="object 332"/>
            <p:cNvSpPr/>
            <p:nvPr/>
          </p:nvSpPr>
          <p:spPr>
            <a:xfrm>
              <a:off x="4903761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3" name="object 333"/>
            <p:cNvSpPr/>
            <p:nvPr/>
          </p:nvSpPr>
          <p:spPr>
            <a:xfrm>
              <a:off x="5663630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4" name="object 334"/>
            <p:cNvSpPr/>
            <p:nvPr/>
          </p:nvSpPr>
          <p:spPr>
            <a:xfrm>
              <a:off x="5717906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5" name="object 335"/>
            <p:cNvSpPr/>
            <p:nvPr/>
          </p:nvSpPr>
          <p:spPr>
            <a:xfrm>
              <a:off x="6477776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6" name="object 336"/>
            <p:cNvSpPr/>
            <p:nvPr/>
          </p:nvSpPr>
          <p:spPr>
            <a:xfrm>
              <a:off x="6532052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7" name="object 337"/>
            <p:cNvSpPr/>
            <p:nvPr/>
          </p:nvSpPr>
          <p:spPr>
            <a:xfrm>
              <a:off x="6586328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8" name="object 338"/>
            <p:cNvSpPr/>
            <p:nvPr/>
          </p:nvSpPr>
          <p:spPr>
            <a:xfrm>
              <a:off x="6640605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1" name="object 341"/>
            <p:cNvSpPr txBox="1"/>
            <p:nvPr/>
          </p:nvSpPr>
          <p:spPr>
            <a:xfrm>
              <a:off x="3712326" y="2701684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2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42" name="object 342"/>
            <p:cNvSpPr/>
            <p:nvPr/>
          </p:nvSpPr>
          <p:spPr>
            <a:xfrm>
              <a:off x="3872509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3" name="object 343"/>
            <p:cNvSpPr/>
            <p:nvPr/>
          </p:nvSpPr>
          <p:spPr>
            <a:xfrm>
              <a:off x="3926786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4" name="object 344"/>
            <p:cNvSpPr/>
            <p:nvPr/>
          </p:nvSpPr>
          <p:spPr>
            <a:xfrm>
              <a:off x="3981062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5" name="object 345"/>
            <p:cNvSpPr/>
            <p:nvPr/>
          </p:nvSpPr>
          <p:spPr>
            <a:xfrm>
              <a:off x="4035338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6" name="object 346"/>
            <p:cNvSpPr/>
            <p:nvPr/>
          </p:nvSpPr>
          <p:spPr>
            <a:xfrm>
              <a:off x="4089615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7" name="object 347"/>
            <p:cNvSpPr/>
            <p:nvPr/>
          </p:nvSpPr>
          <p:spPr>
            <a:xfrm>
              <a:off x="4143892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8" name="object 348"/>
            <p:cNvSpPr/>
            <p:nvPr/>
          </p:nvSpPr>
          <p:spPr>
            <a:xfrm>
              <a:off x="4849485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9" name="object 349"/>
            <p:cNvSpPr/>
            <p:nvPr/>
          </p:nvSpPr>
          <p:spPr>
            <a:xfrm>
              <a:off x="4903761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0" name="object 350"/>
            <p:cNvSpPr/>
            <p:nvPr/>
          </p:nvSpPr>
          <p:spPr>
            <a:xfrm>
              <a:off x="5663630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1" name="object 351"/>
            <p:cNvSpPr/>
            <p:nvPr/>
          </p:nvSpPr>
          <p:spPr>
            <a:xfrm>
              <a:off x="5717906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2" name="object 352"/>
            <p:cNvSpPr/>
            <p:nvPr/>
          </p:nvSpPr>
          <p:spPr>
            <a:xfrm>
              <a:off x="6477776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3" name="object 353"/>
            <p:cNvSpPr/>
            <p:nvPr/>
          </p:nvSpPr>
          <p:spPr>
            <a:xfrm>
              <a:off x="6532052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4" name="object 354"/>
            <p:cNvSpPr/>
            <p:nvPr/>
          </p:nvSpPr>
          <p:spPr>
            <a:xfrm>
              <a:off x="6586328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5" name="object 355"/>
            <p:cNvSpPr/>
            <p:nvPr/>
          </p:nvSpPr>
          <p:spPr>
            <a:xfrm>
              <a:off x="6640605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8" name="object 358"/>
            <p:cNvSpPr txBox="1"/>
            <p:nvPr/>
          </p:nvSpPr>
          <p:spPr>
            <a:xfrm>
              <a:off x="3712326" y="2335914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4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59" name="object 359"/>
            <p:cNvSpPr/>
            <p:nvPr/>
          </p:nvSpPr>
          <p:spPr>
            <a:xfrm>
              <a:off x="3872509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0" name="object 360"/>
            <p:cNvSpPr/>
            <p:nvPr/>
          </p:nvSpPr>
          <p:spPr>
            <a:xfrm>
              <a:off x="3926786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1" name="object 361"/>
            <p:cNvSpPr/>
            <p:nvPr/>
          </p:nvSpPr>
          <p:spPr>
            <a:xfrm>
              <a:off x="3981062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2" name="object 362"/>
            <p:cNvSpPr/>
            <p:nvPr/>
          </p:nvSpPr>
          <p:spPr>
            <a:xfrm>
              <a:off x="4035338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3" name="object 363"/>
            <p:cNvSpPr/>
            <p:nvPr/>
          </p:nvSpPr>
          <p:spPr>
            <a:xfrm>
              <a:off x="4089615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4" name="object 364"/>
            <p:cNvSpPr/>
            <p:nvPr/>
          </p:nvSpPr>
          <p:spPr>
            <a:xfrm>
              <a:off x="4143892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5" name="object 365"/>
            <p:cNvSpPr/>
            <p:nvPr/>
          </p:nvSpPr>
          <p:spPr>
            <a:xfrm>
              <a:off x="4849485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6" name="object 366"/>
            <p:cNvSpPr/>
            <p:nvPr/>
          </p:nvSpPr>
          <p:spPr>
            <a:xfrm>
              <a:off x="4903761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7" name="object 367"/>
            <p:cNvSpPr/>
            <p:nvPr/>
          </p:nvSpPr>
          <p:spPr>
            <a:xfrm>
              <a:off x="5663630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8" name="object 368"/>
            <p:cNvSpPr/>
            <p:nvPr/>
          </p:nvSpPr>
          <p:spPr>
            <a:xfrm>
              <a:off x="5717906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9" name="object 369"/>
            <p:cNvSpPr/>
            <p:nvPr/>
          </p:nvSpPr>
          <p:spPr>
            <a:xfrm>
              <a:off x="5772183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0" name="object 370"/>
            <p:cNvSpPr/>
            <p:nvPr/>
          </p:nvSpPr>
          <p:spPr>
            <a:xfrm>
              <a:off x="5826459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1" name="object 371"/>
            <p:cNvSpPr/>
            <p:nvPr/>
          </p:nvSpPr>
          <p:spPr>
            <a:xfrm>
              <a:off x="5880735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2" name="object 372"/>
            <p:cNvSpPr/>
            <p:nvPr/>
          </p:nvSpPr>
          <p:spPr>
            <a:xfrm>
              <a:off x="5935012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373" name="object 373"/>
            <p:cNvGrpSpPr/>
            <p:nvPr/>
          </p:nvGrpSpPr>
          <p:grpSpPr>
            <a:xfrm>
              <a:off x="5989288" y="1963163"/>
              <a:ext cx="226359" cy="173691"/>
              <a:chOff x="6432260" y="2224918"/>
              <a:chExt cx="256540" cy="196850"/>
            </a:xfrm>
          </p:grpSpPr>
          <p:sp>
            <p:nvSpPr>
              <p:cNvPr id="374" name="object 374"/>
              <p:cNvSpPr/>
              <p:nvPr/>
            </p:nvSpPr>
            <p:spPr>
              <a:xfrm>
                <a:off x="6432258" y="2318829"/>
                <a:ext cx="256540" cy="20955"/>
              </a:xfrm>
              <a:custGeom>
                <a:avLst/>
                <a:gdLst/>
                <a:ahLst/>
                <a:cxnLst/>
                <a:rect l="l" t="t" r="r" b="b"/>
                <a:pathLst>
                  <a:path w="256540" h="2095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20485"/>
                    </a:lnTo>
                    <a:lnTo>
                      <a:pt x="10248" y="20485"/>
                    </a:lnTo>
                    <a:lnTo>
                      <a:pt x="10248" y="0"/>
                    </a:lnTo>
                    <a:close/>
                  </a:path>
                  <a:path w="256540" h="20955">
                    <a:moveTo>
                      <a:pt x="71767" y="0"/>
                    </a:moveTo>
                    <a:lnTo>
                      <a:pt x="61506" y="0"/>
                    </a:lnTo>
                    <a:lnTo>
                      <a:pt x="61506" y="20485"/>
                    </a:lnTo>
                    <a:lnTo>
                      <a:pt x="71767" y="20485"/>
                    </a:lnTo>
                    <a:lnTo>
                      <a:pt x="71767" y="0"/>
                    </a:lnTo>
                    <a:close/>
                  </a:path>
                  <a:path w="256540" h="20955">
                    <a:moveTo>
                      <a:pt x="133273" y="0"/>
                    </a:moveTo>
                    <a:lnTo>
                      <a:pt x="123024" y="0"/>
                    </a:lnTo>
                    <a:lnTo>
                      <a:pt x="123024" y="20485"/>
                    </a:lnTo>
                    <a:lnTo>
                      <a:pt x="133273" y="20485"/>
                    </a:lnTo>
                    <a:lnTo>
                      <a:pt x="133273" y="0"/>
                    </a:lnTo>
                    <a:close/>
                  </a:path>
                  <a:path w="256540" h="20955">
                    <a:moveTo>
                      <a:pt x="194792" y="0"/>
                    </a:moveTo>
                    <a:lnTo>
                      <a:pt x="184531" y="0"/>
                    </a:lnTo>
                    <a:lnTo>
                      <a:pt x="184531" y="20485"/>
                    </a:lnTo>
                    <a:lnTo>
                      <a:pt x="194792" y="20485"/>
                    </a:lnTo>
                    <a:lnTo>
                      <a:pt x="194792" y="0"/>
                    </a:lnTo>
                    <a:close/>
                  </a:path>
                  <a:path w="256540" h="20955">
                    <a:moveTo>
                      <a:pt x="256298" y="0"/>
                    </a:moveTo>
                    <a:lnTo>
                      <a:pt x="246049" y="0"/>
                    </a:lnTo>
                    <a:lnTo>
                      <a:pt x="246049" y="20485"/>
                    </a:lnTo>
                    <a:lnTo>
                      <a:pt x="256298" y="20485"/>
                    </a:lnTo>
                    <a:lnTo>
                      <a:pt x="25629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5" name="object 375"/>
              <p:cNvSpPr/>
              <p:nvPr/>
            </p:nvSpPr>
            <p:spPr>
              <a:xfrm>
                <a:off x="6450072" y="2224918"/>
                <a:ext cx="230354" cy="196662"/>
              </a:xfrm>
              <a:prstGeom prst="rect">
                <a:avLst/>
              </a:prstGeom>
              <a:blipFill>
                <a:blip r:embed="rId6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376" name="object 376"/>
            <p:cNvSpPr/>
            <p:nvPr/>
          </p:nvSpPr>
          <p:spPr>
            <a:xfrm>
              <a:off x="6260670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7" name="object 377"/>
            <p:cNvSpPr/>
            <p:nvPr/>
          </p:nvSpPr>
          <p:spPr>
            <a:xfrm>
              <a:off x="6314947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8" name="object 378"/>
            <p:cNvSpPr/>
            <p:nvPr/>
          </p:nvSpPr>
          <p:spPr>
            <a:xfrm>
              <a:off x="6369224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9" name="object 379"/>
            <p:cNvSpPr/>
            <p:nvPr/>
          </p:nvSpPr>
          <p:spPr>
            <a:xfrm>
              <a:off x="6423500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0" name="object 380"/>
            <p:cNvSpPr/>
            <p:nvPr/>
          </p:nvSpPr>
          <p:spPr>
            <a:xfrm>
              <a:off x="6477776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1" name="object 381"/>
            <p:cNvSpPr/>
            <p:nvPr/>
          </p:nvSpPr>
          <p:spPr>
            <a:xfrm>
              <a:off x="6532052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2" name="object 382"/>
            <p:cNvSpPr/>
            <p:nvPr/>
          </p:nvSpPr>
          <p:spPr>
            <a:xfrm>
              <a:off x="6586328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3" name="object 383"/>
            <p:cNvSpPr/>
            <p:nvPr/>
          </p:nvSpPr>
          <p:spPr>
            <a:xfrm>
              <a:off x="6640605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6" name="object 386"/>
            <p:cNvSpPr txBox="1"/>
            <p:nvPr/>
          </p:nvSpPr>
          <p:spPr>
            <a:xfrm>
              <a:off x="3712326" y="1970145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6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7" name="object 387"/>
            <p:cNvSpPr/>
            <p:nvPr/>
          </p:nvSpPr>
          <p:spPr>
            <a:xfrm>
              <a:off x="3872509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8" name="object 388"/>
            <p:cNvSpPr/>
            <p:nvPr/>
          </p:nvSpPr>
          <p:spPr>
            <a:xfrm>
              <a:off x="3926786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9" name="object 389"/>
            <p:cNvSpPr/>
            <p:nvPr/>
          </p:nvSpPr>
          <p:spPr>
            <a:xfrm>
              <a:off x="398106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0" name="object 390"/>
            <p:cNvSpPr/>
            <p:nvPr/>
          </p:nvSpPr>
          <p:spPr>
            <a:xfrm>
              <a:off x="4035338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1" name="object 391"/>
            <p:cNvSpPr/>
            <p:nvPr/>
          </p:nvSpPr>
          <p:spPr>
            <a:xfrm>
              <a:off x="408961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2" name="object 392"/>
            <p:cNvSpPr/>
            <p:nvPr/>
          </p:nvSpPr>
          <p:spPr>
            <a:xfrm>
              <a:off x="414389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3" name="object 393"/>
            <p:cNvSpPr/>
            <p:nvPr/>
          </p:nvSpPr>
          <p:spPr>
            <a:xfrm>
              <a:off x="484948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4" name="object 394"/>
            <p:cNvSpPr/>
            <p:nvPr/>
          </p:nvSpPr>
          <p:spPr>
            <a:xfrm>
              <a:off x="4903761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5" name="object 395"/>
            <p:cNvSpPr/>
            <p:nvPr/>
          </p:nvSpPr>
          <p:spPr>
            <a:xfrm>
              <a:off x="4958037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6" name="object 396"/>
            <p:cNvSpPr/>
            <p:nvPr/>
          </p:nvSpPr>
          <p:spPr>
            <a:xfrm>
              <a:off x="5012313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7" name="object 397"/>
            <p:cNvSpPr/>
            <p:nvPr/>
          </p:nvSpPr>
          <p:spPr>
            <a:xfrm>
              <a:off x="5066590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8" name="object 398"/>
            <p:cNvSpPr/>
            <p:nvPr/>
          </p:nvSpPr>
          <p:spPr>
            <a:xfrm>
              <a:off x="5120866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9" name="object 399"/>
            <p:cNvSpPr/>
            <p:nvPr/>
          </p:nvSpPr>
          <p:spPr>
            <a:xfrm>
              <a:off x="5175143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0" name="object 400"/>
            <p:cNvSpPr/>
            <p:nvPr/>
          </p:nvSpPr>
          <p:spPr>
            <a:xfrm>
              <a:off x="5229420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1" name="object 401"/>
            <p:cNvSpPr/>
            <p:nvPr/>
          </p:nvSpPr>
          <p:spPr>
            <a:xfrm>
              <a:off x="528369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2" name="object 402"/>
            <p:cNvSpPr/>
            <p:nvPr/>
          </p:nvSpPr>
          <p:spPr>
            <a:xfrm>
              <a:off x="533797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3" name="object 403"/>
            <p:cNvSpPr/>
            <p:nvPr/>
          </p:nvSpPr>
          <p:spPr>
            <a:xfrm>
              <a:off x="5392248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4" name="object 404"/>
            <p:cNvSpPr/>
            <p:nvPr/>
          </p:nvSpPr>
          <p:spPr>
            <a:xfrm>
              <a:off x="5446524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5" name="object 405"/>
            <p:cNvSpPr/>
            <p:nvPr/>
          </p:nvSpPr>
          <p:spPr>
            <a:xfrm>
              <a:off x="5500801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6" name="object 406"/>
            <p:cNvSpPr/>
            <p:nvPr/>
          </p:nvSpPr>
          <p:spPr>
            <a:xfrm>
              <a:off x="5555078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7" name="object 407"/>
            <p:cNvSpPr/>
            <p:nvPr/>
          </p:nvSpPr>
          <p:spPr>
            <a:xfrm>
              <a:off x="5609354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8" name="object 408"/>
            <p:cNvSpPr/>
            <p:nvPr/>
          </p:nvSpPr>
          <p:spPr>
            <a:xfrm>
              <a:off x="5663630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9" name="object 409"/>
            <p:cNvSpPr/>
            <p:nvPr/>
          </p:nvSpPr>
          <p:spPr>
            <a:xfrm>
              <a:off x="5717906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0" name="object 410"/>
            <p:cNvSpPr/>
            <p:nvPr/>
          </p:nvSpPr>
          <p:spPr>
            <a:xfrm>
              <a:off x="5772183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1" name="object 411"/>
            <p:cNvSpPr/>
            <p:nvPr/>
          </p:nvSpPr>
          <p:spPr>
            <a:xfrm>
              <a:off x="5826459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2" name="object 412"/>
            <p:cNvSpPr/>
            <p:nvPr/>
          </p:nvSpPr>
          <p:spPr>
            <a:xfrm>
              <a:off x="588073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3" name="object 413"/>
            <p:cNvSpPr/>
            <p:nvPr/>
          </p:nvSpPr>
          <p:spPr>
            <a:xfrm>
              <a:off x="593501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4" name="object 414"/>
            <p:cNvSpPr/>
            <p:nvPr/>
          </p:nvSpPr>
          <p:spPr>
            <a:xfrm>
              <a:off x="5989289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5" name="object 415"/>
            <p:cNvSpPr/>
            <p:nvPr/>
          </p:nvSpPr>
          <p:spPr>
            <a:xfrm>
              <a:off x="604356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6" name="object 416"/>
            <p:cNvSpPr/>
            <p:nvPr/>
          </p:nvSpPr>
          <p:spPr>
            <a:xfrm>
              <a:off x="6097841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7" name="object 417"/>
            <p:cNvSpPr/>
            <p:nvPr/>
          </p:nvSpPr>
          <p:spPr>
            <a:xfrm>
              <a:off x="6152117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8" name="object 418"/>
            <p:cNvSpPr/>
            <p:nvPr/>
          </p:nvSpPr>
          <p:spPr>
            <a:xfrm>
              <a:off x="6206394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9" name="object 419"/>
            <p:cNvSpPr/>
            <p:nvPr/>
          </p:nvSpPr>
          <p:spPr>
            <a:xfrm>
              <a:off x="6260670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0" name="object 420"/>
            <p:cNvSpPr/>
            <p:nvPr/>
          </p:nvSpPr>
          <p:spPr>
            <a:xfrm>
              <a:off x="6314947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1" name="object 421"/>
            <p:cNvSpPr/>
            <p:nvPr/>
          </p:nvSpPr>
          <p:spPr>
            <a:xfrm>
              <a:off x="6369224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2" name="object 422"/>
            <p:cNvSpPr/>
            <p:nvPr/>
          </p:nvSpPr>
          <p:spPr>
            <a:xfrm>
              <a:off x="6423500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3" name="object 423"/>
            <p:cNvSpPr/>
            <p:nvPr/>
          </p:nvSpPr>
          <p:spPr>
            <a:xfrm>
              <a:off x="6477776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4" name="object 424"/>
            <p:cNvSpPr/>
            <p:nvPr/>
          </p:nvSpPr>
          <p:spPr>
            <a:xfrm>
              <a:off x="653205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5" name="object 425"/>
            <p:cNvSpPr/>
            <p:nvPr/>
          </p:nvSpPr>
          <p:spPr>
            <a:xfrm>
              <a:off x="6586328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6" name="object 426"/>
            <p:cNvSpPr/>
            <p:nvPr/>
          </p:nvSpPr>
          <p:spPr>
            <a:xfrm>
              <a:off x="664060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9" name="object 429"/>
            <p:cNvSpPr txBox="1"/>
            <p:nvPr/>
          </p:nvSpPr>
          <p:spPr>
            <a:xfrm>
              <a:off x="3712326" y="1604377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8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30" name="object 430"/>
            <p:cNvSpPr txBox="1"/>
            <p:nvPr/>
          </p:nvSpPr>
          <p:spPr>
            <a:xfrm>
              <a:off x="4816737" y="3517001"/>
              <a:ext cx="1006288" cy="185568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marL="11206">
                <a:spcBef>
                  <a:spcPts val="124"/>
                </a:spcBef>
              </a:pPr>
              <a:r>
                <a:rPr sz="1103" spc="62" dirty="0">
                  <a:solidFill>
                    <a:srgbClr val="252423"/>
                  </a:solidFill>
                  <a:latin typeface="Arial Narrow"/>
                  <a:cs typeface="Arial Narrow"/>
                </a:rPr>
                <a:t>Review</a:t>
              </a:r>
              <a:r>
                <a:rPr sz="1103" spc="-49" dirty="0">
                  <a:solidFill>
                    <a:srgbClr val="252423"/>
                  </a:solidFill>
                  <a:latin typeface="Arial Narrow"/>
                  <a:cs typeface="Arial Narrow"/>
                </a:rPr>
                <a:t> </a:t>
              </a:r>
              <a:r>
                <a:rPr sz="1103" spc="57" dirty="0">
                  <a:solidFill>
                    <a:srgbClr val="252423"/>
                  </a:solidFill>
                  <a:latin typeface="Arial Narrow"/>
                  <a:cs typeface="Arial Narrow"/>
                </a:rPr>
                <a:t>Category</a:t>
              </a:r>
              <a:endParaRPr sz="1103" dirty="0">
                <a:latin typeface="Arial Narrow"/>
                <a:cs typeface="Arial Narrow"/>
              </a:endParaRPr>
            </a:p>
          </p:txBody>
        </p:sp>
        <p:sp>
          <p:nvSpPr>
            <p:cNvPr id="431" name="object 431"/>
            <p:cNvSpPr txBox="1"/>
            <p:nvPr/>
          </p:nvSpPr>
          <p:spPr>
            <a:xfrm>
              <a:off x="3484415" y="1455631"/>
              <a:ext cx="128240" cy="1403182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1015"/>
                </a:lnSpc>
              </a:pPr>
              <a:r>
                <a:rPr sz="1000" spc="35" dirty="0">
                  <a:solidFill>
                    <a:srgbClr val="252423"/>
                  </a:solidFill>
                  <a:latin typeface="Arial Narrow"/>
                  <a:cs typeface="Arial Narrow"/>
                </a:rPr>
                <a:t>Average </a:t>
              </a:r>
              <a:r>
                <a:rPr sz="1000" spc="40" dirty="0">
                  <a:solidFill>
                    <a:srgbClr val="252423"/>
                  </a:solidFill>
                  <a:latin typeface="Arial Narrow"/>
                  <a:cs typeface="Arial Narrow"/>
                </a:rPr>
                <a:t>Sentence</a:t>
              </a:r>
              <a:r>
                <a:rPr sz="1000" spc="-66" dirty="0">
                  <a:solidFill>
                    <a:srgbClr val="252423"/>
                  </a:solidFill>
                  <a:latin typeface="Arial Narrow"/>
                  <a:cs typeface="Arial Narrow"/>
                </a:rPr>
                <a:t> </a:t>
              </a:r>
              <a:r>
                <a:rPr sz="1000" spc="35" dirty="0">
                  <a:solidFill>
                    <a:srgbClr val="252423"/>
                  </a:solidFill>
                  <a:latin typeface="Arial Narrow"/>
                  <a:cs typeface="Arial Narrow"/>
                </a:rPr>
                <a:t>Count</a:t>
              </a:r>
              <a:endParaRPr sz="1000" dirty="0">
                <a:latin typeface="Arial Narrow"/>
                <a:cs typeface="Arial Narrow"/>
              </a:endParaRPr>
            </a:p>
          </p:txBody>
        </p:sp>
        <p:sp>
          <p:nvSpPr>
            <p:cNvPr id="432" name="object 432"/>
            <p:cNvSpPr txBox="1"/>
            <p:nvPr/>
          </p:nvSpPr>
          <p:spPr>
            <a:xfrm>
              <a:off x="4187574" y="3247858"/>
              <a:ext cx="65666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Video</a:t>
              </a:r>
              <a:r>
                <a:rPr sz="838" spc="-44" dirty="0">
                  <a:solidFill>
                    <a:srgbClr val="605D5C"/>
                  </a:solidFill>
                  <a:latin typeface="Segoe UI"/>
                  <a:cs typeface="Segoe UI"/>
                </a:rPr>
                <a:t> </a:t>
              </a: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Games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33" name="object 433"/>
            <p:cNvSpPr txBox="1"/>
            <p:nvPr/>
          </p:nvSpPr>
          <p:spPr>
            <a:xfrm>
              <a:off x="5163678" y="3247858"/>
              <a:ext cx="31208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Books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34" name="object 434"/>
            <p:cNvSpPr txBox="1"/>
            <p:nvPr/>
          </p:nvSpPr>
          <p:spPr>
            <a:xfrm>
              <a:off x="5861721" y="3233264"/>
              <a:ext cx="523875" cy="302112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83488" marR="4483" indent="-72842">
                <a:lnSpc>
                  <a:spcPct val="113199"/>
                </a:lnSpc>
                <a:spcBef>
                  <a:spcPts val="84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Home</a:t>
              </a:r>
              <a:r>
                <a:rPr sz="838" spc="-71" dirty="0">
                  <a:solidFill>
                    <a:srgbClr val="605D5C"/>
                  </a:solidFill>
                  <a:latin typeface="Segoe UI"/>
                  <a:cs typeface="Segoe UI"/>
                </a:rPr>
                <a:t> </a:t>
              </a: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and  </a:t>
              </a: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Kitchen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35" name="object 435"/>
            <p:cNvSpPr/>
            <p:nvPr/>
          </p:nvSpPr>
          <p:spPr>
            <a:xfrm>
              <a:off x="4397113" y="1355345"/>
              <a:ext cx="203254" cy="173525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6" name="object 436"/>
            <p:cNvSpPr/>
            <p:nvPr/>
          </p:nvSpPr>
          <p:spPr>
            <a:xfrm>
              <a:off x="5201059" y="1741675"/>
              <a:ext cx="203254" cy="173525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7" name="object 437"/>
            <p:cNvSpPr txBox="1"/>
            <p:nvPr/>
          </p:nvSpPr>
          <p:spPr>
            <a:xfrm>
              <a:off x="4458276" y="1373142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9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38" name="object 438"/>
            <p:cNvSpPr txBox="1"/>
            <p:nvPr/>
          </p:nvSpPr>
          <p:spPr>
            <a:xfrm>
              <a:off x="5262223" y="1759472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6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39" name="object 439"/>
            <p:cNvSpPr txBox="1"/>
            <p:nvPr/>
          </p:nvSpPr>
          <p:spPr>
            <a:xfrm>
              <a:off x="6066168" y="1980960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5</a:t>
              </a:r>
              <a:endParaRPr sz="838" dirty="0">
                <a:latin typeface="Segoe UI"/>
                <a:cs typeface="Segoe UI"/>
              </a:endParaRPr>
            </a:p>
          </p:txBody>
        </p:sp>
      </p:grpSp>
      <p:grpSp>
        <p:nvGrpSpPr>
          <p:cNvPr id="450" name="Group 449">
            <a:extLst>
              <a:ext uri="{FF2B5EF4-FFF2-40B4-BE49-F238E27FC236}">
                <a16:creationId xmlns:a16="http://schemas.microsoft.com/office/drawing/2014/main" id="{4DEA6F85-F7AE-4855-B043-B95978F6E1D7}"/>
              </a:ext>
            </a:extLst>
          </p:cNvPr>
          <p:cNvGrpSpPr/>
          <p:nvPr/>
        </p:nvGrpSpPr>
        <p:grpSpPr>
          <a:xfrm>
            <a:off x="6921033" y="943306"/>
            <a:ext cx="4880621" cy="5332958"/>
            <a:chOff x="6694882" y="906522"/>
            <a:chExt cx="4880621" cy="5332958"/>
          </a:xfrm>
        </p:grpSpPr>
        <p:sp>
          <p:nvSpPr>
            <p:cNvPr id="265" name="object 265"/>
            <p:cNvSpPr/>
            <p:nvPr/>
          </p:nvSpPr>
          <p:spPr>
            <a:xfrm>
              <a:off x="6961384" y="1134561"/>
              <a:ext cx="993962" cy="18490"/>
            </a:xfrm>
            <a:custGeom>
              <a:avLst/>
              <a:gdLst/>
              <a:ahLst/>
              <a:cxnLst/>
              <a:rect l="l" t="t" r="r" b="b"/>
              <a:pathLst>
                <a:path w="1126490" h="20955">
                  <a:moveTo>
                    <a:pt x="1126331" y="20478"/>
                  </a:moveTo>
                  <a:lnTo>
                    <a:pt x="0" y="20478"/>
                  </a:lnTo>
                  <a:lnTo>
                    <a:pt x="0" y="0"/>
                  </a:lnTo>
                  <a:lnTo>
                    <a:pt x="1126331" y="0"/>
                  </a:lnTo>
                  <a:lnTo>
                    <a:pt x="1126331" y="20478"/>
                  </a:lnTo>
                  <a:close/>
                </a:path>
              </a:pathLst>
            </a:custGeom>
            <a:solidFill>
              <a:srgbClr val="118CFF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6" name="object 266"/>
            <p:cNvSpPr txBox="1"/>
            <p:nvPr/>
          </p:nvSpPr>
          <p:spPr>
            <a:xfrm>
              <a:off x="6950179" y="906522"/>
              <a:ext cx="2202516" cy="504693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marL="11206">
                <a:spcBef>
                  <a:spcPts val="124"/>
                </a:spcBef>
                <a:tabLst>
                  <a:tab pos="1148664" algn="l"/>
                </a:tabLst>
              </a:pPr>
              <a:r>
                <a:rPr sz="1103" b="1" spc="13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Key</a:t>
              </a:r>
              <a:r>
                <a:rPr sz="1103" b="1" spc="18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 </a:t>
              </a:r>
              <a:r>
                <a:rPr sz="1103" b="1" spc="13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influencers	</a:t>
              </a:r>
              <a:r>
                <a:rPr sz="1103" b="1" spc="-18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Top</a:t>
              </a:r>
              <a:r>
                <a:rPr sz="1103" b="1" spc="-9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 </a:t>
              </a:r>
              <a:r>
                <a:rPr sz="1103" b="1" spc="18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segments</a:t>
              </a:r>
              <a:endParaRPr sz="1103" dirty="0">
                <a:latin typeface="Segoe UI Semibold"/>
                <a:cs typeface="Segoe UI Semibold"/>
              </a:endParaRPr>
            </a:p>
            <a:p>
              <a:pPr>
                <a:spcBef>
                  <a:spcPts val="44"/>
                </a:spcBef>
              </a:pPr>
              <a:endParaRPr sz="1103" dirty="0">
                <a:latin typeface="Segoe UI Semibold"/>
                <a:cs typeface="Segoe UI Semibold"/>
              </a:endParaRPr>
            </a:p>
            <a:p>
              <a:pPr marL="11206"/>
              <a:r>
                <a:rPr sz="971" spc="13" dirty="0">
                  <a:solidFill>
                    <a:srgbClr val="252423"/>
                  </a:solidFill>
                  <a:latin typeface="Segoe UI"/>
                  <a:cs typeface="Segoe UI"/>
                </a:rPr>
                <a:t>What </a:t>
              </a:r>
              <a:r>
                <a:rPr sz="971" spc="9" dirty="0">
                  <a:solidFill>
                    <a:srgbClr val="252423"/>
                  </a:solidFill>
                  <a:latin typeface="Segoe UI"/>
                  <a:cs typeface="Segoe UI"/>
                </a:rPr>
                <a:t>influences </a:t>
              </a:r>
              <a:r>
                <a:rPr sz="971" spc="4" dirty="0">
                  <a:solidFill>
                    <a:srgbClr val="252423"/>
                  </a:solidFill>
                  <a:latin typeface="Segoe UI"/>
                  <a:cs typeface="Segoe UI"/>
                </a:rPr>
                <a:t>Review </a:t>
              </a:r>
              <a:r>
                <a:rPr sz="971" spc="9" dirty="0">
                  <a:solidFill>
                    <a:srgbClr val="252423"/>
                  </a:solidFill>
                  <a:latin typeface="Segoe UI"/>
                  <a:cs typeface="Segoe UI"/>
                </a:rPr>
                <a:t>Category to</a:t>
              </a:r>
              <a:r>
                <a:rPr sz="971" spc="-13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971" spc="13" dirty="0">
                  <a:solidFill>
                    <a:srgbClr val="252423"/>
                  </a:solidFill>
                  <a:latin typeface="Segoe UI"/>
                  <a:cs typeface="Segoe UI"/>
                </a:rPr>
                <a:t>be</a:t>
              </a:r>
              <a:endParaRPr sz="971" dirty="0">
                <a:latin typeface="Segoe UI"/>
                <a:cs typeface="Segoe UI"/>
              </a:endParaRPr>
            </a:p>
          </p:txBody>
        </p:sp>
        <p:sp>
          <p:nvSpPr>
            <p:cNvPr id="267" name="object 267"/>
            <p:cNvSpPr txBox="1"/>
            <p:nvPr/>
          </p:nvSpPr>
          <p:spPr>
            <a:xfrm>
              <a:off x="10711314" y="1267910"/>
              <a:ext cx="79562" cy="163544"/>
            </a:xfrm>
            <a:prstGeom prst="rect">
              <a:avLst/>
            </a:prstGeom>
          </p:spPr>
          <p:txBody>
            <a:bodyPr vert="horz" wrap="square" lIns="0" tIns="14007" rIns="0" bIns="0" rtlCol="0">
              <a:spAutoFit/>
            </a:bodyPr>
            <a:lstStyle/>
            <a:p>
              <a:pPr marL="11206">
                <a:spcBef>
                  <a:spcPts val="110"/>
                </a:spcBef>
              </a:pPr>
              <a:r>
                <a:rPr sz="971" spc="9" dirty="0">
                  <a:solidFill>
                    <a:srgbClr val="252423"/>
                  </a:solidFill>
                  <a:latin typeface="Segoe UI"/>
                  <a:cs typeface="Segoe UI"/>
                </a:rPr>
                <a:t>?</a:t>
              </a:r>
              <a:endParaRPr sz="971" dirty="0">
                <a:latin typeface="Segoe UI"/>
                <a:cs typeface="Segoe UI"/>
              </a:endParaRPr>
            </a:p>
          </p:txBody>
        </p:sp>
        <p:sp>
          <p:nvSpPr>
            <p:cNvPr id="270" name="object 270"/>
            <p:cNvSpPr txBox="1"/>
            <p:nvPr/>
          </p:nvSpPr>
          <p:spPr>
            <a:xfrm>
              <a:off x="6950179" y="1755787"/>
              <a:ext cx="37371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When...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1" name="object 271"/>
            <p:cNvSpPr txBox="1"/>
            <p:nvPr/>
          </p:nvSpPr>
          <p:spPr>
            <a:xfrm>
              <a:off x="10287387" y="1741331"/>
              <a:ext cx="1288116" cy="447793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11206" marR="4483" algn="just">
                <a:lnSpc>
                  <a:spcPct val="113199"/>
                </a:lnSpc>
                <a:spcBef>
                  <a:spcPts val="84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....the likelihood of </a:t>
              </a:r>
              <a:r>
                <a:rPr sz="838" dirty="0">
                  <a:solidFill>
                    <a:srgbClr val="252423"/>
                  </a:solidFill>
                  <a:latin typeface="Segoe UI"/>
                  <a:cs typeface="Segoe UI"/>
                </a:rPr>
                <a:t>Review 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Category being </a:t>
              </a:r>
              <a:r>
                <a:rPr sz="838" spc="9" dirty="0">
                  <a:solidFill>
                    <a:srgbClr val="252423"/>
                  </a:solidFill>
                  <a:latin typeface="Segoe UI"/>
                  <a:cs typeface="Segoe UI"/>
                </a:rPr>
                <a:t>Home</a:t>
              </a:r>
              <a:r>
                <a:rPr sz="838" spc="-35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and  Kitchen increases</a:t>
              </a:r>
              <a:r>
                <a:rPr sz="838" spc="-13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by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2" name="object 272"/>
            <p:cNvSpPr txBox="1"/>
            <p:nvPr/>
          </p:nvSpPr>
          <p:spPr>
            <a:xfrm>
              <a:off x="7058595" y="2460497"/>
              <a:ext cx="113123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dirty="0">
                  <a:solidFill>
                    <a:srgbClr val="252423"/>
                  </a:solidFill>
                  <a:latin typeface="Segoe UI"/>
                  <a:cs typeface="Segoe UI"/>
                </a:rPr>
                <a:t>Word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Count is 79 -</a:t>
              </a:r>
              <a:r>
                <a:rPr sz="838" spc="-53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134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3" name="object 273"/>
            <p:cNvSpPr/>
            <p:nvPr/>
          </p:nvSpPr>
          <p:spPr>
            <a:xfrm>
              <a:off x="8605703" y="2300052"/>
              <a:ext cx="2791946" cy="470087"/>
            </a:xfrm>
            <a:custGeom>
              <a:avLst/>
              <a:gdLst/>
              <a:ahLst/>
              <a:cxnLst/>
              <a:rect l="l" t="t" r="r" b="b"/>
              <a:pathLst>
                <a:path w="3164204" h="532764">
                  <a:moveTo>
                    <a:pt x="2631516" y="266217"/>
                  </a:moveTo>
                  <a:lnTo>
                    <a:pt x="2549601" y="225259"/>
                  </a:lnTo>
                  <a:lnTo>
                    <a:pt x="2549601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2549601" y="276453"/>
                  </a:lnTo>
                  <a:lnTo>
                    <a:pt x="2549601" y="307174"/>
                  </a:lnTo>
                  <a:lnTo>
                    <a:pt x="2631516" y="266217"/>
                  </a:lnTo>
                  <a:close/>
                </a:path>
                <a:path w="3164204" h="532764">
                  <a:moveTo>
                    <a:pt x="3163963" y="266217"/>
                  </a:moveTo>
                  <a:lnTo>
                    <a:pt x="3161080" y="227152"/>
                  </a:lnTo>
                  <a:lnTo>
                    <a:pt x="3152508" y="188937"/>
                  </a:lnTo>
                  <a:lnTo>
                    <a:pt x="3138411" y="152400"/>
                  </a:lnTo>
                  <a:lnTo>
                    <a:pt x="3119094" y="118313"/>
                  </a:lnTo>
                  <a:lnTo>
                    <a:pt x="3095002" y="87439"/>
                  </a:lnTo>
                  <a:lnTo>
                    <a:pt x="3066631" y="60426"/>
                  </a:lnTo>
                  <a:lnTo>
                    <a:pt x="3034614" y="37871"/>
                  </a:lnTo>
                  <a:lnTo>
                    <a:pt x="2999625" y="20256"/>
                  </a:lnTo>
                  <a:lnTo>
                    <a:pt x="2962427" y="7975"/>
                  </a:lnTo>
                  <a:lnTo>
                    <a:pt x="2923832" y="1282"/>
                  </a:lnTo>
                  <a:lnTo>
                    <a:pt x="2897746" y="0"/>
                  </a:lnTo>
                  <a:lnTo>
                    <a:pt x="2884678" y="317"/>
                  </a:lnTo>
                  <a:lnTo>
                    <a:pt x="2845803" y="5105"/>
                  </a:lnTo>
                  <a:lnTo>
                    <a:pt x="2808059" y="15557"/>
                  </a:lnTo>
                  <a:lnTo>
                    <a:pt x="2772245" y="31432"/>
                  </a:lnTo>
                  <a:lnTo>
                    <a:pt x="2739148" y="52387"/>
                  </a:lnTo>
                  <a:lnTo>
                    <a:pt x="2709494" y="77965"/>
                  </a:lnTo>
                  <a:lnTo>
                    <a:pt x="2683903" y="107632"/>
                  </a:lnTo>
                  <a:lnTo>
                    <a:pt x="2662948" y="140716"/>
                  </a:lnTo>
                  <a:lnTo>
                    <a:pt x="2647086" y="176530"/>
                  </a:lnTo>
                  <a:lnTo>
                    <a:pt x="2636634" y="214287"/>
                  </a:lnTo>
                  <a:lnTo>
                    <a:pt x="2631833" y="253161"/>
                  </a:lnTo>
                  <a:lnTo>
                    <a:pt x="2631516" y="266217"/>
                  </a:lnTo>
                  <a:lnTo>
                    <a:pt x="2631833" y="279285"/>
                  </a:lnTo>
                  <a:lnTo>
                    <a:pt x="2636634" y="318160"/>
                  </a:lnTo>
                  <a:lnTo>
                    <a:pt x="2647086" y="355904"/>
                  </a:lnTo>
                  <a:lnTo>
                    <a:pt x="2662948" y="391718"/>
                  </a:lnTo>
                  <a:lnTo>
                    <a:pt x="2683903" y="424815"/>
                  </a:lnTo>
                  <a:lnTo>
                    <a:pt x="2709494" y="454469"/>
                  </a:lnTo>
                  <a:lnTo>
                    <a:pt x="2739148" y="480047"/>
                  </a:lnTo>
                  <a:lnTo>
                    <a:pt x="2772245" y="501002"/>
                  </a:lnTo>
                  <a:lnTo>
                    <a:pt x="2808059" y="516877"/>
                  </a:lnTo>
                  <a:lnTo>
                    <a:pt x="2845803" y="527329"/>
                  </a:lnTo>
                  <a:lnTo>
                    <a:pt x="2884678" y="532117"/>
                  </a:lnTo>
                  <a:lnTo>
                    <a:pt x="2897746" y="532447"/>
                  </a:lnTo>
                  <a:lnTo>
                    <a:pt x="2910802" y="532117"/>
                  </a:lnTo>
                  <a:lnTo>
                    <a:pt x="2949676" y="527329"/>
                  </a:lnTo>
                  <a:lnTo>
                    <a:pt x="2987433" y="516877"/>
                  </a:lnTo>
                  <a:lnTo>
                    <a:pt x="3023235" y="501002"/>
                  </a:lnTo>
                  <a:lnTo>
                    <a:pt x="3056331" y="480047"/>
                  </a:lnTo>
                  <a:lnTo>
                    <a:pt x="3085985" y="454469"/>
                  </a:lnTo>
                  <a:lnTo>
                    <a:pt x="3111576" y="424815"/>
                  </a:lnTo>
                  <a:lnTo>
                    <a:pt x="3132531" y="391718"/>
                  </a:lnTo>
                  <a:lnTo>
                    <a:pt x="3148406" y="355904"/>
                  </a:lnTo>
                  <a:lnTo>
                    <a:pt x="3158845" y="318160"/>
                  </a:lnTo>
                  <a:lnTo>
                    <a:pt x="3163646" y="279285"/>
                  </a:lnTo>
                  <a:lnTo>
                    <a:pt x="3163963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74" name="object 274"/>
            <p:cNvSpPr txBox="1"/>
            <p:nvPr/>
          </p:nvSpPr>
          <p:spPr>
            <a:xfrm>
              <a:off x="11030353" y="2460497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64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5" name="object 275"/>
            <p:cNvSpPr txBox="1"/>
            <p:nvPr/>
          </p:nvSpPr>
          <p:spPr>
            <a:xfrm>
              <a:off x="7058595" y="3038721"/>
              <a:ext cx="130548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Sentence Count is 7 or</a:t>
              </a:r>
              <a:r>
                <a:rPr sz="838" spc="-40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less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6" name="object 276"/>
            <p:cNvSpPr/>
            <p:nvPr/>
          </p:nvSpPr>
          <p:spPr>
            <a:xfrm>
              <a:off x="8605703" y="2878275"/>
              <a:ext cx="2566147" cy="470087"/>
            </a:xfrm>
            <a:custGeom>
              <a:avLst/>
              <a:gdLst/>
              <a:ahLst/>
              <a:cxnLst/>
              <a:rect l="l" t="t" r="r" b="b"/>
              <a:pathLst>
                <a:path w="2908300" h="532764">
                  <a:moveTo>
                    <a:pt x="2375535" y="266217"/>
                  </a:moveTo>
                  <a:lnTo>
                    <a:pt x="2293620" y="225259"/>
                  </a:lnTo>
                  <a:lnTo>
                    <a:pt x="2293620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2293620" y="276453"/>
                  </a:lnTo>
                  <a:lnTo>
                    <a:pt x="2293620" y="307174"/>
                  </a:lnTo>
                  <a:lnTo>
                    <a:pt x="2375535" y="266217"/>
                  </a:lnTo>
                  <a:close/>
                </a:path>
                <a:path w="2908300" h="532764">
                  <a:moveTo>
                    <a:pt x="2907982" y="266217"/>
                  </a:moveTo>
                  <a:lnTo>
                    <a:pt x="2905099" y="227152"/>
                  </a:lnTo>
                  <a:lnTo>
                    <a:pt x="2896514" y="188937"/>
                  </a:lnTo>
                  <a:lnTo>
                    <a:pt x="2882417" y="152400"/>
                  </a:lnTo>
                  <a:lnTo>
                    <a:pt x="2863113" y="118313"/>
                  </a:lnTo>
                  <a:lnTo>
                    <a:pt x="2839021" y="87439"/>
                  </a:lnTo>
                  <a:lnTo>
                    <a:pt x="2810649" y="60426"/>
                  </a:lnTo>
                  <a:lnTo>
                    <a:pt x="2778620" y="37871"/>
                  </a:lnTo>
                  <a:lnTo>
                    <a:pt x="2743631" y="20256"/>
                  </a:lnTo>
                  <a:lnTo>
                    <a:pt x="2706446" y="7975"/>
                  </a:lnTo>
                  <a:lnTo>
                    <a:pt x="2667851" y="1282"/>
                  </a:lnTo>
                  <a:lnTo>
                    <a:pt x="2641752" y="0"/>
                  </a:lnTo>
                  <a:lnTo>
                    <a:pt x="2628696" y="317"/>
                  </a:lnTo>
                  <a:lnTo>
                    <a:pt x="2589822" y="5105"/>
                  </a:lnTo>
                  <a:lnTo>
                    <a:pt x="2552065" y="15557"/>
                  </a:lnTo>
                  <a:lnTo>
                    <a:pt x="2516263" y="31432"/>
                  </a:lnTo>
                  <a:lnTo>
                    <a:pt x="2483167" y="52387"/>
                  </a:lnTo>
                  <a:lnTo>
                    <a:pt x="2453513" y="77965"/>
                  </a:lnTo>
                  <a:lnTo>
                    <a:pt x="2427922" y="107632"/>
                  </a:lnTo>
                  <a:lnTo>
                    <a:pt x="2406967" y="140728"/>
                  </a:lnTo>
                  <a:lnTo>
                    <a:pt x="2391092" y="176530"/>
                  </a:lnTo>
                  <a:lnTo>
                    <a:pt x="2380653" y="214287"/>
                  </a:lnTo>
                  <a:lnTo>
                    <a:pt x="2375852" y="253161"/>
                  </a:lnTo>
                  <a:lnTo>
                    <a:pt x="2375535" y="266217"/>
                  </a:lnTo>
                  <a:lnTo>
                    <a:pt x="2375852" y="279285"/>
                  </a:lnTo>
                  <a:lnTo>
                    <a:pt x="2380653" y="318160"/>
                  </a:lnTo>
                  <a:lnTo>
                    <a:pt x="2391092" y="355904"/>
                  </a:lnTo>
                  <a:lnTo>
                    <a:pt x="2406967" y="391718"/>
                  </a:lnTo>
                  <a:lnTo>
                    <a:pt x="2427922" y="424815"/>
                  </a:lnTo>
                  <a:lnTo>
                    <a:pt x="2453513" y="454469"/>
                  </a:lnTo>
                  <a:lnTo>
                    <a:pt x="2483167" y="480047"/>
                  </a:lnTo>
                  <a:lnTo>
                    <a:pt x="2516263" y="501002"/>
                  </a:lnTo>
                  <a:lnTo>
                    <a:pt x="2552065" y="516877"/>
                  </a:lnTo>
                  <a:lnTo>
                    <a:pt x="2589822" y="527329"/>
                  </a:lnTo>
                  <a:lnTo>
                    <a:pt x="2628696" y="532117"/>
                  </a:lnTo>
                  <a:lnTo>
                    <a:pt x="2641752" y="532447"/>
                  </a:lnTo>
                  <a:lnTo>
                    <a:pt x="2654820" y="532117"/>
                  </a:lnTo>
                  <a:lnTo>
                    <a:pt x="2693695" y="527329"/>
                  </a:lnTo>
                  <a:lnTo>
                    <a:pt x="2731439" y="516877"/>
                  </a:lnTo>
                  <a:lnTo>
                    <a:pt x="2767253" y="501002"/>
                  </a:lnTo>
                  <a:lnTo>
                    <a:pt x="2800350" y="480047"/>
                  </a:lnTo>
                  <a:lnTo>
                    <a:pt x="2830004" y="454469"/>
                  </a:lnTo>
                  <a:lnTo>
                    <a:pt x="2855595" y="424815"/>
                  </a:lnTo>
                  <a:lnTo>
                    <a:pt x="2876550" y="391718"/>
                  </a:lnTo>
                  <a:lnTo>
                    <a:pt x="2892425" y="355904"/>
                  </a:lnTo>
                  <a:lnTo>
                    <a:pt x="2902864" y="318160"/>
                  </a:lnTo>
                  <a:lnTo>
                    <a:pt x="2907665" y="279285"/>
                  </a:lnTo>
                  <a:lnTo>
                    <a:pt x="2907982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77" name="object 277"/>
            <p:cNvSpPr txBox="1"/>
            <p:nvPr/>
          </p:nvSpPr>
          <p:spPr>
            <a:xfrm>
              <a:off x="10805190" y="3038721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56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8" name="object 278"/>
            <p:cNvSpPr txBox="1"/>
            <p:nvPr/>
          </p:nvSpPr>
          <p:spPr>
            <a:xfrm>
              <a:off x="7058595" y="3616944"/>
              <a:ext cx="856690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Rating is 1 or</a:t>
              </a:r>
              <a:r>
                <a:rPr sz="838" spc="-62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less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9" name="object 279"/>
            <p:cNvSpPr/>
            <p:nvPr/>
          </p:nvSpPr>
          <p:spPr>
            <a:xfrm>
              <a:off x="8605704" y="3456499"/>
              <a:ext cx="1608604" cy="470087"/>
            </a:xfrm>
            <a:custGeom>
              <a:avLst/>
              <a:gdLst/>
              <a:ahLst/>
              <a:cxnLst/>
              <a:rect l="l" t="t" r="r" b="b"/>
              <a:pathLst>
                <a:path w="1823084" h="532764">
                  <a:moveTo>
                    <a:pt x="1290154" y="266217"/>
                  </a:moveTo>
                  <a:lnTo>
                    <a:pt x="1208239" y="225259"/>
                  </a:lnTo>
                  <a:lnTo>
                    <a:pt x="1208239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1208239" y="276453"/>
                  </a:lnTo>
                  <a:lnTo>
                    <a:pt x="1208239" y="307174"/>
                  </a:lnTo>
                  <a:lnTo>
                    <a:pt x="1290154" y="266217"/>
                  </a:lnTo>
                  <a:close/>
                </a:path>
                <a:path w="1823084" h="532764">
                  <a:moveTo>
                    <a:pt x="1822602" y="266217"/>
                  </a:moveTo>
                  <a:lnTo>
                    <a:pt x="1819732" y="227152"/>
                  </a:lnTo>
                  <a:lnTo>
                    <a:pt x="1811147" y="188937"/>
                  </a:lnTo>
                  <a:lnTo>
                    <a:pt x="1797050" y="152400"/>
                  </a:lnTo>
                  <a:lnTo>
                    <a:pt x="1777746" y="118313"/>
                  </a:lnTo>
                  <a:lnTo>
                    <a:pt x="1753641" y="87439"/>
                  </a:lnTo>
                  <a:lnTo>
                    <a:pt x="1725269" y="60426"/>
                  </a:lnTo>
                  <a:lnTo>
                    <a:pt x="1693252" y="37871"/>
                  </a:lnTo>
                  <a:lnTo>
                    <a:pt x="1658264" y="20256"/>
                  </a:lnTo>
                  <a:lnTo>
                    <a:pt x="1621066" y="7975"/>
                  </a:lnTo>
                  <a:lnTo>
                    <a:pt x="1582483" y="1282"/>
                  </a:lnTo>
                  <a:lnTo>
                    <a:pt x="1556385" y="0"/>
                  </a:lnTo>
                  <a:lnTo>
                    <a:pt x="1543316" y="317"/>
                  </a:lnTo>
                  <a:lnTo>
                    <a:pt x="1504442" y="5105"/>
                  </a:lnTo>
                  <a:lnTo>
                    <a:pt x="1466697" y="15557"/>
                  </a:lnTo>
                  <a:lnTo>
                    <a:pt x="1430883" y="31432"/>
                  </a:lnTo>
                  <a:lnTo>
                    <a:pt x="1397800" y="52387"/>
                  </a:lnTo>
                  <a:lnTo>
                    <a:pt x="1368132" y="77965"/>
                  </a:lnTo>
                  <a:lnTo>
                    <a:pt x="1342555" y="107632"/>
                  </a:lnTo>
                  <a:lnTo>
                    <a:pt x="1321600" y="140716"/>
                  </a:lnTo>
                  <a:lnTo>
                    <a:pt x="1305725" y="176530"/>
                  </a:lnTo>
                  <a:lnTo>
                    <a:pt x="1295273" y="214287"/>
                  </a:lnTo>
                  <a:lnTo>
                    <a:pt x="1290485" y="253161"/>
                  </a:lnTo>
                  <a:lnTo>
                    <a:pt x="1290154" y="266217"/>
                  </a:lnTo>
                  <a:lnTo>
                    <a:pt x="1290485" y="279285"/>
                  </a:lnTo>
                  <a:lnTo>
                    <a:pt x="1295273" y="318160"/>
                  </a:lnTo>
                  <a:lnTo>
                    <a:pt x="1305725" y="355904"/>
                  </a:lnTo>
                  <a:lnTo>
                    <a:pt x="1321600" y="391718"/>
                  </a:lnTo>
                  <a:lnTo>
                    <a:pt x="1342555" y="424815"/>
                  </a:lnTo>
                  <a:lnTo>
                    <a:pt x="1368132" y="454469"/>
                  </a:lnTo>
                  <a:lnTo>
                    <a:pt x="1397800" y="480047"/>
                  </a:lnTo>
                  <a:lnTo>
                    <a:pt x="1430883" y="501002"/>
                  </a:lnTo>
                  <a:lnTo>
                    <a:pt x="1466697" y="516877"/>
                  </a:lnTo>
                  <a:lnTo>
                    <a:pt x="1504442" y="527329"/>
                  </a:lnTo>
                  <a:lnTo>
                    <a:pt x="1543316" y="532117"/>
                  </a:lnTo>
                  <a:lnTo>
                    <a:pt x="1556385" y="532447"/>
                  </a:lnTo>
                  <a:lnTo>
                    <a:pt x="1569453" y="532117"/>
                  </a:lnTo>
                  <a:lnTo>
                    <a:pt x="1608315" y="527329"/>
                  </a:lnTo>
                  <a:lnTo>
                    <a:pt x="1646072" y="516877"/>
                  </a:lnTo>
                  <a:lnTo>
                    <a:pt x="1681886" y="501002"/>
                  </a:lnTo>
                  <a:lnTo>
                    <a:pt x="1714969" y="480047"/>
                  </a:lnTo>
                  <a:lnTo>
                    <a:pt x="1744637" y="454469"/>
                  </a:lnTo>
                  <a:lnTo>
                    <a:pt x="1770214" y="424815"/>
                  </a:lnTo>
                  <a:lnTo>
                    <a:pt x="1791169" y="391718"/>
                  </a:lnTo>
                  <a:lnTo>
                    <a:pt x="1807044" y="355904"/>
                  </a:lnTo>
                  <a:lnTo>
                    <a:pt x="1817497" y="318160"/>
                  </a:lnTo>
                  <a:lnTo>
                    <a:pt x="1822284" y="279285"/>
                  </a:lnTo>
                  <a:lnTo>
                    <a:pt x="1822602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0" name="object 280"/>
            <p:cNvSpPr txBox="1"/>
            <p:nvPr/>
          </p:nvSpPr>
          <p:spPr>
            <a:xfrm>
              <a:off x="9847790" y="3616944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23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1" name="object 281"/>
            <p:cNvSpPr txBox="1"/>
            <p:nvPr/>
          </p:nvSpPr>
          <p:spPr>
            <a:xfrm>
              <a:off x="7058596" y="4195168"/>
              <a:ext cx="10460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Rating is </a:t>
              </a:r>
              <a:r>
                <a:rPr sz="838" spc="9" dirty="0">
                  <a:solidFill>
                    <a:srgbClr val="252423"/>
                  </a:solidFill>
                  <a:latin typeface="Segoe UI"/>
                  <a:cs typeface="Segoe UI"/>
                </a:rPr>
                <a:t>more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than</a:t>
              </a:r>
              <a:r>
                <a:rPr sz="838" spc="-66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4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2" name="object 282"/>
            <p:cNvSpPr/>
            <p:nvPr/>
          </p:nvSpPr>
          <p:spPr>
            <a:xfrm>
              <a:off x="8605703" y="4034722"/>
              <a:ext cx="1464049" cy="470087"/>
            </a:xfrm>
            <a:custGeom>
              <a:avLst/>
              <a:gdLst/>
              <a:ahLst/>
              <a:cxnLst/>
              <a:rect l="l" t="t" r="r" b="b"/>
              <a:pathLst>
                <a:path w="1659254" h="532764">
                  <a:moveTo>
                    <a:pt x="1126324" y="266217"/>
                  </a:moveTo>
                  <a:lnTo>
                    <a:pt x="1044409" y="225259"/>
                  </a:lnTo>
                  <a:lnTo>
                    <a:pt x="1044409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1044409" y="276453"/>
                  </a:lnTo>
                  <a:lnTo>
                    <a:pt x="1044409" y="307174"/>
                  </a:lnTo>
                  <a:lnTo>
                    <a:pt x="1126324" y="266217"/>
                  </a:lnTo>
                  <a:close/>
                </a:path>
                <a:path w="1659254" h="532764">
                  <a:moveTo>
                    <a:pt x="1658772" y="266217"/>
                  </a:moveTo>
                  <a:lnTo>
                    <a:pt x="1655902" y="227152"/>
                  </a:lnTo>
                  <a:lnTo>
                    <a:pt x="1647317" y="188937"/>
                  </a:lnTo>
                  <a:lnTo>
                    <a:pt x="1633220" y="152400"/>
                  </a:lnTo>
                  <a:lnTo>
                    <a:pt x="1613916" y="118313"/>
                  </a:lnTo>
                  <a:lnTo>
                    <a:pt x="1589811" y="87439"/>
                  </a:lnTo>
                  <a:lnTo>
                    <a:pt x="1561439" y="60426"/>
                  </a:lnTo>
                  <a:lnTo>
                    <a:pt x="1529422" y="37871"/>
                  </a:lnTo>
                  <a:lnTo>
                    <a:pt x="1494434" y="20256"/>
                  </a:lnTo>
                  <a:lnTo>
                    <a:pt x="1457236" y="7975"/>
                  </a:lnTo>
                  <a:lnTo>
                    <a:pt x="1418653" y="1282"/>
                  </a:lnTo>
                  <a:lnTo>
                    <a:pt x="1392555" y="0"/>
                  </a:lnTo>
                  <a:lnTo>
                    <a:pt x="1379486" y="317"/>
                  </a:lnTo>
                  <a:lnTo>
                    <a:pt x="1340612" y="5105"/>
                  </a:lnTo>
                  <a:lnTo>
                    <a:pt x="1302867" y="15557"/>
                  </a:lnTo>
                  <a:lnTo>
                    <a:pt x="1267053" y="31432"/>
                  </a:lnTo>
                  <a:lnTo>
                    <a:pt x="1233970" y="52387"/>
                  </a:lnTo>
                  <a:lnTo>
                    <a:pt x="1204302" y="77965"/>
                  </a:lnTo>
                  <a:lnTo>
                    <a:pt x="1178725" y="107632"/>
                  </a:lnTo>
                  <a:lnTo>
                    <a:pt x="1157770" y="140716"/>
                  </a:lnTo>
                  <a:lnTo>
                    <a:pt x="1141895" y="176530"/>
                  </a:lnTo>
                  <a:lnTo>
                    <a:pt x="1131443" y="214287"/>
                  </a:lnTo>
                  <a:lnTo>
                    <a:pt x="1126655" y="253161"/>
                  </a:lnTo>
                  <a:lnTo>
                    <a:pt x="1126324" y="266217"/>
                  </a:lnTo>
                  <a:lnTo>
                    <a:pt x="1126655" y="279285"/>
                  </a:lnTo>
                  <a:lnTo>
                    <a:pt x="1131443" y="318160"/>
                  </a:lnTo>
                  <a:lnTo>
                    <a:pt x="1141895" y="355904"/>
                  </a:lnTo>
                  <a:lnTo>
                    <a:pt x="1157770" y="391718"/>
                  </a:lnTo>
                  <a:lnTo>
                    <a:pt x="1178725" y="424815"/>
                  </a:lnTo>
                  <a:lnTo>
                    <a:pt x="1204302" y="454469"/>
                  </a:lnTo>
                  <a:lnTo>
                    <a:pt x="1233970" y="480047"/>
                  </a:lnTo>
                  <a:lnTo>
                    <a:pt x="1267053" y="501002"/>
                  </a:lnTo>
                  <a:lnTo>
                    <a:pt x="1302867" y="516877"/>
                  </a:lnTo>
                  <a:lnTo>
                    <a:pt x="1340612" y="527329"/>
                  </a:lnTo>
                  <a:lnTo>
                    <a:pt x="1379486" y="532117"/>
                  </a:lnTo>
                  <a:lnTo>
                    <a:pt x="1392555" y="532447"/>
                  </a:lnTo>
                  <a:lnTo>
                    <a:pt x="1405623" y="532117"/>
                  </a:lnTo>
                  <a:lnTo>
                    <a:pt x="1444485" y="527329"/>
                  </a:lnTo>
                  <a:lnTo>
                    <a:pt x="1482242" y="516877"/>
                  </a:lnTo>
                  <a:lnTo>
                    <a:pt x="1518056" y="501002"/>
                  </a:lnTo>
                  <a:lnTo>
                    <a:pt x="1551139" y="480047"/>
                  </a:lnTo>
                  <a:lnTo>
                    <a:pt x="1580807" y="454469"/>
                  </a:lnTo>
                  <a:lnTo>
                    <a:pt x="1606384" y="424815"/>
                  </a:lnTo>
                  <a:lnTo>
                    <a:pt x="1627339" y="391718"/>
                  </a:lnTo>
                  <a:lnTo>
                    <a:pt x="1643214" y="355904"/>
                  </a:lnTo>
                  <a:lnTo>
                    <a:pt x="1653667" y="318160"/>
                  </a:lnTo>
                  <a:lnTo>
                    <a:pt x="1658454" y="279285"/>
                  </a:lnTo>
                  <a:lnTo>
                    <a:pt x="1658772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3" name="object 283"/>
            <p:cNvSpPr txBox="1"/>
            <p:nvPr/>
          </p:nvSpPr>
          <p:spPr>
            <a:xfrm>
              <a:off x="9698152" y="4195168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18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4" name="object 284"/>
            <p:cNvSpPr txBox="1"/>
            <p:nvPr/>
          </p:nvSpPr>
          <p:spPr>
            <a:xfrm>
              <a:off x="7058595" y="4773391"/>
              <a:ext cx="117269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Usefulness is Not</a:t>
              </a:r>
              <a:r>
                <a:rPr sz="838" spc="-35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Useful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5" name="object 285"/>
            <p:cNvSpPr/>
            <p:nvPr/>
          </p:nvSpPr>
          <p:spPr>
            <a:xfrm>
              <a:off x="8605703" y="4612946"/>
              <a:ext cx="1464049" cy="470087"/>
            </a:xfrm>
            <a:custGeom>
              <a:avLst/>
              <a:gdLst/>
              <a:ahLst/>
              <a:cxnLst/>
              <a:rect l="l" t="t" r="r" b="b"/>
              <a:pathLst>
                <a:path w="1659254" h="532764">
                  <a:moveTo>
                    <a:pt x="1126324" y="266217"/>
                  </a:moveTo>
                  <a:lnTo>
                    <a:pt x="1044409" y="225259"/>
                  </a:lnTo>
                  <a:lnTo>
                    <a:pt x="1044409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1044409" y="276453"/>
                  </a:lnTo>
                  <a:lnTo>
                    <a:pt x="1044409" y="307174"/>
                  </a:lnTo>
                  <a:lnTo>
                    <a:pt x="1126324" y="266217"/>
                  </a:lnTo>
                  <a:close/>
                </a:path>
                <a:path w="1659254" h="532764">
                  <a:moveTo>
                    <a:pt x="1658772" y="266217"/>
                  </a:moveTo>
                  <a:lnTo>
                    <a:pt x="1655902" y="227152"/>
                  </a:lnTo>
                  <a:lnTo>
                    <a:pt x="1647317" y="188937"/>
                  </a:lnTo>
                  <a:lnTo>
                    <a:pt x="1633220" y="152387"/>
                  </a:lnTo>
                  <a:lnTo>
                    <a:pt x="1613916" y="118313"/>
                  </a:lnTo>
                  <a:lnTo>
                    <a:pt x="1589811" y="87439"/>
                  </a:lnTo>
                  <a:lnTo>
                    <a:pt x="1561439" y="60426"/>
                  </a:lnTo>
                  <a:lnTo>
                    <a:pt x="1529422" y="37871"/>
                  </a:lnTo>
                  <a:lnTo>
                    <a:pt x="1494434" y="20256"/>
                  </a:lnTo>
                  <a:lnTo>
                    <a:pt x="1457236" y="7975"/>
                  </a:lnTo>
                  <a:lnTo>
                    <a:pt x="1418653" y="1282"/>
                  </a:lnTo>
                  <a:lnTo>
                    <a:pt x="1392555" y="0"/>
                  </a:lnTo>
                  <a:lnTo>
                    <a:pt x="1379486" y="317"/>
                  </a:lnTo>
                  <a:lnTo>
                    <a:pt x="1340612" y="5105"/>
                  </a:lnTo>
                  <a:lnTo>
                    <a:pt x="1302867" y="15557"/>
                  </a:lnTo>
                  <a:lnTo>
                    <a:pt x="1267053" y="31432"/>
                  </a:lnTo>
                  <a:lnTo>
                    <a:pt x="1233970" y="52387"/>
                  </a:lnTo>
                  <a:lnTo>
                    <a:pt x="1204302" y="77965"/>
                  </a:lnTo>
                  <a:lnTo>
                    <a:pt x="1178725" y="107632"/>
                  </a:lnTo>
                  <a:lnTo>
                    <a:pt x="1157770" y="140716"/>
                  </a:lnTo>
                  <a:lnTo>
                    <a:pt x="1141895" y="176530"/>
                  </a:lnTo>
                  <a:lnTo>
                    <a:pt x="1131443" y="214287"/>
                  </a:lnTo>
                  <a:lnTo>
                    <a:pt x="1126655" y="253161"/>
                  </a:lnTo>
                  <a:lnTo>
                    <a:pt x="1126324" y="266217"/>
                  </a:lnTo>
                  <a:lnTo>
                    <a:pt x="1126655" y="279285"/>
                  </a:lnTo>
                  <a:lnTo>
                    <a:pt x="1131443" y="318160"/>
                  </a:lnTo>
                  <a:lnTo>
                    <a:pt x="1141895" y="355904"/>
                  </a:lnTo>
                  <a:lnTo>
                    <a:pt x="1157770" y="391718"/>
                  </a:lnTo>
                  <a:lnTo>
                    <a:pt x="1178725" y="424815"/>
                  </a:lnTo>
                  <a:lnTo>
                    <a:pt x="1204302" y="454469"/>
                  </a:lnTo>
                  <a:lnTo>
                    <a:pt x="1233970" y="480047"/>
                  </a:lnTo>
                  <a:lnTo>
                    <a:pt x="1267053" y="501002"/>
                  </a:lnTo>
                  <a:lnTo>
                    <a:pt x="1302867" y="516877"/>
                  </a:lnTo>
                  <a:lnTo>
                    <a:pt x="1340612" y="527329"/>
                  </a:lnTo>
                  <a:lnTo>
                    <a:pt x="1379486" y="532117"/>
                  </a:lnTo>
                  <a:lnTo>
                    <a:pt x="1392555" y="532447"/>
                  </a:lnTo>
                  <a:lnTo>
                    <a:pt x="1405623" y="532117"/>
                  </a:lnTo>
                  <a:lnTo>
                    <a:pt x="1444485" y="527329"/>
                  </a:lnTo>
                  <a:lnTo>
                    <a:pt x="1482242" y="516877"/>
                  </a:lnTo>
                  <a:lnTo>
                    <a:pt x="1518056" y="501002"/>
                  </a:lnTo>
                  <a:lnTo>
                    <a:pt x="1551139" y="480047"/>
                  </a:lnTo>
                  <a:lnTo>
                    <a:pt x="1580807" y="454469"/>
                  </a:lnTo>
                  <a:lnTo>
                    <a:pt x="1606384" y="424815"/>
                  </a:lnTo>
                  <a:lnTo>
                    <a:pt x="1627339" y="391718"/>
                  </a:lnTo>
                  <a:lnTo>
                    <a:pt x="1643214" y="355904"/>
                  </a:lnTo>
                  <a:lnTo>
                    <a:pt x="1653667" y="318160"/>
                  </a:lnTo>
                  <a:lnTo>
                    <a:pt x="1658454" y="279285"/>
                  </a:lnTo>
                  <a:lnTo>
                    <a:pt x="1658772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6" name="object 286"/>
            <p:cNvSpPr txBox="1"/>
            <p:nvPr/>
          </p:nvSpPr>
          <p:spPr>
            <a:xfrm>
              <a:off x="9696176" y="4773391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18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7" name="object 287"/>
            <p:cNvSpPr txBox="1"/>
            <p:nvPr/>
          </p:nvSpPr>
          <p:spPr>
            <a:xfrm>
              <a:off x="7058596" y="5351615"/>
              <a:ext cx="1069601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Sentiment is</a:t>
              </a:r>
              <a:r>
                <a:rPr sz="838" spc="-31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Negative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8" name="object 288"/>
            <p:cNvSpPr/>
            <p:nvPr/>
          </p:nvSpPr>
          <p:spPr>
            <a:xfrm>
              <a:off x="8605703" y="5191169"/>
              <a:ext cx="1427629" cy="470087"/>
            </a:xfrm>
            <a:custGeom>
              <a:avLst/>
              <a:gdLst/>
              <a:ahLst/>
              <a:cxnLst/>
              <a:rect l="l" t="t" r="r" b="b"/>
              <a:pathLst>
                <a:path w="1617979" h="532764">
                  <a:moveTo>
                    <a:pt x="1085367" y="266217"/>
                  </a:moveTo>
                  <a:lnTo>
                    <a:pt x="1003452" y="225259"/>
                  </a:lnTo>
                  <a:lnTo>
                    <a:pt x="1003452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1003452" y="276453"/>
                  </a:lnTo>
                  <a:lnTo>
                    <a:pt x="1003452" y="307174"/>
                  </a:lnTo>
                  <a:lnTo>
                    <a:pt x="1085367" y="266217"/>
                  </a:lnTo>
                  <a:close/>
                </a:path>
                <a:path w="1617979" h="532764">
                  <a:moveTo>
                    <a:pt x="1617814" y="266217"/>
                  </a:moveTo>
                  <a:lnTo>
                    <a:pt x="1614944" y="227152"/>
                  </a:lnTo>
                  <a:lnTo>
                    <a:pt x="1606359" y="188937"/>
                  </a:lnTo>
                  <a:lnTo>
                    <a:pt x="1592262" y="152387"/>
                  </a:lnTo>
                  <a:lnTo>
                    <a:pt x="1572958" y="118313"/>
                  </a:lnTo>
                  <a:lnTo>
                    <a:pt x="1548853" y="87439"/>
                  </a:lnTo>
                  <a:lnTo>
                    <a:pt x="1520482" y="60426"/>
                  </a:lnTo>
                  <a:lnTo>
                    <a:pt x="1488465" y="37871"/>
                  </a:lnTo>
                  <a:lnTo>
                    <a:pt x="1453476" y="20256"/>
                  </a:lnTo>
                  <a:lnTo>
                    <a:pt x="1416278" y="7975"/>
                  </a:lnTo>
                  <a:lnTo>
                    <a:pt x="1377696" y="1282"/>
                  </a:lnTo>
                  <a:lnTo>
                    <a:pt x="1351597" y="0"/>
                  </a:lnTo>
                  <a:lnTo>
                    <a:pt x="1338529" y="317"/>
                  </a:lnTo>
                  <a:lnTo>
                    <a:pt x="1299654" y="5105"/>
                  </a:lnTo>
                  <a:lnTo>
                    <a:pt x="1261910" y="15557"/>
                  </a:lnTo>
                  <a:lnTo>
                    <a:pt x="1226096" y="31432"/>
                  </a:lnTo>
                  <a:lnTo>
                    <a:pt x="1193012" y="52387"/>
                  </a:lnTo>
                  <a:lnTo>
                    <a:pt x="1163345" y="77965"/>
                  </a:lnTo>
                  <a:lnTo>
                    <a:pt x="1137767" y="107632"/>
                  </a:lnTo>
                  <a:lnTo>
                    <a:pt x="1116812" y="140716"/>
                  </a:lnTo>
                  <a:lnTo>
                    <a:pt x="1100937" y="176530"/>
                  </a:lnTo>
                  <a:lnTo>
                    <a:pt x="1090485" y="214287"/>
                  </a:lnTo>
                  <a:lnTo>
                    <a:pt x="1085697" y="253161"/>
                  </a:lnTo>
                  <a:lnTo>
                    <a:pt x="1085367" y="266217"/>
                  </a:lnTo>
                  <a:lnTo>
                    <a:pt x="1085697" y="279285"/>
                  </a:lnTo>
                  <a:lnTo>
                    <a:pt x="1090485" y="318160"/>
                  </a:lnTo>
                  <a:lnTo>
                    <a:pt x="1100937" y="355904"/>
                  </a:lnTo>
                  <a:lnTo>
                    <a:pt x="1116812" y="391718"/>
                  </a:lnTo>
                  <a:lnTo>
                    <a:pt x="1137767" y="424802"/>
                  </a:lnTo>
                  <a:lnTo>
                    <a:pt x="1163345" y="454469"/>
                  </a:lnTo>
                  <a:lnTo>
                    <a:pt x="1193012" y="480047"/>
                  </a:lnTo>
                  <a:lnTo>
                    <a:pt x="1226096" y="501002"/>
                  </a:lnTo>
                  <a:lnTo>
                    <a:pt x="1261910" y="516877"/>
                  </a:lnTo>
                  <a:lnTo>
                    <a:pt x="1299654" y="527329"/>
                  </a:lnTo>
                  <a:lnTo>
                    <a:pt x="1338529" y="532117"/>
                  </a:lnTo>
                  <a:lnTo>
                    <a:pt x="1351597" y="532447"/>
                  </a:lnTo>
                  <a:lnTo>
                    <a:pt x="1364665" y="532117"/>
                  </a:lnTo>
                  <a:lnTo>
                    <a:pt x="1403527" y="527329"/>
                  </a:lnTo>
                  <a:lnTo>
                    <a:pt x="1441284" y="516877"/>
                  </a:lnTo>
                  <a:lnTo>
                    <a:pt x="1477098" y="501002"/>
                  </a:lnTo>
                  <a:lnTo>
                    <a:pt x="1510182" y="480047"/>
                  </a:lnTo>
                  <a:lnTo>
                    <a:pt x="1539849" y="454469"/>
                  </a:lnTo>
                  <a:lnTo>
                    <a:pt x="1565427" y="424802"/>
                  </a:lnTo>
                  <a:lnTo>
                    <a:pt x="1586382" y="391718"/>
                  </a:lnTo>
                  <a:lnTo>
                    <a:pt x="1602257" y="355904"/>
                  </a:lnTo>
                  <a:lnTo>
                    <a:pt x="1612709" y="318160"/>
                  </a:lnTo>
                  <a:lnTo>
                    <a:pt x="1617497" y="279285"/>
                  </a:lnTo>
                  <a:lnTo>
                    <a:pt x="1617814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9" name="object 289"/>
            <p:cNvSpPr txBox="1"/>
            <p:nvPr/>
          </p:nvSpPr>
          <p:spPr>
            <a:xfrm>
              <a:off x="9661166" y="5351615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16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90" name="object 290"/>
            <p:cNvSpPr txBox="1"/>
            <p:nvPr/>
          </p:nvSpPr>
          <p:spPr>
            <a:xfrm>
              <a:off x="7069801" y="5932468"/>
              <a:ext cx="2576793" cy="139696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>
                <a:spcBef>
                  <a:spcPts val="84"/>
                </a:spcBef>
                <a:tabLst>
                  <a:tab pos="2327586" algn="l"/>
                </a:tabLst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Rating is 1 - 2	</a:t>
              </a: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07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91" name="object 291"/>
            <p:cNvSpPr/>
            <p:nvPr/>
          </p:nvSpPr>
          <p:spPr>
            <a:xfrm>
              <a:off x="8605703" y="5769393"/>
              <a:ext cx="1147482" cy="470087"/>
            </a:xfrm>
            <a:custGeom>
              <a:avLst/>
              <a:gdLst/>
              <a:ahLst/>
              <a:cxnLst/>
              <a:rect l="l" t="t" r="r" b="b"/>
              <a:pathLst>
                <a:path w="1300479" h="532765">
                  <a:moveTo>
                    <a:pt x="767956" y="266217"/>
                  </a:moveTo>
                  <a:lnTo>
                    <a:pt x="686041" y="225259"/>
                  </a:lnTo>
                  <a:lnTo>
                    <a:pt x="686041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686041" y="276453"/>
                  </a:lnTo>
                  <a:lnTo>
                    <a:pt x="686041" y="307174"/>
                  </a:lnTo>
                  <a:lnTo>
                    <a:pt x="767956" y="266217"/>
                  </a:lnTo>
                  <a:close/>
                </a:path>
                <a:path w="1300479" h="532765">
                  <a:moveTo>
                    <a:pt x="1300403" y="266217"/>
                  </a:moveTo>
                  <a:lnTo>
                    <a:pt x="1297520" y="227152"/>
                  </a:lnTo>
                  <a:lnTo>
                    <a:pt x="1288935" y="188937"/>
                  </a:lnTo>
                  <a:lnTo>
                    <a:pt x="1274838" y="152387"/>
                  </a:lnTo>
                  <a:lnTo>
                    <a:pt x="1255534" y="118313"/>
                  </a:lnTo>
                  <a:lnTo>
                    <a:pt x="1231430" y="87439"/>
                  </a:lnTo>
                  <a:lnTo>
                    <a:pt x="1203071" y="60426"/>
                  </a:lnTo>
                  <a:lnTo>
                    <a:pt x="1171041" y="37871"/>
                  </a:lnTo>
                  <a:lnTo>
                    <a:pt x="1136053" y="20256"/>
                  </a:lnTo>
                  <a:lnTo>
                    <a:pt x="1098867" y="7975"/>
                  </a:lnTo>
                  <a:lnTo>
                    <a:pt x="1060272" y="1282"/>
                  </a:lnTo>
                  <a:lnTo>
                    <a:pt x="1034173" y="0"/>
                  </a:lnTo>
                  <a:lnTo>
                    <a:pt x="1021118" y="317"/>
                  </a:lnTo>
                  <a:lnTo>
                    <a:pt x="982243" y="5105"/>
                  </a:lnTo>
                  <a:lnTo>
                    <a:pt x="944486" y="15557"/>
                  </a:lnTo>
                  <a:lnTo>
                    <a:pt x="908685" y="31432"/>
                  </a:lnTo>
                  <a:lnTo>
                    <a:pt x="875588" y="52387"/>
                  </a:lnTo>
                  <a:lnTo>
                    <a:pt x="845921" y="77965"/>
                  </a:lnTo>
                  <a:lnTo>
                    <a:pt x="820343" y="107632"/>
                  </a:lnTo>
                  <a:lnTo>
                    <a:pt x="799388" y="140716"/>
                  </a:lnTo>
                  <a:lnTo>
                    <a:pt x="783513" y="176530"/>
                  </a:lnTo>
                  <a:lnTo>
                    <a:pt x="773061" y="214287"/>
                  </a:lnTo>
                  <a:lnTo>
                    <a:pt x="768273" y="253161"/>
                  </a:lnTo>
                  <a:lnTo>
                    <a:pt x="767956" y="266217"/>
                  </a:lnTo>
                  <a:lnTo>
                    <a:pt x="768273" y="279285"/>
                  </a:lnTo>
                  <a:lnTo>
                    <a:pt x="773061" y="318160"/>
                  </a:lnTo>
                  <a:lnTo>
                    <a:pt x="783513" y="355904"/>
                  </a:lnTo>
                  <a:lnTo>
                    <a:pt x="799388" y="391718"/>
                  </a:lnTo>
                  <a:lnTo>
                    <a:pt x="820343" y="424802"/>
                  </a:lnTo>
                  <a:lnTo>
                    <a:pt x="845921" y="454469"/>
                  </a:lnTo>
                  <a:lnTo>
                    <a:pt x="875588" y="480047"/>
                  </a:lnTo>
                  <a:lnTo>
                    <a:pt x="908685" y="501002"/>
                  </a:lnTo>
                  <a:lnTo>
                    <a:pt x="944486" y="516877"/>
                  </a:lnTo>
                  <a:lnTo>
                    <a:pt x="982243" y="527329"/>
                  </a:lnTo>
                  <a:lnTo>
                    <a:pt x="1021118" y="532117"/>
                  </a:lnTo>
                  <a:lnTo>
                    <a:pt x="1034173" y="532447"/>
                  </a:lnTo>
                  <a:lnTo>
                    <a:pt x="1047242" y="532117"/>
                  </a:lnTo>
                  <a:lnTo>
                    <a:pt x="1086116" y="527329"/>
                  </a:lnTo>
                  <a:lnTo>
                    <a:pt x="1123861" y="516877"/>
                  </a:lnTo>
                  <a:lnTo>
                    <a:pt x="1159675" y="501002"/>
                  </a:lnTo>
                  <a:lnTo>
                    <a:pt x="1192771" y="480047"/>
                  </a:lnTo>
                  <a:lnTo>
                    <a:pt x="1222425" y="454469"/>
                  </a:lnTo>
                  <a:lnTo>
                    <a:pt x="1248003" y="424802"/>
                  </a:lnTo>
                  <a:lnTo>
                    <a:pt x="1268958" y="391718"/>
                  </a:lnTo>
                  <a:lnTo>
                    <a:pt x="1284833" y="355904"/>
                  </a:lnTo>
                  <a:lnTo>
                    <a:pt x="1295285" y="318160"/>
                  </a:lnTo>
                  <a:lnTo>
                    <a:pt x="1300073" y="279285"/>
                  </a:lnTo>
                  <a:lnTo>
                    <a:pt x="1300403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5" name="object 295"/>
            <p:cNvSpPr txBox="1"/>
            <p:nvPr/>
          </p:nvSpPr>
          <p:spPr>
            <a:xfrm>
              <a:off x="9233622" y="1256530"/>
              <a:ext cx="1391771" cy="199101"/>
            </a:xfrm>
            <a:prstGeom prst="rect">
              <a:avLst/>
            </a:prstGeom>
            <a:ln w="10239">
              <a:solidFill>
                <a:srgbClr val="E9E9E9"/>
              </a:solidFill>
            </a:ln>
          </p:spPr>
          <p:txBody>
            <a:bodyPr vert="horz" wrap="square" lIns="0" tIns="69476" rIns="0" bIns="0" rtlCol="0">
              <a:spAutoFit/>
            </a:bodyPr>
            <a:lstStyle/>
            <a:p>
              <a:pPr marL="52110">
                <a:spcBef>
                  <a:spcPts val="547"/>
                </a:spcBef>
                <a:tabLst>
                  <a:tab pos="1235514" algn="l"/>
                </a:tabLst>
              </a:pPr>
              <a:r>
                <a:rPr sz="1257" spc="13" baseline="5847" dirty="0">
                  <a:solidFill>
                    <a:srgbClr val="605D5C"/>
                  </a:solidFill>
                  <a:latin typeface="Segoe UI"/>
                  <a:cs typeface="Segoe UI"/>
                </a:rPr>
                <a:t>Home</a:t>
              </a:r>
              <a:r>
                <a:rPr sz="1257" spc="6" baseline="5847" dirty="0">
                  <a:solidFill>
                    <a:srgbClr val="605D5C"/>
                  </a:solidFill>
                  <a:latin typeface="Segoe UI"/>
                  <a:cs typeface="Segoe UI"/>
                </a:rPr>
                <a:t> and</a:t>
              </a:r>
              <a:r>
                <a:rPr sz="1257" spc="13" baseline="5847" dirty="0">
                  <a:solidFill>
                    <a:srgbClr val="605D5C"/>
                  </a:solidFill>
                  <a:latin typeface="Segoe UI"/>
                  <a:cs typeface="Segoe UI"/>
                </a:rPr>
                <a:t> </a:t>
              </a:r>
              <a:r>
                <a:rPr sz="1257" spc="6" baseline="5847" dirty="0">
                  <a:solidFill>
                    <a:srgbClr val="605D5C"/>
                  </a:solidFill>
                  <a:latin typeface="Segoe UI"/>
                  <a:cs typeface="Segoe UI"/>
                </a:rPr>
                <a:t>Kitchen	</a:t>
              </a:r>
              <a:r>
                <a:rPr sz="838" spc="13" dirty="0">
                  <a:solidFill>
                    <a:srgbClr val="605D5C"/>
                  </a:solidFill>
                  <a:latin typeface="Segoe MDL2 Assets"/>
                  <a:cs typeface="Segoe MDL2 Assets"/>
                </a:rPr>
                <a:t></a:t>
              </a:r>
              <a:endParaRPr sz="838" dirty="0">
                <a:latin typeface="Segoe MDL2 Assets"/>
                <a:cs typeface="Segoe MDL2 Assets"/>
              </a:endParaRPr>
            </a:p>
          </p:txBody>
        </p:sp>
        <p:sp>
          <p:nvSpPr>
            <p:cNvPr id="322" name="object 322"/>
            <p:cNvSpPr/>
            <p:nvPr/>
          </p:nvSpPr>
          <p:spPr>
            <a:xfrm>
              <a:off x="6694882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3" name="object 323"/>
            <p:cNvSpPr/>
            <p:nvPr/>
          </p:nvSpPr>
          <p:spPr>
            <a:xfrm>
              <a:off x="6749158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9" name="object 339"/>
            <p:cNvSpPr/>
            <p:nvPr/>
          </p:nvSpPr>
          <p:spPr>
            <a:xfrm>
              <a:off x="6694882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0" name="object 340"/>
            <p:cNvSpPr/>
            <p:nvPr/>
          </p:nvSpPr>
          <p:spPr>
            <a:xfrm>
              <a:off x="6749158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6" name="object 356"/>
            <p:cNvSpPr/>
            <p:nvPr/>
          </p:nvSpPr>
          <p:spPr>
            <a:xfrm>
              <a:off x="6694882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7" name="object 357"/>
            <p:cNvSpPr/>
            <p:nvPr/>
          </p:nvSpPr>
          <p:spPr>
            <a:xfrm>
              <a:off x="6749158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4" name="object 384"/>
            <p:cNvSpPr/>
            <p:nvPr/>
          </p:nvSpPr>
          <p:spPr>
            <a:xfrm>
              <a:off x="6694882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5" name="object 385"/>
            <p:cNvSpPr/>
            <p:nvPr/>
          </p:nvSpPr>
          <p:spPr>
            <a:xfrm>
              <a:off x="6749158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7" name="object 427"/>
            <p:cNvSpPr/>
            <p:nvPr/>
          </p:nvSpPr>
          <p:spPr>
            <a:xfrm>
              <a:off x="669488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8" name="object 428"/>
            <p:cNvSpPr/>
            <p:nvPr/>
          </p:nvSpPr>
          <p:spPr>
            <a:xfrm>
              <a:off x="6749158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43" name="object 289"/>
            <p:cNvSpPr txBox="1"/>
            <p:nvPr/>
          </p:nvSpPr>
          <p:spPr>
            <a:xfrm>
              <a:off x="9380960" y="5947309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</a:t>
              </a:r>
              <a:r>
                <a:rPr lang="en-US"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07</a:t>
              </a: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x</a:t>
              </a:r>
              <a:endParaRPr sz="838" dirty="0">
                <a:latin typeface="Segoe UI"/>
                <a:cs typeface="Segoe UI"/>
              </a:endParaRPr>
            </a:p>
          </p:txBody>
        </p:sp>
      </p:grpSp>
      <p:grpSp>
        <p:nvGrpSpPr>
          <p:cNvPr id="447" name="Group 446">
            <a:extLst>
              <a:ext uri="{FF2B5EF4-FFF2-40B4-BE49-F238E27FC236}">
                <a16:creationId xmlns:a16="http://schemas.microsoft.com/office/drawing/2014/main" id="{E24883F3-C44D-4616-97E9-C4DC557E7A40}"/>
              </a:ext>
            </a:extLst>
          </p:cNvPr>
          <p:cNvGrpSpPr/>
          <p:nvPr/>
        </p:nvGrpSpPr>
        <p:grpSpPr>
          <a:xfrm>
            <a:off x="408869" y="2628746"/>
            <a:ext cx="2854161" cy="4041968"/>
            <a:chOff x="352547" y="2598108"/>
            <a:chExt cx="2854161" cy="4041968"/>
          </a:xfrm>
        </p:grpSpPr>
        <p:sp>
          <p:nvSpPr>
            <p:cNvPr id="87" name="object 87"/>
            <p:cNvSpPr txBox="1"/>
            <p:nvPr/>
          </p:nvSpPr>
          <p:spPr>
            <a:xfrm>
              <a:off x="686545" y="2598108"/>
              <a:ext cx="2258786" cy="443651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algn="ctr">
                <a:spcBef>
                  <a:spcPts val="124"/>
                </a:spcBef>
              </a:pPr>
              <a:r>
                <a:rPr sz="1103" b="1" spc="53" dirty="0">
                  <a:solidFill>
                    <a:srgbClr val="252423"/>
                  </a:solidFill>
                  <a:latin typeface="Arial Narrow"/>
                  <a:cs typeface="Arial Narrow"/>
                </a:rPr>
                <a:t>Percentage of Ratings </a:t>
              </a:r>
              <a:r>
                <a:rPr sz="1103" b="1" spc="62" dirty="0">
                  <a:solidFill>
                    <a:srgbClr val="252423"/>
                  </a:solidFill>
                  <a:latin typeface="Arial Narrow"/>
                  <a:cs typeface="Arial Narrow"/>
                </a:rPr>
                <a:t>by</a:t>
              </a:r>
              <a:r>
                <a:rPr sz="1103" b="1" spc="-159" dirty="0">
                  <a:solidFill>
                    <a:srgbClr val="252423"/>
                  </a:solidFill>
                  <a:latin typeface="Arial Narrow"/>
                  <a:cs typeface="Arial Narrow"/>
                </a:rPr>
                <a:t> </a:t>
              </a:r>
              <a:r>
                <a:rPr sz="1103" b="1" spc="53" dirty="0">
                  <a:solidFill>
                    <a:srgbClr val="252423"/>
                  </a:solidFill>
                  <a:latin typeface="Arial Narrow"/>
                  <a:cs typeface="Arial Narrow"/>
                </a:rPr>
                <a:t>Category</a:t>
              </a:r>
              <a:endParaRPr sz="1103" b="1" dirty="0">
                <a:latin typeface="Arial Narrow"/>
                <a:cs typeface="Arial Narrow"/>
              </a:endParaRPr>
            </a:p>
            <a:p>
              <a:pPr marR="38662" algn="ctr">
                <a:spcBef>
                  <a:spcPts val="913"/>
                </a:spcBef>
                <a:tabLst>
                  <a:tab pos="558083" algn="l"/>
                  <a:tab pos="787255" algn="l"/>
                  <a:tab pos="1016428" algn="l"/>
                  <a:tab pos="1245600" algn="l"/>
                  <a:tab pos="1475333" algn="l"/>
                </a:tabLst>
              </a:pPr>
              <a:r>
                <a:rPr sz="927" b="1" spc="9" dirty="0">
                  <a:solidFill>
                    <a:srgbClr val="605D5C"/>
                  </a:solidFill>
                  <a:latin typeface="Segoe UI"/>
                  <a:cs typeface="Segoe UI"/>
                </a:rPr>
                <a:t>Rating	</a:t>
              </a:r>
              <a:r>
                <a:rPr sz="927" spc="9" dirty="0">
                  <a:solidFill>
                    <a:srgbClr val="605D5C"/>
                  </a:solidFill>
                  <a:latin typeface="Segoe UI"/>
                  <a:cs typeface="Segoe UI"/>
                </a:rPr>
                <a:t>1	2	3	4	5</a:t>
              </a:r>
              <a:endParaRPr sz="927" dirty="0">
                <a:latin typeface="Segoe UI"/>
                <a:cs typeface="Segoe UI"/>
              </a:endParaRPr>
            </a:p>
          </p:txBody>
        </p:sp>
        <p:grpSp>
          <p:nvGrpSpPr>
            <p:cNvPr id="446" name="Group 445">
              <a:extLst>
                <a:ext uri="{FF2B5EF4-FFF2-40B4-BE49-F238E27FC236}">
                  <a16:creationId xmlns:a16="http://schemas.microsoft.com/office/drawing/2014/main" id="{362CECB9-BC1D-4085-A83A-3E7FC1AF6032}"/>
                </a:ext>
              </a:extLst>
            </p:cNvPr>
            <p:cNvGrpSpPr/>
            <p:nvPr/>
          </p:nvGrpSpPr>
          <p:grpSpPr>
            <a:xfrm>
              <a:off x="352547" y="2926999"/>
              <a:ext cx="2854161" cy="3713077"/>
              <a:chOff x="352547" y="2926999"/>
              <a:chExt cx="2854161" cy="3713077"/>
            </a:xfrm>
          </p:grpSpPr>
          <p:sp>
            <p:nvSpPr>
              <p:cNvPr id="2" name="object 2"/>
              <p:cNvSpPr txBox="1"/>
              <p:nvPr/>
            </p:nvSpPr>
            <p:spPr>
              <a:xfrm>
                <a:off x="669021" y="6005123"/>
                <a:ext cx="16976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0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3" name="object 3"/>
              <p:cNvSpPr/>
              <p:nvPr/>
            </p:nvSpPr>
            <p:spPr>
              <a:xfrm>
                <a:off x="917995" y="5505033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4" name="object 4"/>
              <p:cNvSpPr/>
              <p:nvPr/>
            </p:nvSpPr>
            <p:spPr>
              <a:xfrm>
                <a:off x="972262" y="5505033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5" name="object 5"/>
              <p:cNvSpPr/>
              <p:nvPr/>
            </p:nvSpPr>
            <p:spPr>
              <a:xfrm>
                <a:off x="1026528" y="5505033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6" name="object 6"/>
              <p:cNvSpPr/>
              <p:nvPr/>
            </p:nvSpPr>
            <p:spPr>
              <a:xfrm>
                <a:off x="1080795" y="5505033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7" name="object 7"/>
              <p:cNvSpPr/>
              <p:nvPr/>
            </p:nvSpPr>
            <p:spPr>
              <a:xfrm>
                <a:off x="1731991" y="5505033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8" name="object 8"/>
              <p:cNvSpPr/>
              <p:nvPr/>
            </p:nvSpPr>
            <p:spPr>
              <a:xfrm>
                <a:off x="2383187" y="5505033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9" name="object 9"/>
              <p:cNvSpPr/>
              <p:nvPr/>
            </p:nvSpPr>
            <p:spPr>
              <a:xfrm>
                <a:off x="3034384" y="5505033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0" name="object 10"/>
              <p:cNvSpPr/>
              <p:nvPr/>
            </p:nvSpPr>
            <p:spPr>
              <a:xfrm>
                <a:off x="3088650" y="5505033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1" name="object 11"/>
              <p:cNvSpPr/>
              <p:nvPr/>
            </p:nvSpPr>
            <p:spPr>
              <a:xfrm>
                <a:off x="3142917" y="5505033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2" name="object 12"/>
              <p:cNvSpPr/>
              <p:nvPr/>
            </p:nvSpPr>
            <p:spPr>
              <a:xfrm>
                <a:off x="3197183" y="5505033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4" name="object 14"/>
              <p:cNvSpPr txBox="1"/>
              <p:nvPr/>
            </p:nvSpPr>
            <p:spPr>
              <a:xfrm>
                <a:off x="610515" y="5424662"/>
                <a:ext cx="22859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20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15" name="object 15"/>
              <p:cNvSpPr/>
              <p:nvPr/>
            </p:nvSpPr>
            <p:spPr>
              <a:xfrm>
                <a:off x="917995" y="4924570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" name="object 16"/>
              <p:cNvSpPr/>
              <p:nvPr/>
            </p:nvSpPr>
            <p:spPr>
              <a:xfrm>
                <a:off x="972262" y="4924570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7" name="object 17"/>
              <p:cNvSpPr/>
              <p:nvPr/>
            </p:nvSpPr>
            <p:spPr>
              <a:xfrm>
                <a:off x="1026528" y="4924570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8" name="object 18"/>
              <p:cNvSpPr/>
              <p:nvPr/>
            </p:nvSpPr>
            <p:spPr>
              <a:xfrm>
                <a:off x="1080795" y="4924570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9" name="object 19"/>
              <p:cNvSpPr/>
              <p:nvPr/>
            </p:nvSpPr>
            <p:spPr>
              <a:xfrm>
                <a:off x="1731991" y="4924570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" name="object 20"/>
              <p:cNvSpPr/>
              <p:nvPr/>
            </p:nvSpPr>
            <p:spPr>
              <a:xfrm>
                <a:off x="2383187" y="4924570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1" name="object 21"/>
              <p:cNvSpPr/>
              <p:nvPr/>
            </p:nvSpPr>
            <p:spPr>
              <a:xfrm>
                <a:off x="3034384" y="4924570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2" name="object 22"/>
              <p:cNvSpPr/>
              <p:nvPr/>
            </p:nvSpPr>
            <p:spPr>
              <a:xfrm>
                <a:off x="3088650" y="4924570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3" name="object 23"/>
              <p:cNvSpPr/>
              <p:nvPr/>
            </p:nvSpPr>
            <p:spPr>
              <a:xfrm>
                <a:off x="3142917" y="4924570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4" name="object 24"/>
              <p:cNvSpPr/>
              <p:nvPr/>
            </p:nvSpPr>
            <p:spPr>
              <a:xfrm>
                <a:off x="3197183" y="4924570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6" name="object 26"/>
              <p:cNvSpPr txBox="1"/>
              <p:nvPr/>
            </p:nvSpPr>
            <p:spPr>
              <a:xfrm>
                <a:off x="610515" y="4844200"/>
                <a:ext cx="22859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40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27" name="object 27"/>
              <p:cNvSpPr/>
              <p:nvPr/>
            </p:nvSpPr>
            <p:spPr>
              <a:xfrm>
                <a:off x="917995" y="4344109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8" name="object 28"/>
              <p:cNvSpPr/>
              <p:nvPr/>
            </p:nvSpPr>
            <p:spPr>
              <a:xfrm>
                <a:off x="972262" y="4344109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9" name="object 29"/>
              <p:cNvSpPr/>
              <p:nvPr/>
            </p:nvSpPr>
            <p:spPr>
              <a:xfrm>
                <a:off x="1026528" y="4344109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" name="object 30"/>
              <p:cNvSpPr/>
              <p:nvPr/>
            </p:nvSpPr>
            <p:spPr>
              <a:xfrm>
                <a:off x="1080795" y="4344109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" name="object 31"/>
              <p:cNvSpPr/>
              <p:nvPr/>
            </p:nvSpPr>
            <p:spPr>
              <a:xfrm>
                <a:off x="1731991" y="4344109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2" name="object 32"/>
              <p:cNvSpPr/>
              <p:nvPr/>
            </p:nvSpPr>
            <p:spPr>
              <a:xfrm>
                <a:off x="2383187" y="4344109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3" name="object 33"/>
              <p:cNvSpPr/>
              <p:nvPr/>
            </p:nvSpPr>
            <p:spPr>
              <a:xfrm>
                <a:off x="3034384" y="4344109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4" name="object 34"/>
              <p:cNvSpPr/>
              <p:nvPr/>
            </p:nvSpPr>
            <p:spPr>
              <a:xfrm>
                <a:off x="3088650" y="4344109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5" name="object 35"/>
              <p:cNvSpPr/>
              <p:nvPr/>
            </p:nvSpPr>
            <p:spPr>
              <a:xfrm>
                <a:off x="3142917" y="4344109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6" name="object 36"/>
              <p:cNvSpPr/>
              <p:nvPr/>
            </p:nvSpPr>
            <p:spPr>
              <a:xfrm>
                <a:off x="3197183" y="4344109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8" name="object 38"/>
              <p:cNvSpPr txBox="1"/>
              <p:nvPr/>
            </p:nvSpPr>
            <p:spPr>
              <a:xfrm>
                <a:off x="610515" y="4263738"/>
                <a:ext cx="22859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60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39" name="object 39"/>
              <p:cNvSpPr/>
              <p:nvPr/>
            </p:nvSpPr>
            <p:spPr>
              <a:xfrm>
                <a:off x="917995" y="376364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40" name="object 40"/>
              <p:cNvSpPr/>
              <p:nvPr/>
            </p:nvSpPr>
            <p:spPr>
              <a:xfrm>
                <a:off x="972262" y="376364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41" name="object 41"/>
              <p:cNvSpPr/>
              <p:nvPr/>
            </p:nvSpPr>
            <p:spPr>
              <a:xfrm>
                <a:off x="1026528" y="376364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42" name="object 42"/>
              <p:cNvSpPr/>
              <p:nvPr/>
            </p:nvSpPr>
            <p:spPr>
              <a:xfrm>
                <a:off x="1080795" y="376364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43" name="object 43"/>
              <p:cNvSpPr/>
              <p:nvPr/>
            </p:nvSpPr>
            <p:spPr>
              <a:xfrm>
                <a:off x="1731991" y="376364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44" name="object 44"/>
              <p:cNvSpPr/>
              <p:nvPr/>
            </p:nvSpPr>
            <p:spPr>
              <a:xfrm>
                <a:off x="2383187" y="376364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45" name="object 45"/>
              <p:cNvSpPr/>
              <p:nvPr/>
            </p:nvSpPr>
            <p:spPr>
              <a:xfrm>
                <a:off x="3034384" y="376364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46" name="object 46"/>
              <p:cNvSpPr/>
              <p:nvPr/>
            </p:nvSpPr>
            <p:spPr>
              <a:xfrm>
                <a:off x="3088650" y="376364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47" name="object 47"/>
              <p:cNvSpPr/>
              <p:nvPr/>
            </p:nvSpPr>
            <p:spPr>
              <a:xfrm>
                <a:off x="3142917" y="376364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48" name="object 48"/>
              <p:cNvSpPr/>
              <p:nvPr/>
            </p:nvSpPr>
            <p:spPr>
              <a:xfrm>
                <a:off x="3197183" y="376364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50" name="object 50"/>
              <p:cNvSpPr txBox="1"/>
              <p:nvPr/>
            </p:nvSpPr>
            <p:spPr>
              <a:xfrm>
                <a:off x="610515" y="3683277"/>
                <a:ext cx="22859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80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51" name="object 51"/>
              <p:cNvSpPr/>
              <p:nvPr/>
            </p:nvSpPr>
            <p:spPr>
              <a:xfrm>
                <a:off x="917995" y="3183186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52" name="object 52"/>
              <p:cNvSpPr/>
              <p:nvPr/>
            </p:nvSpPr>
            <p:spPr>
              <a:xfrm>
                <a:off x="972262" y="3183186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53" name="object 53"/>
              <p:cNvSpPr/>
              <p:nvPr/>
            </p:nvSpPr>
            <p:spPr>
              <a:xfrm>
                <a:off x="1026528" y="3183186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54" name="object 54"/>
              <p:cNvSpPr/>
              <p:nvPr/>
            </p:nvSpPr>
            <p:spPr>
              <a:xfrm>
                <a:off x="1080795" y="3183186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55" name="object 55"/>
              <p:cNvSpPr/>
              <p:nvPr/>
            </p:nvSpPr>
            <p:spPr>
              <a:xfrm>
                <a:off x="1731991" y="3183186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56" name="object 56"/>
              <p:cNvSpPr/>
              <p:nvPr/>
            </p:nvSpPr>
            <p:spPr>
              <a:xfrm>
                <a:off x="2383187" y="3183186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57" name="object 57"/>
              <p:cNvSpPr/>
              <p:nvPr/>
            </p:nvSpPr>
            <p:spPr>
              <a:xfrm>
                <a:off x="3034384" y="3183186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58" name="object 58"/>
              <p:cNvSpPr/>
              <p:nvPr/>
            </p:nvSpPr>
            <p:spPr>
              <a:xfrm>
                <a:off x="3088650" y="3183186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59" name="object 59"/>
              <p:cNvSpPr/>
              <p:nvPr/>
            </p:nvSpPr>
            <p:spPr>
              <a:xfrm>
                <a:off x="3142917" y="3183186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4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60" name="object 60"/>
              <p:cNvSpPr/>
              <p:nvPr/>
            </p:nvSpPr>
            <p:spPr>
              <a:xfrm>
                <a:off x="3197183" y="3183186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0795">
                    <a:moveTo>
                      <a:pt x="10250" y="10233"/>
                    </a:moveTo>
                    <a:lnTo>
                      <a:pt x="0" y="10233"/>
                    </a:lnTo>
                    <a:lnTo>
                      <a:pt x="0" y="0"/>
                    </a:lnTo>
                    <a:lnTo>
                      <a:pt x="10250" y="0"/>
                    </a:lnTo>
                    <a:lnTo>
                      <a:pt x="10250" y="10233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62" name="object 62"/>
              <p:cNvSpPr txBox="1"/>
              <p:nvPr/>
            </p:nvSpPr>
            <p:spPr>
              <a:xfrm>
                <a:off x="552008" y="3102815"/>
                <a:ext cx="286871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100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63" name="object 63"/>
              <p:cNvSpPr txBox="1"/>
              <p:nvPr/>
            </p:nvSpPr>
            <p:spPr>
              <a:xfrm>
                <a:off x="1590347" y="6454508"/>
                <a:ext cx="1005728" cy="185568"/>
              </a:xfrm>
              <a:prstGeom prst="rect">
                <a:avLst/>
              </a:prstGeom>
            </p:spPr>
            <p:txBody>
              <a:bodyPr vert="horz" wrap="square" lIns="0" tIns="15688" rIns="0" bIns="0" rtlCol="0">
                <a:spAutoFit/>
              </a:bodyPr>
              <a:lstStyle/>
              <a:p>
                <a:pPr marL="11206">
                  <a:spcBef>
                    <a:spcPts val="124"/>
                  </a:spcBef>
                </a:pPr>
                <a:r>
                  <a:rPr sz="1103" spc="62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Review</a:t>
                </a:r>
                <a:r>
                  <a:rPr sz="1103" spc="-49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 </a:t>
                </a:r>
                <a:r>
                  <a:rPr sz="1103" spc="57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Category</a:t>
                </a:r>
                <a:endParaRPr sz="1103" dirty="0">
                  <a:latin typeface="Arial Narrow"/>
                  <a:cs typeface="Arial Narrow"/>
                </a:endParaRPr>
              </a:p>
            </p:txBody>
          </p:sp>
          <p:sp>
            <p:nvSpPr>
              <p:cNvPr id="64" name="object 64"/>
              <p:cNvSpPr txBox="1"/>
              <p:nvPr/>
            </p:nvSpPr>
            <p:spPr>
              <a:xfrm>
                <a:off x="352547" y="4098480"/>
                <a:ext cx="153888" cy="1080807"/>
              </a:xfrm>
              <a:prstGeom prst="rect">
                <a:avLst/>
              </a:prstGeom>
            </p:spPr>
            <p:txBody>
              <a:bodyPr vert="vert270" wrap="square" lIns="0" tIns="0" rIns="0" bIns="0" rtlCol="0">
                <a:spAutoFit/>
              </a:bodyPr>
              <a:lstStyle/>
              <a:p>
                <a:pPr marL="11206">
                  <a:lnSpc>
                    <a:spcPts val="1204"/>
                  </a:lnSpc>
                </a:pPr>
                <a:r>
                  <a:rPr sz="1147" spc="31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Rating</a:t>
                </a:r>
                <a:r>
                  <a:rPr sz="1147" spc="-35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 </a:t>
                </a:r>
                <a:r>
                  <a:rPr sz="1147" spc="31" dirty="0">
                    <a:solidFill>
                      <a:srgbClr val="252423"/>
                    </a:solidFill>
                    <a:latin typeface="Arial Narrow"/>
                    <a:cs typeface="Arial Narrow"/>
                  </a:rPr>
                  <a:t>Percentage</a:t>
                </a:r>
                <a:endParaRPr sz="1147" dirty="0">
                  <a:latin typeface="Arial Narrow"/>
                  <a:cs typeface="Arial Narrow"/>
                </a:endParaRPr>
              </a:p>
            </p:txBody>
          </p:sp>
          <p:sp>
            <p:nvSpPr>
              <p:cNvPr id="65" name="object 65"/>
              <p:cNvSpPr txBox="1"/>
              <p:nvPr/>
            </p:nvSpPr>
            <p:spPr>
              <a:xfrm>
                <a:off x="1178487" y="6170873"/>
                <a:ext cx="1070722" cy="302112"/>
              </a:xfrm>
              <a:prstGeom prst="rect">
                <a:avLst/>
              </a:prstGeom>
            </p:spPr>
            <p:txBody>
              <a:bodyPr vert="horz" wrap="square" lIns="0" tIns="10646" rIns="0" bIns="0" rtlCol="0">
                <a:spAutoFit/>
              </a:bodyPr>
              <a:lstStyle/>
              <a:p>
                <a:pPr marL="83488" marR="4483" indent="-72842">
                  <a:lnSpc>
                    <a:spcPct val="113199"/>
                  </a:lnSpc>
                  <a:spcBef>
                    <a:spcPts val="84"/>
                  </a:spcBef>
                  <a:tabLst>
                    <a:tab pos="769885" algn="l"/>
                  </a:tabLst>
                </a:pP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Home</a:t>
                </a:r>
                <a:r>
                  <a:rPr sz="838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 </a:t>
                </a: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and</a:t>
                </a:r>
                <a:r>
                  <a:rPr sz="838" dirty="0">
                    <a:solidFill>
                      <a:srgbClr val="605D5C"/>
                    </a:solidFill>
                    <a:latin typeface="Segoe UI"/>
                    <a:cs typeface="Segoe UI"/>
                  </a:rPr>
                  <a:t>	</a:t>
                </a:r>
                <a:r>
                  <a:rPr sz="838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Books  Kitchen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66" name="object 66"/>
              <p:cNvSpPr txBox="1"/>
              <p:nvPr/>
            </p:nvSpPr>
            <p:spPr>
              <a:xfrm>
                <a:off x="2571792" y="6170873"/>
                <a:ext cx="348503" cy="302112"/>
              </a:xfrm>
              <a:prstGeom prst="rect">
                <a:avLst/>
              </a:prstGeom>
            </p:spPr>
            <p:txBody>
              <a:bodyPr vert="horz" wrap="square" lIns="0" tIns="10646" rIns="0" bIns="0" rtlCol="0">
                <a:spAutoFit/>
              </a:bodyPr>
              <a:lstStyle/>
              <a:p>
                <a:pPr marL="11206" marR="4483" indent="23534">
                  <a:lnSpc>
                    <a:spcPct val="113199"/>
                  </a:lnSpc>
                  <a:spcBef>
                    <a:spcPts val="84"/>
                  </a:spcBef>
                </a:pPr>
                <a:r>
                  <a:rPr sz="838" spc="4" dirty="0">
                    <a:solidFill>
                      <a:srgbClr val="605D5C"/>
                    </a:solidFill>
                    <a:latin typeface="Segoe UI"/>
                    <a:cs typeface="Segoe UI"/>
                  </a:rPr>
                  <a:t>Video  </a:t>
                </a:r>
                <a:r>
                  <a:rPr sz="838" spc="9" dirty="0">
                    <a:solidFill>
                      <a:srgbClr val="605D5C"/>
                    </a:solidFill>
                    <a:latin typeface="Segoe UI"/>
                    <a:cs typeface="Segoe UI"/>
                  </a:rPr>
                  <a:t>Games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67" name="object 67"/>
              <p:cNvSpPr txBox="1"/>
              <p:nvPr/>
            </p:nvSpPr>
            <p:spPr>
              <a:xfrm>
                <a:off x="1341665" y="5896980"/>
                <a:ext cx="16976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FFFFFF"/>
                    </a:solidFill>
                    <a:latin typeface="Segoe UI"/>
                    <a:cs typeface="Segoe UI"/>
                  </a:rPr>
                  <a:t>9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68" name="object 68"/>
              <p:cNvSpPr txBox="1"/>
              <p:nvPr/>
            </p:nvSpPr>
            <p:spPr>
              <a:xfrm>
                <a:off x="1994518" y="5950987"/>
                <a:ext cx="16976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FFFFFF"/>
                    </a:solidFill>
                    <a:latin typeface="Segoe UI"/>
                    <a:cs typeface="Segoe UI"/>
                  </a:rPr>
                  <a:t>5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69" name="object 69"/>
              <p:cNvSpPr txBox="1"/>
              <p:nvPr/>
            </p:nvSpPr>
            <p:spPr>
              <a:xfrm>
                <a:off x="2647371" y="5914984"/>
                <a:ext cx="16976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FFFFFF"/>
                    </a:solidFill>
                    <a:latin typeface="Segoe UI"/>
                    <a:cs typeface="Segoe UI"/>
                  </a:rPr>
                  <a:t>7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70" name="object 70"/>
              <p:cNvSpPr txBox="1"/>
              <p:nvPr/>
            </p:nvSpPr>
            <p:spPr>
              <a:xfrm>
                <a:off x="1341665" y="5679235"/>
                <a:ext cx="16976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FFFFFF"/>
                    </a:solidFill>
                    <a:latin typeface="Segoe UI"/>
                    <a:cs typeface="Segoe UI"/>
                  </a:rPr>
                  <a:t>6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71" name="object 71"/>
              <p:cNvSpPr txBox="1"/>
              <p:nvPr/>
            </p:nvSpPr>
            <p:spPr>
              <a:xfrm>
                <a:off x="1994518" y="5782190"/>
                <a:ext cx="16976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FFFFFF"/>
                    </a:solidFill>
                    <a:latin typeface="Segoe UI"/>
                    <a:cs typeface="Segoe UI"/>
                  </a:rPr>
                  <a:t>7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72" name="object 72"/>
              <p:cNvSpPr txBox="1"/>
              <p:nvPr/>
            </p:nvSpPr>
            <p:spPr>
              <a:xfrm>
                <a:off x="2647371" y="5699506"/>
                <a:ext cx="16976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FFFFFF"/>
                    </a:solidFill>
                    <a:latin typeface="Segoe UI"/>
                    <a:cs typeface="Segoe UI"/>
                  </a:rPr>
                  <a:t>8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73" name="object 73"/>
              <p:cNvSpPr txBox="1"/>
              <p:nvPr/>
            </p:nvSpPr>
            <p:spPr>
              <a:xfrm>
                <a:off x="1312412" y="5440725"/>
                <a:ext cx="22859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FFFFFF"/>
                    </a:solidFill>
                    <a:latin typeface="Segoe UI"/>
                    <a:cs typeface="Segoe UI"/>
                  </a:rPr>
                  <a:t>10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74" name="object 74"/>
              <p:cNvSpPr txBox="1"/>
              <p:nvPr/>
            </p:nvSpPr>
            <p:spPr>
              <a:xfrm>
                <a:off x="1965265" y="5495118"/>
                <a:ext cx="22859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FFFFFF"/>
                    </a:solidFill>
                    <a:latin typeface="Segoe UI"/>
                    <a:cs typeface="Segoe UI"/>
                  </a:rPr>
                  <a:t>13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75" name="object 75"/>
              <p:cNvSpPr txBox="1"/>
              <p:nvPr/>
            </p:nvSpPr>
            <p:spPr>
              <a:xfrm>
                <a:off x="2618117" y="5369489"/>
                <a:ext cx="22859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FFFFFF"/>
                    </a:solidFill>
                    <a:latin typeface="Segoe UI"/>
                    <a:cs typeface="Segoe UI"/>
                  </a:rPr>
                  <a:t>15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76" name="object 76"/>
              <p:cNvSpPr txBox="1"/>
              <p:nvPr/>
            </p:nvSpPr>
            <p:spPr>
              <a:xfrm>
                <a:off x="1312412" y="5017034"/>
                <a:ext cx="22859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FFFFFF"/>
                    </a:solidFill>
                    <a:latin typeface="Segoe UI"/>
                    <a:cs typeface="Segoe UI"/>
                  </a:rPr>
                  <a:t>19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77" name="object 77"/>
              <p:cNvSpPr txBox="1"/>
              <p:nvPr/>
            </p:nvSpPr>
            <p:spPr>
              <a:xfrm>
                <a:off x="1965265" y="4936713"/>
                <a:ext cx="22859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FFFFFF"/>
                    </a:solidFill>
                    <a:latin typeface="Segoe UI"/>
                    <a:cs typeface="Segoe UI"/>
                  </a:rPr>
                  <a:t>26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78" name="object 78"/>
              <p:cNvSpPr txBox="1"/>
              <p:nvPr/>
            </p:nvSpPr>
            <p:spPr>
              <a:xfrm>
                <a:off x="2618117" y="4763193"/>
                <a:ext cx="22859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FFFFFF"/>
                    </a:solidFill>
                    <a:latin typeface="Segoe UI"/>
                    <a:cs typeface="Segoe UI"/>
                  </a:rPr>
                  <a:t>27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79" name="object 79"/>
              <p:cNvSpPr txBox="1"/>
              <p:nvPr/>
            </p:nvSpPr>
            <p:spPr>
              <a:xfrm>
                <a:off x="1312412" y="3928473"/>
                <a:ext cx="22859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FFFFFF"/>
                    </a:solidFill>
                    <a:latin typeface="Segoe UI"/>
                    <a:cs typeface="Segoe UI"/>
                  </a:rPr>
                  <a:t>56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80" name="object 80"/>
              <p:cNvSpPr txBox="1"/>
              <p:nvPr/>
            </p:nvSpPr>
            <p:spPr>
              <a:xfrm>
                <a:off x="1965265" y="3842707"/>
                <a:ext cx="22859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FFFFFF"/>
                    </a:solidFill>
                    <a:latin typeface="Segoe UI"/>
                    <a:cs typeface="Segoe UI"/>
                  </a:rPr>
                  <a:t>50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81" name="object 81"/>
              <p:cNvSpPr txBox="1"/>
              <p:nvPr/>
            </p:nvSpPr>
            <p:spPr>
              <a:xfrm>
                <a:off x="2618117" y="3748138"/>
                <a:ext cx="228599" cy="141958"/>
              </a:xfrm>
              <a:prstGeom prst="rect">
                <a:avLst/>
              </a:prstGeom>
            </p:spPr>
            <p:txBody>
              <a:bodyPr vert="horz" wrap="square" lIns="0" tIns="12886" rIns="0" bIns="0" rtlCol="0">
                <a:spAutoFit/>
              </a:bodyPr>
              <a:lstStyle/>
              <a:p>
                <a:pPr marL="11206">
                  <a:spcBef>
                    <a:spcPts val="101"/>
                  </a:spcBef>
                </a:pPr>
                <a:r>
                  <a:rPr sz="838" spc="9" dirty="0">
                    <a:solidFill>
                      <a:srgbClr val="FFFFFF"/>
                    </a:solidFill>
                    <a:latin typeface="Segoe UI"/>
                    <a:cs typeface="Segoe UI"/>
                  </a:rPr>
                  <a:t>43%</a:t>
                </a:r>
                <a:endParaRPr sz="838" dirty="0">
                  <a:latin typeface="Segoe UI"/>
                  <a:cs typeface="Segoe UI"/>
                </a:endParaRPr>
              </a:p>
            </p:txBody>
          </p:sp>
          <p:sp>
            <p:nvSpPr>
              <p:cNvPr id="82" name="object 82"/>
              <p:cNvSpPr/>
              <p:nvPr/>
            </p:nvSpPr>
            <p:spPr>
              <a:xfrm>
                <a:off x="1470714" y="2926999"/>
                <a:ext cx="89416" cy="89336"/>
              </a:xfrm>
              <a:prstGeom prst="rect">
                <a:avLst/>
              </a:prstGeom>
              <a:blipFill>
                <a:blip r:embed="rId9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83" name="object 83"/>
              <p:cNvSpPr/>
              <p:nvPr/>
            </p:nvSpPr>
            <p:spPr>
              <a:xfrm>
                <a:off x="1696583" y="2926999"/>
                <a:ext cx="89416" cy="89336"/>
              </a:xfrm>
              <a:prstGeom prst="rect">
                <a:avLst/>
              </a:prstGeom>
              <a:blipFill>
                <a:blip r:embed="rId10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84" name="object 84"/>
              <p:cNvSpPr/>
              <p:nvPr/>
            </p:nvSpPr>
            <p:spPr>
              <a:xfrm>
                <a:off x="1923246" y="2926999"/>
                <a:ext cx="96866" cy="89336"/>
              </a:xfrm>
              <a:prstGeom prst="rect">
                <a:avLst/>
              </a:prstGeom>
              <a:blipFill>
                <a:blip r:embed="rId11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85" name="object 85"/>
              <p:cNvSpPr/>
              <p:nvPr/>
            </p:nvSpPr>
            <p:spPr>
              <a:xfrm>
                <a:off x="2157355" y="2926999"/>
                <a:ext cx="89416" cy="89336"/>
              </a:xfrm>
              <a:prstGeom prst="rect">
                <a:avLst/>
              </a:prstGeom>
              <a:blipFill>
                <a:blip r:embed="rId12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86" name="object 86"/>
              <p:cNvSpPr/>
              <p:nvPr/>
            </p:nvSpPr>
            <p:spPr>
              <a:xfrm>
                <a:off x="2383223" y="2926999"/>
                <a:ext cx="89416" cy="89336"/>
              </a:xfrm>
              <a:prstGeom prst="rect">
                <a:avLst/>
              </a:prstGeom>
              <a:blipFill>
                <a:blip r:embed="rId1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pic>
            <p:nvPicPr>
              <p:cNvPr id="444" name="Picture 443"/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1143964" y="3156216"/>
                <a:ext cx="1833096" cy="2978577"/>
              </a:xfrm>
              <a:prstGeom prst="rect">
                <a:avLst/>
              </a:prstGeom>
            </p:spPr>
          </p:pic>
        </p:grpSp>
      </p:grpSp>
      <p:cxnSp>
        <p:nvCxnSpPr>
          <p:cNvPr id="440" name="Google Shape;1480;p34">
            <a:extLst>
              <a:ext uri="{FF2B5EF4-FFF2-40B4-BE49-F238E27FC236}">
                <a16:creationId xmlns:a16="http://schemas.microsoft.com/office/drawing/2014/main" id="{478ACA3E-2FCF-4DF0-9AAE-57F56A6FC4FE}"/>
              </a:ext>
            </a:extLst>
          </p:cNvPr>
          <p:cNvCxnSpPr>
            <a:cxnSpLocks/>
          </p:cNvCxnSpPr>
          <p:nvPr/>
        </p:nvCxnSpPr>
        <p:spPr>
          <a:xfrm>
            <a:off x="156721" y="495782"/>
            <a:ext cx="1017334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45" name="Google Shape;1480;p34">
            <a:extLst>
              <a:ext uri="{FF2B5EF4-FFF2-40B4-BE49-F238E27FC236}">
                <a16:creationId xmlns:a16="http://schemas.microsoft.com/office/drawing/2014/main" id="{696CD815-46CD-4864-AE84-5D6646DEC2E3}"/>
              </a:ext>
            </a:extLst>
          </p:cNvPr>
          <p:cNvCxnSpPr>
            <a:cxnSpLocks/>
          </p:cNvCxnSpPr>
          <p:nvPr/>
        </p:nvCxnSpPr>
        <p:spPr>
          <a:xfrm>
            <a:off x="6419240" y="495782"/>
            <a:ext cx="5573838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456" name="Picture 2" descr="See the source image">
            <a:extLst>
              <a:ext uri="{FF2B5EF4-FFF2-40B4-BE49-F238E27FC236}">
                <a16:creationId xmlns:a16="http://schemas.microsoft.com/office/drawing/2014/main" id="{08B0332D-2D6B-4408-B3FA-F1CFC266E1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4770" y="6358988"/>
            <a:ext cx="1620969" cy="52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7" name="Slide Number Placeholder 456">
            <a:extLst>
              <a:ext uri="{FF2B5EF4-FFF2-40B4-BE49-F238E27FC236}">
                <a16:creationId xmlns:a16="http://schemas.microsoft.com/office/drawing/2014/main" id="{F5E1A018-2454-4AB4-9F27-650206716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4490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6" name="Object 4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36" name="Object 43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44" name="Group 443">
            <a:extLst>
              <a:ext uri="{FF2B5EF4-FFF2-40B4-BE49-F238E27FC236}">
                <a16:creationId xmlns:a16="http://schemas.microsoft.com/office/drawing/2014/main" id="{70F332E1-9F52-4A0E-92B6-7C75FCA8B78F}"/>
              </a:ext>
            </a:extLst>
          </p:cNvPr>
          <p:cNvGrpSpPr/>
          <p:nvPr/>
        </p:nvGrpSpPr>
        <p:grpSpPr>
          <a:xfrm>
            <a:off x="451013" y="847702"/>
            <a:ext cx="2898326" cy="1645171"/>
            <a:chOff x="344560" y="743894"/>
            <a:chExt cx="2898326" cy="1645171"/>
          </a:xfrm>
        </p:grpSpPr>
        <p:sp>
          <p:nvSpPr>
            <p:cNvPr id="88" name="object 88"/>
            <p:cNvSpPr txBox="1"/>
            <p:nvPr/>
          </p:nvSpPr>
          <p:spPr>
            <a:xfrm>
              <a:off x="1011131" y="743894"/>
              <a:ext cx="2098762" cy="215896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marL="11206">
                <a:spcBef>
                  <a:spcPts val="124"/>
                </a:spcBef>
              </a:pPr>
              <a:r>
                <a:rPr sz="1300" b="1" spc="-3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Average </a:t>
              </a:r>
              <a:r>
                <a:rPr sz="1300" b="1" spc="-13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Usefulness </a:t>
              </a:r>
              <a:r>
                <a:rPr sz="1300" b="1" spc="-40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by</a:t>
              </a:r>
              <a:r>
                <a:rPr sz="1300" b="1" spc="-18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300" b="1" spc="-3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ategory</a:t>
              </a:r>
              <a:endParaRPr sz="1300" b="1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89" name="object 89"/>
            <p:cNvSpPr/>
            <p:nvPr/>
          </p:nvSpPr>
          <p:spPr>
            <a:xfrm>
              <a:off x="737108" y="189121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0" name="object 90"/>
            <p:cNvSpPr/>
            <p:nvPr/>
          </p:nvSpPr>
          <p:spPr>
            <a:xfrm>
              <a:off x="791374" y="189121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1" name="object 91"/>
            <p:cNvSpPr/>
            <p:nvPr/>
          </p:nvSpPr>
          <p:spPr>
            <a:xfrm>
              <a:off x="845640" y="189121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2" name="object 92"/>
            <p:cNvSpPr/>
            <p:nvPr/>
          </p:nvSpPr>
          <p:spPr>
            <a:xfrm>
              <a:off x="899906" y="189121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3" name="object 93"/>
            <p:cNvSpPr/>
            <p:nvPr/>
          </p:nvSpPr>
          <p:spPr>
            <a:xfrm>
              <a:off x="954173" y="189121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94" name="object 94"/>
            <p:cNvGrpSpPr/>
            <p:nvPr/>
          </p:nvGrpSpPr>
          <p:grpSpPr>
            <a:xfrm>
              <a:off x="1008439" y="1267179"/>
              <a:ext cx="551890" cy="633132"/>
              <a:chOff x="787297" y="1436136"/>
              <a:chExt cx="625475" cy="717550"/>
            </a:xfrm>
          </p:grpSpPr>
          <p:sp>
            <p:nvSpPr>
              <p:cNvPr id="95" name="object 95"/>
              <p:cNvSpPr/>
              <p:nvPr/>
            </p:nvSpPr>
            <p:spPr>
              <a:xfrm>
                <a:off x="787285" y="1439557"/>
                <a:ext cx="625475" cy="714375"/>
              </a:xfrm>
              <a:custGeom>
                <a:avLst/>
                <a:gdLst/>
                <a:ahLst/>
                <a:cxnLst/>
                <a:rect l="l" t="t" r="r" b="b"/>
                <a:pathLst>
                  <a:path w="625475" h="714375">
                    <a:moveTo>
                      <a:pt x="10261" y="703821"/>
                    </a:moveTo>
                    <a:lnTo>
                      <a:pt x="0" y="703821"/>
                    </a:lnTo>
                    <a:lnTo>
                      <a:pt x="0" y="714057"/>
                    </a:lnTo>
                    <a:lnTo>
                      <a:pt x="10261" y="714057"/>
                    </a:lnTo>
                    <a:lnTo>
                      <a:pt x="10261" y="703821"/>
                    </a:lnTo>
                    <a:close/>
                  </a:path>
                  <a:path w="625475" h="714375">
                    <a:moveTo>
                      <a:pt x="10261" y="0"/>
                    </a:moveTo>
                    <a:lnTo>
                      <a:pt x="0" y="0"/>
                    </a:lnTo>
                    <a:lnTo>
                      <a:pt x="0" y="10223"/>
                    </a:lnTo>
                    <a:lnTo>
                      <a:pt x="10261" y="10223"/>
                    </a:lnTo>
                    <a:lnTo>
                      <a:pt x="10261" y="0"/>
                    </a:lnTo>
                    <a:close/>
                  </a:path>
                  <a:path w="625475" h="714375">
                    <a:moveTo>
                      <a:pt x="71755" y="708939"/>
                    </a:moveTo>
                    <a:lnTo>
                      <a:pt x="61506" y="708939"/>
                    </a:lnTo>
                    <a:lnTo>
                      <a:pt x="61506" y="714057"/>
                    </a:lnTo>
                    <a:lnTo>
                      <a:pt x="71755" y="714057"/>
                    </a:lnTo>
                    <a:lnTo>
                      <a:pt x="71755" y="708939"/>
                    </a:lnTo>
                    <a:close/>
                  </a:path>
                  <a:path w="625475" h="714375">
                    <a:moveTo>
                      <a:pt x="133261" y="708939"/>
                    </a:moveTo>
                    <a:lnTo>
                      <a:pt x="123012" y="708939"/>
                    </a:lnTo>
                    <a:lnTo>
                      <a:pt x="123012" y="714057"/>
                    </a:lnTo>
                    <a:lnTo>
                      <a:pt x="133261" y="714057"/>
                    </a:lnTo>
                    <a:lnTo>
                      <a:pt x="133261" y="708939"/>
                    </a:lnTo>
                    <a:close/>
                  </a:path>
                  <a:path w="625475" h="714375">
                    <a:moveTo>
                      <a:pt x="194767" y="708939"/>
                    </a:moveTo>
                    <a:lnTo>
                      <a:pt x="184505" y="708939"/>
                    </a:lnTo>
                    <a:lnTo>
                      <a:pt x="184505" y="714057"/>
                    </a:lnTo>
                    <a:lnTo>
                      <a:pt x="194767" y="714057"/>
                    </a:lnTo>
                    <a:lnTo>
                      <a:pt x="194767" y="708939"/>
                    </a:lnTo>
                    <a:close/>
                  </a:path>
                  <a:path w="625475" h="714375">
                    <a:moveTo>
                      <a:pt x="256260" y="708939"/>
                    </a:moveTo>
                    <a:lnTo>
                      <a:pt x="246011" y="708939"/>
                    </a:lnTo>
                    <a:lnTo>
                      <a:pt x="246011" y="714057"/>
                    </a:lnTo>
                    <a:lnTo>
                      <a:pt x="256260" y="714057"/>
                    </a:lnTo>
                    <a:lnTo>
                      <a:pt x="256260" y="708939"/>
                    </a:lnTo>
                    <a:close/>
                  </a:path>
                  <a:path w="625475" h="714375">
                    <a:moveTo>
                      <a:pt x="317766" y="708939"/>
                    </a:moveTo>
                    <a:lnTo>
                      <a:pt x="307517" y="708939"/>
                    </a:lnTo>
                    <a:lnTo>
                      <a:pt x="307517" y="714057"/>
                    </a:lnTo>
                    <a:lnTo>
                      <a:pt x="317766" y="714057"/>
                    </a:lnTo>
                    <a:lnTo>
                      <a:pt x="317766" y="708939"/>
                    </a:lnTo>
                    <a:close/>
                  </a:path>
                  <a:path w="625475" h="714375">
                    <a:moveTo>
                      <a:pt x="379272" y="708939"/>
                    </a:moveTo>
                    <a:lnTo>
                      <a:pt x="369011" y="708939"/>
                    </a:lnTo>
                    <a:lnTo>
                      <a:pt x="369011" y="714057"/>
                    </a:lnTo>
                    <a:lnTo>
                      <a:pt x="379272" y="714057"/>
                    </a:lnTo>
                    <a:lnTo>
                      <a:pt x="379272" y="708939"/>
                    </a:lnTo>
                    <a:close/>
                  </a:path>
                  <a:path w="625475" h="714375">
                    <a:moveTo>
                      <a:pt x="440766" y="708939"/>
                    </a:moveTo>
                    <a:lnTo>
                      <a:pt x="430517" y="708939"/>
                    </a:lnTo>
                    <a:lnTo>
                      <a:pt x="430517" y="714057"/>
                    </a:lnTo>
                    <a:lnTo>
                      <a:pt x="440766" y="714057"/>
                    </a:lnTo>
                    <a:lnTo>
                      <a:pt x="440766" y="708939"/>
                    </a:lnTo>
                    <a:close/>
                  </a:path>
                  <a:path w="625475" h="714375">
                    <a:moveTo>
                      <a:pt x="502272" y="708939"/>
                    </a:moveTo>
                    <a:lnTo>
                      <a:pt x="492023" y="708939"/>
                    </a:lnTo>
                    <a:lnTo>
                      <a:pt x="492023" y="714057"/>
                    </a:lnTo>
                    <a:lnTo>
                      <a:pt x="502272" y="714057"/>
                    </a:lnTo>
                    <a:lnTo>
                      <a:pt x="502272" y="708939"/>
                    </a:lnTo>
                    <a:close/>
                  </a:path>
                  <a:path w="625475" h="714375">
                    <a:moveTo>
                      <a:pt x="563778" y="708939"/>
                    </a:moveTo>
                    <a:lnTo>
                      <a:pt x="553516" y="708939"/>
                    </a:lnTo>
                    <a:lnTo>
                      <a:pt x="553516" y="714057"/>
                    </a:lnTo>
                    <a:lnTo>
                      <a:pt x="563778" y="714057"/>
                    </a:lnTo>
                    <a:lnTo>
                      <a:pt x="563778" y="708939"/>
                    </a:lnTo>
                    <a:close/>
                  </a:path>
                  <a:path w="625475" h="714375">
                    <a:moveTo>
                      <a:pt x="625271" y="703821"/>
                    </a:moveTo>
                    <a:lnTo>
                      <a:pt x="615022" y="703821"/>
                    </a:lnTo>
                    <a:lnTo>
                      <a:pt x="615022" y="708939"/>
                    </a:lnTo>
                    <a:lnTo>
                      <a:pt x="615022" y="714057"/>
                    </a:lnTo>
                    <a:lnTo>
                      <a:pt x="625271" y="714057"/>
                    </a:lnTo>
                    <a:lnTo>
                      <a:pt x="625271" y="708939"/>
                    </a:lnTo>
                    <a:lnTo>
                      <a:pt x="625271" y="703821"/>
                    </a:lnTo>
                    <a:close/>
                  </a:path>
                  <a:path w="625475" h="714375">
                    <a:moveTo>
                      <a:pt x="625271" y="0"/>
                    </a:moveTo>
                    <a:lnTo>
                      <a:pt x="615162" y="0"/>
                    </a:lnTo>
                    <a:lnTo>
                      <a:pt x="615162" y="10223"/>
                    </a:lnTo>
                    <a:lnTo>
                      <a:pt x="625271" y="10223"/>
                    </a:lnTo>
                    <a:lnTo>
                      <a:pt x="625271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96" name="object 96"/>
              <p:cNvSpPr/>
              <p:nvPr/>
            </p:nvSpPr>
            <p:spPr>
              <a:xfrm>
                <a:off x="798526" y="1436136"/>
                <a:ext cx="604520" cy="712470"/>
              </a:xfrm>
              <a:custGeom>
                <a:avLst/>
                <a:gdLst/>
                <a:ahLst/>
                <a:cxnLst/>
                <a:rect l="l" t="t" r="r" b="b"/>
                <a:pathLst>
                  <a:path w="604519" h="712469">
                    <a:moveTo>
                      <a:pt x="603925" y="712355"/>
                    </a:moveTo>
                    <a:lnTo>
                      <a:pt x="0" y="712355"/>
                    </a:lnTo>
                    <a:lnTo>
                      <a:pt x="0" y="0"/>
                    </a:lnTo>
                    <a:lnTo>
                      <a:pt x="603925" y="0"/>
                    </a:lnTo>
                    <a:lnTo>
                      <a:pt x="603925" y="712355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97" name="object 97"/>
            <p:cNvSpPr/>
            <p:nvPr/>
          </p:nvSpPr>
          <p:spPr>
            <a:xfrm>
              <a:off x="1605369" y="189121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8" name="object 98"/>
            <p:cNvSpPr/>
            <p:nvPr/>
          </p:nvSpPr>
          <p:spPr>
            <a:xfrm>
              <a:off x="1659636" y="189121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99" name="object 99"/>
            <p:cNvGrpSpPr/>
            <p:nvPr/>
          </p:nvGrpSpPr>
          <p:grpSpPr>
            <a:xfrm>
              <a:off x="1713902" y="1270191"/>
              <a:ext cx="551890" cy="630331"/>
              <a:chOff x="1586822" y="1439549"/>
              <a:chExt cx="625475" cy="714375"/>
            </a:xfrm>
          </p:grpSpPr>
          <p:sp>
            <p:nvSpPr>
              <p:cNvPr id="100" name="object 100"/>
              <p:cNvSpPr/>
              <p:nvPr/>
            </p:nvSpPr>
            <p:spPr>
              <a:xfrm>
                <a:off x="1586814" y="1439557"/>
                <a:ext cx="625475" cy="714375"/>
              </a:xfrm>
              <a:custGeom>
                <a:avLst/>
                <a:gdLst/>
                <a:ahLst/>
                <a:cxnLst/>
                <a:rect l="l" t="t" r="r" b="b"/>
                <a:pathLst>
                  <a:path w="625475" h="714375">
                    <a:moveTo>
                      <a:pt x="10248" y="703821"/>
                    </a:moveTo>
                    <a:lnTo>
                      <a:pt x="0" y="703821"/>
                    </a:lnTo>
                    <a:lnTo>
                      <a:pt x="0" y="708939"/>
                    </a:lnTo>
                    <a:lnTo>
                      <a:pt x="0" y="714057"/>
                    </a:lnTo>
                    <a:lnTo>
                      <a:pt x="10248" y="714057"/>
                    </a:lnTo>
                    <a:lnTo>
                      <a:pt x="10248" y="708939"/>
                    </a:lnTo>
                    <a:lnTo>
                      <a:pt x="10248" y="703821"/>
                    </a:lnTo>
                    <a:close/>
                  </a:path>
                  <a:path w="625475" h="71437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10223"/>
                    </a:lnTo>
                    <a:lnTo>
                      <a:pt x="10248" y="10223"/>
                    </a:lnTo>
                    <a:lnTo>
                      <a:pt x="10248" y="0"/>
                    </a:lnTo>
                    <a:close/>
                  </a:path>
                  <a:path w="625475" h="714375">
                    <a:moveTo>
                      <a:pt x="71755" y="708939"/>
                    </a:moveTo>
                    <a:lnTo>
                      <a:pt x="61506" y="708939"/>
                    </a:lnTo>
                    <a:lnTo>
                      <a:pt x="61506" y="714057"/>
                    </a:lnTo>
                    <a:lnTo>
                      <a:pt x="71755" y="714057"/>
                    </a:lnTo>
                    <a:lnTo>
                      <a:pt x="71755" y="708939"/>
                    </a:lnTo>
                    <a:close/>
                  </a:path>
                  <a:path w="625475" h="714375">
                    <a:moveTo>
                      <a:pt x="71755" y="0"/>
                    </a:moveTo>
                    <a:lnTo>
                      <a:pt x="61506" y="0"/>
                    </a:lnTo>
                    <a:lnTo>
                      <a:pt x="61506" y="10223"/>
                    </a:lnTo>
                    <a:lnTo>
                      <a:pt x="71755" y="10223"/>
                    </a:lnTo>
                    <a:lnTo>
                      <a:pt x="71755" y="0"/>
                    </a:lnTo>
                    <a:close/>
                  </a:path>
                  <a:path w="625475" h="714375">
                    <a:moveTo>
                      <a:pt x="133261" y="708939"/>
                    </a:moveTo>
                    <a:lnTo>
                      <a:pt x="122999" y="708939"/>
                    </a:lnTo>
                    <a:lnTo>
                      <a:pt x="122999" y="714057"/>
                    </a:lnTo>
                    <a:lnTo>
                      <a:pt x="133261" y="714057"/>
                    </a:lnTo>
                    <a:lnTo>
                      <a:pt x="133261" y="708939"/>
                    </a:lnTo>
                    <a:close/>
                  </a:path>
                  <a:path w="625475" h="714375">
                    <a:moveTo>
                      <a:pt x="133261" y="0"/>
                    </a:moveTo>
                    <a:lnTo>
                      <a:pt x="122999" y="0"/>
                    </a:lnTo>
                    <a:lnTo>
                      <a:pt x="122999" y="10223"/>
                    </a:lnTo>
                    <a:lnTo>
                      <a:pt x="133261" y="10223"/>
                    </a:lnTo>
                    <a:lnTo>
                      <a:pt x="133261" y="0"/>
                    </a:lnTo>
                    <a:close/>
                  </a:path>
                  <a:path w="625475" h="714375">
                    <a:moveTo>
                      <a:pt x="194754" y="708939"/>
                    </a:moveTo>
                    <a:lnTo>
                      <a:pt x="184505" y="708939"/>
                    </a:lnTo>
                    <a:lnTo>
                      <a:pt x="184505" y="714057"/>
                    </a:lnTo>
                    <a:lnTo>
                      <a:pt x="194754" y="714057"/>
                    </a:lnTo>
                    <a:lnTo>
                      <a:pt x="194754" y="708939"/>
                    </a:lnTo>
                    <a:close/>
                  </a:path>
                  <a:path w="625475" h="714375">
                    <a:moveTo>
                      <a:pt x="194754" y="0"/>
                    </a:moveTo>
                    <a:lnTo>
                      <a:pt x="184505" y="0"/>
                    </a:lnTo>
                    <a:lnTo>
                      <a:pt x="184505" y="10223"/>
                    </a:lnTo>
                    <a:lnTo>
                      <a:pt x="194754" y="10223"/>
                    </a:lnTo>
                    <a:lnTo>
                      <a:pt x="194754" y="0"/>
                    </a:lnTo>
                    <a:close/>
                  </a:path>
                  <a:path w="625475" h="714375">
                    <a:moveTo>
                      <a:pt x="256260" y="708939"/>
                    </a:moveTo>
                    <a:lnTo>
                      <a:pt x="246011" y="708939"/>
                    </a:lnTo>
                    <a:lnTo>
                      <a:pt x="246011" y="714057"/>
                    </a:lnTo>
                    <a:lnTo>
                      <a:pt x="256260" y="714057"/>
                    </a:lnTo>
                    <a:lnTo>
                      <a:pt x="256260" y="708939"/>
                    </a:lnTo>
                    <a:close/>
                  </a:path>
                  <a:path w="625475" h="714375">
                    <a:moveTo>
                      <a:pt x="256260" y="0"/>
                    </a:moveTo>
                    <a:lnTo>
                      <a:pt x="246011" y="0"/>
                    </a:lnTo>
                    <a:lnTo>
                      <a:pt x="246011" y="10223"/>
                    </a:lnTo>
                    <a:lnTo>
                      <a:pt x="256260" y="10223"/>
                    </a:lnTo>
                    <a:lnTo>
                      <a:pt x="256260" y="0"/>
                    </a:lnTo>
                    <a:close/>
                  </a:path>
                  <a:path w="625475" h="714375">
                    <a:moveTo>
                      <a:pt x="317766" y="708939"/>
                    </a:moveTo>
                    <a:lnTo>
                      <a:pt x="307517" y="708939"/>
                    </a:lnTo>
                    <a:lnTo>
                      <a:pt x="307517" y="714057"/>
                    </a:lnTo>
                    <a:lnTo>
                      <a:pt x="317766" y="714057"/>
                    </a:lnTo>
                    <a:lnTo>
                      <a:pt x="317766" y="708939"/>
                    </a:lnTo>
                    <a:close/>
                  </a:path>
                  <a:path w="625475" h="714375">
                    <a:moveTo>
                      <a:pt x="317766" y="0"/>
                    </a:moveTo>
                    <a:lnTo>
                      <a:pt x="307517" y="0"/>
                    </a:lnTo>
                    <a:lnTo>
                      <a:pt x="307517" y="10223"/>
                    </a:lnTo>
                    <a:lnTo>
                      <a:pt x="317766" y="10223"/>
                    </a:lnTo>
                    <a:lnTo>
                      <a:pt x="317766" y="0"/>
                    </a:lnTo>
                    <a:close/>
                  </a:path>
                  <a:path w="625475" h="714375">
                    <a:moveTo>
                      <a:pt x="379260" y="708939"/>
                    </a:moveTo>
                    <a:lnTo>
                      <a:pt x="369011" y="708939"/>
                    </a:lnTo>
                    <a:lnTo>
                      <a:pt x="369011" y="714057"/>
                    </a:lnTo>
                    <a:lnTo>
                      <a:pt x="379260" y="714057"/>
                    </a:lnTo>
                    <a:lnTo>
                      <a:pt x="379260" y="708939"/>
                    </a:lnTo>
                    <a:close/>
                  </a:path>
                  <a:path w="625475" h="714375">
                    <a:moveTo>
                      <a:pt x="379260" y="0"/>
                    </a:moveTo>
                    <a:lnTo>
                      <a:pt x="369011" y="0"/>
                    </a:lnTo>
                    <a:lnTo>
                      <a:pt x="369011" y="10223"/>
                    </a:lnTo>
                    <a:lnTo>
                      <a:pt x="379260" y="10223"/>
                    </a:lnTo>
                    <a:lnTo>
                      <a:pt x="379260" y="0"/>
                    </a:lnTo>
                    <a:close/>
                  </a:path>
                  <a:path w="625475" h="714375">
                    <a:moveTo>
                      <a:pt x="440766" y="708939"/>
                    </a:moveTo>
                    <a:lnTo>
                      <a:pt x="430517" y="708939"/>
                    </a:lnTo>
                    <a:lnTo>
                      <a:pt x="430517" y="714057"/>
                    </a:lnTo>
                    <a:lnTo>
                      <a:pt x="440766" y="714057"/>
                    </a:lnTo>
                    <a:lnTo>
                      <a:pt x="440766" y="708939"/>
                    </a:lnTo>
                    <a:close/>
                  </a:path>
                  <a:path w="625475" h="714375">
                    <a:moveTo>
                      <a:pt x="440766" y="0"/>
                    </a:moveTo>
                    <a:lnTo>
                      <a:pt x="430517" y="0"/>
                    </a:lnTo>
                    <a:lnTo>
                      <a:pt x="430517" y="10223"/>
                    </a:lnTo>
                    <a:lnTo>
                      <a:pt x="440766" y="10223"/>
                    </a:lnTo>
                    <a:lnTo>
                      <a:pt x="440766" y="0"/>
                    </a:lnTo>
                    <a:close/>
                  </a:path>
                  <a:path w="625475" h="714375">
                    <a:moveTo>
                      <a:pt x="502272" y="708939"/>
                    </a:moveTo>
                    <a:lnTo>
                      <a:pt x="492023" y="708939"/>
                    </a:lnTo>
                    <a:lnTo>
                      <a:pt x="492023" y="714057"/>
                    </a:lnTo>
                    <a:lnTo>
                      <a:pt x="502272" y="714057"/>
                    </a:lnTo>
                    <a:lnTo>
                      <a:pt x="502272" y="708939"/>
                    </a:lnTo>
                    <a:close/>
                  </a:path>
                  <a:path w="625475" h="714375">
                    <a:moveTo>
                      <a:pt x="502272" y="0"/>
                    </a:moveTo>
                    <a:lnTo>
                      <a:pt x="492023" y="0"/>
                    </a:lnTo>
                    <a:lnTo>
                      <a:pt x="492023" y="10223"/>
                    </a:lnTo>
                    <a:lnTo>
                      <a:pt x="502272" y="10223"/>
                    </a:lnTo>
                    <a:lnTo>
                      <a:pt x="502272" y="0"/>
                    </a:lnTo>
                    <a:close/>
                  </a:path>
                  <a:path w="625475" h="714375">
                    <a:moveTo>
                      <a:pt x="563765" y="708939"/>
                    </a:moveTo>
                    <a:lnTo>
                      <a:pt x="553516" y="708939"/>
                    </a:lnTo>
                    <a:lnTo>
                      <a:pt x="553516" y="714057"/>
                    </a:lnTo>
                    <a:lnTo>
                      <a:pt x="563765" y="714057"/>
                    </a:lnTo>
                    <a:lnTo>
                      <a:pt x="563765" y="708939"/>
                    </a:lnTo>
                    <a:close/>
                  </a:path>
                  <a:path w="625475" h="714375">
                    <a:moveTo>
                      <a:pt x="563765" y="0"/>
                    </a:moveTo>
                    <a:lnTo>
                      <a:pt x="553516" y="0"/>
                    </a:lnTo>
                    <a:lnTo>
                      <a:pt x="553516" y="10223"/>
                    </a:lnTo>
                    <a:lnTo>
                      <a:pt x="563765" y="10223"/>
                    </a:lnTo>
                    <a:lnTo>
                      <a:pt x="563765" y="0"/>
                    </a:lnTo>
                    <a:close/>
                  </a:path>
                  <a:path w="625475" h="714375">
                    <a:moveTo>
                      <a:pt x="625271" y="703821"/>
                    </a:moveTo>
                    <a:lnTo>
                      <a:pt x="615022" y="703821"/>
                    </a:lnTo>
                    <a:lnTo>
                      <a:pt x="615022" y="714057"/>
                    </a:lnTo>
                    <a:lnTo>
                      <a:pt x="625271" y="714057"/>
                    </a:lnTo>
                    <a:lnTo>
                      <a:pt x="625271" y="703821"/>
                    </a:lnTo>
                    <a:close/>
                  </a:path>
                  <a:path w="625475" h="714375">
                    <a:moveTo>
                      <a:pt x="625271" y="0"/>
                    </a:moveTo>
                    <a:lnTo>
                      <a:pt x="615022" y="0"/>
                    </a:lnTo>
                    <a:lnTo>
                      <a:pt x="615022" y="10223"/>
                    </a:lnTo>
                    <a:lnTo>
                      <a:pt x="625271" y="10223"/>
                    </a:lnTo>
                    <a:lnTo>
                      <a:pt x="625271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01" name="object 101"/>
              <p:cNvSpPr/>
              <p:nvPr/>
            </p:nvSpPr>
            <p:spPr>
              <a:xfrm>
                <a:off x="1595372" y="1483824"/>
                <a:ext cx="604520" cy="664845"/>
              </a:xfrm>
              <a:custGeom>
                <a:avLst/>
                <a:gdLst/>
                <a:ahLst/>
                <a:cxnLst/>
                <a:rect l="l" t="t" r="r" b="b"/>
                <a:pathLst>
                  <a:path w="604519" h="664844">
                    <a:moveTo>
                      <a:pt x="603925" y="664666"/>
                    </a:moveTo>
                    <a:lnTo>
                      <a:pt x="0" y="664666"/>
                    </a:lnTo>
                    <a:lnTo>
                      <a:pt x="0" y="0"/>
                    </a:lnTo>
                    <a:lnTo>
                      <a:pt x="603925" y="0"/>
                    </a:lnTo>
                    <a:lnTo>
                      <a:pt x="603925" y="664666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102" name="object 102"/>
            <p:cNvSpPr/>
            <p:nvPr/>
          </p:nvSpPr>
          <p:spPr>
            <a:xfrm>
              <a:off x="2310833" y="189121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03" name="object 103"/>
            <p:cNvSpPr/>
            <p:nvPr/>
          </p:nvSpPr>
          <p:spPr>
            <a:xfrm>
              <a:off x="2365099" y="189121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104" name="object 104"/>
            <p:cNvGrpSpPr/>
            <p:nvPr/>
          </p:nvGrpSpPr>
          <p:grpSpPr>
            <a:xfrm>
              <a:off x="2419365" y="1391744"/>
              <a:ext cx="551890" cy="508747"/>
              <a:chOff x="2386347" y="1577310"/>
              <a:chExt cx="625475" cy="576580"/>
            </a:xfrm>
          </p:grpSpPr>
          <p:sp>
            <p:nvSpPr>
              <p:cNvPr id="105" name="object 105"/>
              <p:cNvSpPr/>
              <p:nvPr/>
            </p:nvSpPr>
            <p:spPr>
              <a:xfrm>
                <a:off x="2386342" y="2143378"/>
                <a:ext cx="625475" cy="10795"/>
              </a:xfrm>
              <a:custGeom>
                <a:avLst/>
                <a:gdLst/>
                <a:ahLst/>
                <a:cxnLst/>
                <a:rect l="l" t="t" r="r" b="b"/>
                <a:pathLst>
                  <a:path w="625475" h="1079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5118"/>
                    </a:lnTo>
                    <a:lnTo>
                      <a:pt x="0" y="10236"/>
                    </a:lnTo>
                    <a:lnTo>
                      <a:pt x="10248" y="10236"/>
                    </a:lnTo>
                    <a:lnTo>
                      <a:pt x="10248" y="5118"/>
                    </a:lnTo>
                    <a:lnTo>
                      <a:pt x="10248" y="0"/>
                    </a:lnTo>
                    <a:close/>
                  </a:path>
                  <a:path w="625475" h="10794">
                    <a:moveTo>
                      <a:pt x="71755" y="5118"/>
                    </a:moveTo>
                    <a:lnTo>
                      <a:pt x="61506" y="5118"/>
                    </a:lnTo>
                    <a:lnTo>
                      <a:pt x="61506" y="10236"/>
                    </a:lnTo>
                    <a:lnTo>
                      <a:pt x="71755" y="10236"/>
                    </a:lnTo>
                    <a:lnTo>
                      <a:pt x="71755" y="5118"/>
                    </a:lnTo>
                    <a:close/>
                  </a:path>
                  <a:path w="625475" h="10794">
                    <a:moveTo>
                      <a:pt x="133248" y="5118"/>
                    </a:moveTo>
                    <a:lnTo>
                      <a:pt x="122999" y="5118"/>
                    </a:lnTo>
                    <a:lnTo>
                      <a:pt x="122999" y="10236"/>
                    </a:lnTo>
                    <a:lnTo>
                      <a:pt x="133248" y="10236"/>
                    </a:lnTo>
                    <a:lnTo>
                      <a:pt x="133248" y="5118"/>
                    </a:lnTo>
                    <a:close/>
                  </a:path>
                  <a:path w="625475" h="10794">
                    <a:moveTo>
                      <a:pt x="194754" y="5118"/>
                    </a:moveTo>
                    <a:lnTo>
                      <a:pt x="184505" y="5118"/>
                    </a:lnTo>
                    <a:lnTo>
                      <a:pt x="184505" y="10236"/>
                    </a:lnTo>
                    <a:lnTo>
                      <a:pt x="194754" y="10236"/>
                    </a:lnTo>
                    <a:lnTo>
                      <a:pt x="194754" y="5118"/>
                    </a:lnTo>
                    <a:close/>
                  </a:path>
                  <a:path w="625475" h="10794">
                    <a:moveTo>
                      <a:pt x="256260" y="5118"/>
                    </a:moveTo>
                    <a:lnTo>
                      <a:pt x="246011" y="5118"/>
                    </a:lnTo>
                    <a:lnTo>
                      <a:pt x="246011" y="10236"/>
                    </a:lnTo>
                    <a:lnTo>
                      <a:pt x="256260" y="10236"/>
                    </a:lnTo>
                    <a:lnTo>
                      <a:pt x="256260" y="5118"/>
                    </a:lnTo>
                    <a:close/>
                  </a:path>
                  <a:path w="625475" h="10794">
                    <a:moveTo>
                      <a:pt x="317754" y="5118"/>
                    </a:moveTo>
                    <a:lnTo>
                      <a:pt x="307505" y="5118"/>
                    </a:lnTo>
                    <a:lnTo>
                      <a:pt x="307505" y="10236"/>
                    </a:lnTo>
                    <a:lnTo>
                      <a:pt x="317754" y="10236"/>
                    </a:lnTo>
                    <a:lnTo>
                      <a:pt x="317754" y="5118"/>
                    </a:lnTo>
                    <a:close/>
                  </a:path>
                  <a:path w="625475" h="10794">
                    <a:moveTo>
                      <a:pt x="379260" y="5118"/>
                    </a:moveTo>
                    <a:lnTo>
                      <a:pt x="369011" y="5118"/>
                    </a:lnTo>
                    <a:lnTo>
                      <a:pt x="369011" y="10236"/>
                    </a:lnTo>
                    <a:lnTo>
                      <a:pt x="379260" y="10236"/>
                    </a:lnTo>
                    <a:lnTo>
                      <a:pt x="379260" y="5118"/>
                    </a:lnTo>
                    <a:close/>
                  </a:path>
                  <a:path w="625475" h="10794">
                    <a:moveTo>
                      <a:pt x="440766" y="5118"/>
                    </a:moveTo>
                    <a:lnTo>
                      <a:pt x="430517" y="5118"/>
                    </a:lnTo>
                    <a:lnTo>
                      <a:pt x="430517" y="10236"/>
                    </a:lnTo>
                    <a:lnTo>
                      <a:pt x="440766" y="10236"/>
                    </a:lnTo>
                    <a:lnTo>
                      <a:pt x="440766" y="5118"/>
                    </a:lnTo>
                    <a:close/>
                  </a:path>
                  <a:path w="625475" h="10794">
                    <a:moveTo>
                      <a:pt x="502259" y="5118"/>
                    </a:moveTo>
                    <a:lnTo>
                      <a:pt x="492010" y="5118"/>
                    </a:lnTo>
                    <a:lnTo>
                      <a:pt x="492010" y="10236"/>
                    </a:lnTo>
                    <a:lnTo>
                      <a:pt x="502259" y="10236"/>
                    </a:lnTo>
                    <a:lnTo>
                      <a:pt x="502259" y="5118"/>
                    </a:lnTo>
                    <a:close/>
                  </a:path>
                  <a:path w="625475" h="10794">
                    <a:moveTo>
                      <a:pt x="563765" y="5118"/>
                    </a:moveTo>
                    <a:lnTo>
                      <a:pt x="553516" y="5118"/>
                    </a:lnTo>
                    <a:lnTo>
                      <a:pt x="553516" y="10236"/>
                    </a:lnTo>
                    <a:lnTo>
                      <a:pt x="563765" y="10236"/>
                    </a:lnTo>
                    <a:lnTo>
                      <a:pt x="563765" y="5118"/>
                    </a:lnTo>
                    <a:close/>
                  </a:path>
                  <a:path w="625475" h="10794">
                    <a:moveTo>
                      <a:pt x="625271" y="0"/>
                    </a:moveTo>
                    <a:lnTo>
                      <a:pt x="615022" y="0"/>
                    </a:lnTo>
                    <a:lnTo>
                      <a:pt x="615022" y="10236"/>
                    </a:lnTo>
                    <a:lnTo>
                      <a:pt x="625271" y="10236"/>
                    </a:lnTo>
                    <a:lnTo>
                      <a:pt x="625271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06" name="object 106"/>
              <p:cNvSpPr/>
              <p:nvPr/>
            </p:nvSpPr>
            <p:spPr>
              <a:xfrm>
                <a:off x="2392218" y="1577310"/>
                <a:ext cx="604520" cy="571500"/>
              </a:xfrm>
              <a:custGeom>
                <a:avLst/>
                <a:gdLst/>
                <a:ahLst/>
                <a:cxnLst/>
                <a:rect l="l" t="t" r="r" b="b"/>
                <a:pathLst>
                  <a:path w="604519" h="571500">
                    <a:moveTo>
                      <a:pt x="603925" y="571180"/>
                    </a:moveTo>
                    <a:lnTo>
                      <a:pt x="0" y="571180"/>
                    </a:lnTo>
                    <a:lnTo>
                      <a:pt x="0" y="0"/>
                    </a:lnTo>
                    <a:lnTo>
                      <a:pt x="603925" y="0"/>
                    </a:lnTo>
                    <a:lnTo>
                      <a:pt x="603925" y="571180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107" name="object 107"/>
            <p:cNvSpPr/>
            <p:nvPr/>
          </p:nvSpPr>
          <p:spPr>
            <a:xfrm>
              <a:off x="3016296" y="189121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08" name="object 108"/>
            <p:cNvSpPr/>
            <p:nvPr/>
          </p:nvSpPr>
          <p:spPr>
            <a:xfrm>
              <a:off x="3070562" y="189121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09" name="object 109"/>
            <p:cNvSpPr/>
            <p:nvPr/>
          </p:nvSpPr>
          <p:spPr>
            <a:xfrm>
              <a:off x="3124829" y="189121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10" name="object 110"/>
            <p:cNvSpPr/>
            <p:nvPr/>
          </p:nvSpPr>
          <p:spPr>
            <a:xfrm>
              <a:off x="3179094" y="189121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11" name="object 111"/>
            <p:cNvSpPr/>
            <p:nvPr/>
          </p:nvSpPr>
          <p:spPr>
            <a:xfrm>
              <a:off x="3233361" y="1891215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12" name="object 112"/>
            <p:cNvSpPr txBox="1"/>
            <p:nvPr/>
          </p:nvSpPr>
          <p:spPr>
            <a:xfrm>
              <a:off x="510610" y="1819110"/>
              <a:ext cx="147357" cy="127297"/>
            </a:xfrm>
            <a:prstGeom prst="rect">
              <a:avLst/>
            </a:prstGeom>
          </p:spPr>
          <p:txBody>
            <a:bodyPr vert="horz" wrap="square" lIns="0" tIns="11766" rIns="0" bIns="0" rtlCol="0">
              <a:spAutoFit/>
            </a:bodyPr>
            <a:lstStyle/>
            <a:p>
              <a:pPr marL="11206">
                <a:spcBef>
                  <a:spcPts val="93"/>
                </a:spcBef>
              </a:pPr>
              <a:r>
                <a:rPr sz="750" dirty="0">
                  <a:solidFill>
                    <a:srgbClr val="605D5C"/>
                  </a:solidFill>
                  <a:latin typeface="Segoe UI"/>
                  <a:cs typeface="Segoe UI"/>
                </a:rPr>
                <a:t>0.0</a:t>
              </a:r>
              <a:endParaRPr sz="750" dirty="0">
                <a:latin typeface="Segoe UI"/>
                <a:cs typeface="Segoe UI"/>
              </a:endParaRPr>
            </a:p>
          </p:txBody>
        </p:sp>
        <p:sp>
          <p:nvSpPr>
            <p:cNvPr id="113" name="object 113"/>
            <p:cNvSpPr/>
            <p:nvPr/>
          </p:nvSpPr>
          <p:spPr>
            <a:xfrm>
              <a:off x="737108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14" name="object 114"/>
            <p:cNvSpPr/>
            <p:nvPr/>
          </p:nvSpPr>
          <p:spPr>
            <a:xfrm>
              <a:off x="791374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15" name="object 115"/>
            <p:cNvSpPr/>
            <p:nvPr/>
          </p:nvSpPr>
          <p:spPr>
            <a:xfrm>
              <a:off x="845640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16" name="object 116"/>
            <p:cNvSpPr/>
            <p:nvPr/>
          </p:nvSpPr>
          <p:spPr>
            <a:xfrm>
              <a:off x="899906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17" name="object 117"/>
            <p:cNvSpPr/>
            <p:nvPr/>
          </p:nvSpPr>
          <p:spPr>
            <a:xfrm>
              <a:off x="954173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18" name="object 118"/>
            <p:cNvSpPr/>
            <p:nvPr/>
          </p:nvSpPr>
          <p:spPr>
            <a:xfrm>
              <a:off x="1605369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19" name="object 119"/>
            <p:cNvSpPr/>
            <p:nvPr/>
          </p:nvSpPr>
          <p:spPr>
            <a:xfrm>
              <a:off x="1659636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20" name="object 120"/>
            <p:cNvSpPr/>
            <p:nvPr/>
          </p:nvSpPr>
          <p:spPr>
            <a:xfrm>
              <a:off x="2310833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21" name="object 121"/>
            <p:cNvSpPr/>
            <p:nvPr/>
          </p:nvSpPr>
          <p:spPr>
            <a:xfrm>
              <a:off x="2365099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22" name="object 122"/>
            <p:cNvSpPr/>
            <p:nvPr/>
          </p:nvSpPr>
          <p:spPr>
            <a:xfrm>
              <a:off x="2419365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23" name="object 123"/>
            <p:cNvSpPr/>
            <p:nvPr/>
          </p:nvSpPr>
          <p:spPr>
            <a:xfrm>
              <a:off x="2473632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24" name="object 124"/>
            <p:cNvSpPr/>
            <p:nvPr/>
          </p:nvSpPr>
          <p:spPr>
            <a:xfrm>
              <a:off x="2527898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25" name="object 125"/>
            <p:cNvSpPr/>
            <p:nvPr/>
          </p:nvSpPr>
          <p:spPr>
            <a:xfrm>
              <a:off x="2582164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26" name="object 126"/>
            <p:cNvSpPr/>
            <p:nvPr/>
          </p:nvSpPr>
          <p:spPr>
            <a:xfrm>
              <a:off x="2636430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27" name="object 127"/>
            <p:cNvSpPr/>
            <p:nvPr/>
          </p:nvSpPr>
          <p:spPr>
            <a:xfrm>
              <a:off x="2690697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28" name="object 128"/>
            <p:cNvSpPr/>
            <p:nvPr/>
          </p:nvSpPr>
          <p:spPr>
            <a:xfrm>
              <a:off x="2744963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29" name="object 129"/>
            <p:cNvSpPr/>
            <p:nvPr/>
          </p:nvSpPr>
          <p:spPr>
            <a:xfrm>
              <a:off x="2799230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30" name="object 130"/>
            <p:cNvSpPr/>
            <p:nvPr/>
          </p:nvSpPr>
          <p:spPr>
            <a:xfrm>
              <a:off x="2853496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31" name="object 131"/>
            <p:cNvSpPr/>
            <p:nvPr/>
          </p:nvSpPr>
          <p:spPr>
            <a:xfrm>
              <a:off x="2907763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32" name="object 132"/>
            <p:cNvSpPr/>
            <p:nvPr/>
          </p:nvSpPr>
          <p:spPr>
            <a:xfrm>
              <a:off x="2962029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33" name="object 133"/>
            <p:cNvSpPr/>
            <p:nvPr/>
          </p:nvSpPr>
          <p:spPr>
            <a:xfrm>
              <a:off x="3016296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34" name="object 134"/>
            <p:cNvSpPr/>
            <p:nvPr/>
          </p:nvSpPr>
          <p:spPr>
            <a:xfrm>
              <a:off x="3070562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35" name="object 135"/>
            <p:cNvSpPr/>
            <p:nvPr/>
          </p:nvSpPr>
          <p:spPr>
            <a:xfrm>
              <a:off x="3124829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36" name="object 136"/>
            <p:cNvSpPr/>
            <p:nvPr/>
          </p:nvSpPr>
          <p:spPr>
            <a:xfrm>
              <a:off x="3179094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37" name="object 137"/>
            <p:cNvSpPr/>
            <p:nvPr/>
          </p:nvSpPr>
          <p:spPr>
            <a:xfrm>
              <a:off x="3233361" y="1270191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4">
                  <a:moveTo>
                    <a:pt x="10250" y="10229"/>
                  </a:moveTo>
                  <a:lnTo>
                    <a:pt x="0" y="10229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29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38" name="object 138"/>
            <p:cNvSpPr txBox="1"/>
            <p:nvPr/>
          </p:nvSpPr>
          <p:spPr>
            <a:xfrm>
              <a:off x="510610" y="1198087"/>
              <a:ext cx="147357" cy="127297"/>
            </a:xfrm>
            <a:prstGeom prst="rect">
              <a:avLst/>
            </a:prstGeom>
          </p:spPr>
          <p:txBody>
            <a:bodyPr vert="horz" wrap="square" lIns="0" tIns="11766" rIns="0" bIns="0" rtlCol="0">
              <a:spAutoFit/>
            </a:bodyPr>
            <a:lstStyle/>
            <a:p>
              <a:pPr marL="11206">
                <a:spcBef>
                  <a:spcPts val="93"/>
                </a:spcBef>
              </a:pPr>
              <a:r>
                <a:rPr sz="750" dirty="0">
                  <a:solidFill>
                    <a:srgbClr val="605D5C"/>
                  </a:solidFill>
                  <a:latin typeface="Segoe UI"/>
                  <a:cs typeface="Segoe UI"/>
                </a:rPr>
                <a:t>0.5</a:t>
              </a:r>
              <a:endParaRPr sz="750" dirty="0">
                <a:latin typeface="Segoe UI"/>
                <a:cs typeface="Segoe UI"/>
              </a:endParaRPr>
            </a:p>
          </p:txBody>
        </p:sp>
        <p:sp>
          <p:nvSpPr>
            <p:cNvPr id="139" name="object 139"/>
            <p:cNvSpPr txBox="1"/>
            <p:nvPr/>
          </p:nvSpPr>
          <p:spPr>
            <a:xfrm>
              <a:off x="1622797" y="2222165"/>
              <a:ext cx="828000" cy="166900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1000" spc="-31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Review</a:t>
              </a:r>
              <a:r>
                <a:rPr sz="1000" spc="-101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000" spc="-31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ategory</a:t>
              </a:r>
              <a:endParaRPr sz="1000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140" name="object 140"/>
            <p:cNvSpPr txBox="1"/>
            <p:nvPr/>
          </p:nvSpPr>
          <p:spPr>
            <a:xfrm>
              <a:off x="344560" y="1107456"/>
              <a:ext cx="115416" cy="630330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922"/>
                </a:lnSpc>
              </a:pPr>
              <a:r>
                <a:rPr lang="en-US" sz="1000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Usefulness</a:t>
              </a:r>
              <a:endParaRPr sz="1000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141" name="object 141"/>
            <p:cNvSpPr txBox="1"/>
            <p:nvPr/>
          </p:nvSpPr>
          <p:spPr>
            <a:xfrm>
              <a:off x="1159837" y="1988714"/>
              <a:ext cx="279587" cy="127297"/>
            </a:xfrm>
            <a:prstGeom prst="rect">
              <a:avLst/>
            </a:prstGeom>
          </p:spPr>
          <p:txBody>
            <a:bodyPr vert="horz" wrap="square" lIns="0" tIns="11766" rIns="0" bIns="0" rtlCol="0">
              <a:spAutoFit/>
            </a:bodyPr>
            <a:lstStyle/>
            <a:p>
              <a:pPr marL="11206">
                <a:spcBef>
                  <a:spcPts val="93"/>
                </a:spcBef>
              </a:pPr>
              <a:r>
                <a:rPr sz="750" spc="4" dirty="0">
                  <a:solidFill>
                    <a:srgbClr val="605D5C"/>
                  </a:solidFill>
                  <a:latin typeface="Segoe UI"/>
                  <a:cs typeface="Segoe UI"/>
                </a:rPr>
                <a:t>Books</a:t>
              </a:r>
              <a:endParaRPr sz="750" dirty="0">
                <a:latin typeface="Segoe UI"/>
                <a:cs typeface="Segoe UI"/>
              </a:endParaRPr>
            </a:p>
          </p:txBody>
        </p:sp>
        <p:sp>
          <p:nvSpPr>
            <p:cNvPr id="142" name="object 142"/>
            <p:cNvSpPr txBox="1"/>
            <p:nvPr/>
          </p:nvSpPr>
          <p:spPr>
            <a:xfrm>
              <a:off x="1710032" y="1988714"/>
              <a:ext cx="585507" cy="127297"/>
            </a:xfrm>
            <a:prstGeom prst="rect">
              <a:avLst/>
            </a:prstGeom>
          </p:spPr>
          <p:txBody>
            <a:bodyPr vert="horz" wrap="square" lIns="0" tIns="11766" rIns="0" bIns="0" rtlCol="0">
              <a:spAutoFit/>
            </a:bodyPr>
            <a:lstStyle/>
            <a:p>
              <a:pPr marL="11206">
                <a:spcBef>
                  <a:spcPts val="93"/>
                </a:spcBef>
              </a:pPr>
              <a:r>
                <a:rPr sz="750" spc="4" dirty="0">
                  <a:solidFill>
                    <a:srgbClr val="605D5C"/>
                  </a:solidFill>
                  <a:latin typeface="Segoe UI"/>
                  <a:cs typeface="Segoe UI"/>
                </a:rPr>
                <a:t>Video</a:t>
              </a:r>
              <a:r>
                <a:rPr sz="750" spc="-57" dirty="0">
                  <a:solidFill>
                    <a:srgbClr val="605D5C"/>
                  </a:solidFill>
                  <a:latin typeface="Segoe UI"/>
                  <a:cs typeface="Segoe UI"/>
                </a:rPr>
                <a:t> </a:t>
              </a:r>
              <a:r>
                <a:rPr sz="750" spc="4" dirty="0">
                  <a:solidFill>
                    <a:srgbClr val="605D5C"/>
                  </a:solidFill>
                  <a:latin typeface="Segoe UI"/>
                  <a:cs typeface="Segoe UI"/>
                </a:rPr>
                <a:t>Games</a:t>
              </a:r>
              <a:endParaRPr sz="750" dirty="0">
                <a:latin typeface="Segoe UI"/>
                <a:cs typeface="Segoe UI"/>
              </a:endParaRPr>
            </a:p>
          </p:txBody>
        </p:sp>
        <p:sp>
          <p:nvSpPr>
            <p:cNvPr id="143" name="object 143"/>
            <p:cNvSpPr txBox="1"/>
            <p:nvPr/>
          </p:nvSpPr>
          <p:spPr>
            <a:xfrm>
              <a:off x="2471977" y="1981336"/>
              <a:ext cx="467846" cy="260049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75644" marR="4483" indent="-64998">
                <a:lnSpc>
                  <a:spcPct val="107500"/>
                </a:lnSpc>
                <a:spcBef>
                  <a:spcPts val="84"/>
                </a:spcBef>
              </a:pPr>
              <a:r>
                <a:rPr sz="750" spc="4" dirty="0">
                  <a:solidFill>
                    <a:srgbClr val="605D5C"/>
                  </a:solidFill>
                  <a:latin typeface="Segoe UI"/>
                  <a:cs typeface="Segoe UI"/>
                </a:rPr>
                <a:t>Home</a:t>
              </a:r>
              <a:r>
                <a:rPr sz="750" spc="-75" dirty="0">
                  <a:solidFill>
                    <a:srgbClr val="605D5C"/>
                  </a:solidFill>
                  <a:latin typeface="Segoe UI"/>
                  <a:cs typeface="Segoe UI"/>
                </a:rPr>
                <a:t> </a:t>
              </a:r>
              <a:r>
                <a:rPr sz="750" spc="4" dirty="0">
                  <a:solidFill>
                    <a:srgbClr val="605D5C"/>
                  </a:solidFill>
                  <a:latin typeface="Segoe UI"/>
                  <a:cs typeface="Segoe UI"/>
                </a:rPr>
                <a:t>and  </a:t>
              </a:r>
              <a:r>
                <a:rPr sz="750" dirty="0">
                  <a:solidFill>
                    <a:srgbClr val="605D5C"/>
                  </a:solidFill>
                  <a:latin typeface="Segoe UI"/>
                  <a:cs typeface="Segoe UI"/>
                </a:rPr>
                <a:t>Kitchen</a:t>
              </a:r>
              <a:endParaRPr sz="750" dirty="0">
                <a:latin typeface="Segoe UI"/>
                <a:cs typeface="Segoe UI"/>
              </a:endParaRPr>
            </a:p>
          </p:txBody>
        </p:sp>
        <p:sp>
          <p:nvSpPr>
            <p:cNvPr id="144" name="object 144"/>
            <p:cNvSpPr txBox="1"/>
            <p:nvPr/>
          </p:nvSpPr>
          <p:spPr>
            <a:xfrm>
              <a:off x="1174055" y="1075445"/>
              <a:ext cx="22187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51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45" name="object 145"/>
            <p:cNvSpPr txBox="1"/>
            <p:nvPr/>
          </p:nvSpPr>
          <p:spPr>
            <a:xfrm>
              <a:off x="1877154" y="1117523"/>
              <a:ext cx="22187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47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46" name="object 146"/>
            <p:cNvSpPr txBox="1"/>
            <p:nvPr/>
          </p:nvSpPr>
          <p:spPr>
            <a:xfrm>
              <a:off x="2580253" y="1200011"/>
              <a:ext cx="22187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0.41</a:t>
              </a:r>
              <a:endParaRPr sz="838" dirty="0">
                <a:latin typeface="Segoe UI"/>
                <a:cs typeface="Segoe UI"/>
              </a:endParaRPr>
            </a:p>
          </p:txBody>
        </p:sp>
      </p:grpSp>
      <p:grpSp>
        <p:nvGrpSpPr>
          <p:cNvPr id="442" name="Group 441">
            <a:extLst>
              <a:ext uri="{FF2B5EF4-FFF2-40B4-BE49-F238E27FC236}">
                <a16:creationId xmlns:a16="http://schemas.microsoft.com/office/drawing/2014/main" id="{455F0787-9F01-465E-B0D4-C18FC89FE27E}"/>
              </a:ext>
            </a:extLst>
          </p:cNvPr>
          <p:cNvGrpSpPr/>
          <p:nvPr/>
        </p:nvGrpSpPr>
        <p:grpSpPr>
          <a:xfrm>
            <a:off x="3887156" y="3928473"/>
            <a:ext cx="2957402" cy="2621756"/>
            <a:chOff x="3484414" y="4024656"/>
            <a:chExt cx="2957402" cy="2621756"/>
          </a:xfrm>
        </p:grpSpPr>
        <p:sp>
          <p:nvSpPr>
            <p:cNvPr id="147" name="object 147"/>
            <p:cNvSpPr txBox="1"/>
            <p:nvPr/>
          </p:nvSpPr>
          <p:spPr>
            <a:xfrm>
              <a:off x="4868874" y="4024656"/>
              <a:ext cx="753035" cy="210805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11206">
                <a:spcBef>
                  <a:spcPts val="84"/>
                </a:spcBef>
              </a:pPr>
              <a:r>
                <a:rPr sz="1300" b="1" spc="-7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Word</a:t>
              </a:r>
              <a:r>
                <a:rPr sz="1300" b="1" spc="-146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300" b="1" spc="-7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ount</a:t>
              </a:r>
              <a:endParaRPr sz="1300" b="1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148" name="object 148"/>
            <p:cNvSpPr/>
            <p:nvPr/>
          </p:nvSpPr>
          <p:spPr>
            <a:xfrm>
              <a:off x="3935832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49" name="object 149"/>
            <p:cNvSpPr/>
            <p:nvPr/>
          </p:nvSpPr>
          <p:spPr>
            <a:xfrm>
              <a:off x="3990108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50" name="object 150"/>
            <p:cNvSpPr/>
            <p:nvPr/>
          </p:nvSpPr>
          <p:spPr>
            <a:xfrm>
              <a:off x="4044384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51" name="object 151"/>
            <p:cNvSpPr/>
            <p:nvPr/>
          </p:nvSpPr>
          <p:spPr>
            <a:xfrm>
              <a:off x="4098661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52" name="object 152"/>
            <p:cNvSpPr/>
            <p:nvPr/>
          </p:nvSpPr>
          <p:spPr>
            <a:xfrm>
              <a:off x="4152937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153" name="object 153"/>
            <p:cNvGrpSpPr/>
            <p:nvPr/>
          </p:nvGrpSpPr>
          <p:grpSpPr>
            <a:xfrm>
              <a:off x="4207214" y="4509205"/>
              <a:ext cx="660587" cy="1596277"/>
              <a:chOff x="4412575" y="5110432"/>
              <a:chExt cx="748665" cy="1809114"/>
            </a:xfrm>
          </p:grpSpPr>
          <p:sp>
            <p:nvSpPr>
              <p:cNvPr id="154" name="object 154"/>
              <p:cNvSpPr/>
              <p:nvPr/>
            </p:nvSpPr>
            <p:spPr>
              <a:xfrm>
                <a:off x="4412564" y="5264188"/>
                <a:ext cx="748665" cy="1655445"/>
              </a:xfrm>
              <a:custGeom>
                <a:avLst/>
                <a:gdLst/>
                <a:ahLst/>
                <a:cxnLst/>
                <a:rect l="l" t="t" r="r" b="b"/>
                <a:pathLst>
                  <a:path w="748664" h="1655445">
                    <a:moveTo>
                      <a:pt x="10261" y="1634617"/>
                    </a:moveTo>
                    <a:lnTo>
                      <a:pt x="0" y="1634617"/>
                    </a:lnTo>
                    <a:lnTo>
                      <a:pt x="0" y="1655089"/>
                    </a:lnTo>
                    <a:lnTo>
                      <a:pt x="10261" y="1655089"/>
                    </a:lnTo>
                    <a:lnTo>
                      <a:pt x="10261" y="1634617"/>
                    </a:lnTo>
                    <a:close/>
                  </a:path>
                  <a:path w="748664" h="1655445">
                    <a:moveTo>
                      <a:pt x="10261" y="1089748"/>
                    </a:moveTo>
                    <a:lnTo>
                      <a:pt x="0" y="1089748"/>
                    </a:lnTo>
                    <a:lnTo>
                      <a:pt x="0" y="1110221"/>
                    </a:lnTo>
                    <a:lnTo>
                      <a:pt x="10261" y="1110221"/>
                    </a:lnTo>
                    <a:lnTo>
                      <a:pt x="10261" y="1089748"/>
                    </a:lnTo>
                    <a:close/>
                  </a:path>
                  <a:path w="748664" h="1655445">
                    <a:moveTo>
                      <a:pt x="10261" y="544880"/>
                    </a:moveTo>
                    <a:lnTo>
                      <a:pt x="0" y="544880"/>
                    </a:lnTo>
                    <a:lnTo>
                      <a:pt x="0" y="565353"/>
                    </a:lnTo>
                    <a:lnTo>
                      <a:pt x="10261" y="565353"/>
                    </a:lnTo>
                    <a:lnTo>
                      <a:pt x="10261" y="544880"/>
                    </a:lnTo>
                    <a:close/>
                  </a:path>
                  <a:path w="748664" h="1655445">
                    <a:moveTo>
                      <a:pt x="10261" y="0"/>
                    </a:moveTo>
                    <a:lnTo>
                      <a:pt x="0" y="0"/>
                    </a:lnTo>
                    <a:lnTo>
                      <a:pt x="0" y="20485"/>
                    </a:lnTo>
                    <a:lnTo>
                      <a:pt x="10261" y="20485"/>
                    </a:lnTo>
                    <a:lnTo>
                      <a:pt x="10261" y="0"/>
                    </a:lnTo>
                    <a:close/>
                  </a:path>
                  <a:path w="748664" h="1655445">
                    <a:moveTo>
                      <a:pt x="71767" y="1644853"/>
                    </a:moveTo>
                    <a:lnTo>
                      <a:pt x="61518" y="1644853"/>
                    </a:lnTo>
                    <a:lnTo>
                      <a:pt x="61518" y="1655089"/>
                    </a:lnTo>
                    <a:lnTo>
                      <a:pt x="71767" y="1655089"/>
                    </a:lnTo>
                    <a:lnTo>
                      <a:pt x="71767" y="1644853"/>
                    </a:lnTo>
                    <a:close/>
                  </a:path>
                  <a:path w="748664" h="1655445">
                    <a:moveTo>
                      <a:pt x="133286" y="1644853"/>
                    </a:moveTo>
                    <a:lnTo>
                      <a:pt x="123037" y="1644853"/>
                    </a:lnTo>
                    <a:lnTo>
                      <a:pt x="123037" y="1655089"/>
                    </a:lnTo>
                    <a:lnTo>
                      <a:pt x="133286" y="1655089"/>
                    </a:lnTo>
                    <a:lnTo>
                      <a:pt x="133286" y="1644853"/>
                    </a:lnTo>
                    <a:close/>
                  </a:path>
                  <a:path w="748664" h="1655445">
                    <a:moveTo>
                      <a:pt x="194792" y="1644853"/>
                    </a:moveTo>
                    <a:lnTo>
                      <a:pt x="184543" y="1644853"/>
                    </a:lnTo>
                    <a:lnTo>
                      <a:pt x="184543" y="1655089"/>
                    </a:lnTo>
                    <a:lnTo>
                      <a:pt x="194792" y="1655089"/>
                    </a:lnTo>
                    <a:lnTo>
                      <a:pt x="194792" y="1644853"/>
                    </a:lnTo>
                    <a:close/>
                  </a:path>
                  <a:path w="748664" h="1655445">
                    <a:moveTo>
                      <a:pt x="256311" y="1644853"/>
                    </a:moveTo>
                    <a:lnTo>
                      <a:pt x="246062" y="1644853"/>
                    </a:lnTo>
                    <a:lnTo>
                      <a:pt x="246062" y="1655089"/>
                    </a:lnTo>
                    <a:lnTo>
                      <a:pt x="256311" y="1655089"/>
                    </a:lnTo>
                    <a:lnTo>
                      <a:pt x="256311" y="1644853"/>
                    </a:lnTo>
                    <a:close/>
                  </a:path>
                  <a:path w="748664" h="1655445">
                    <a:moveTo>
                      <a:pt x="317817" y="1644853"/>
                    </a:moveTo>
                    <a:lnTo>
                      <a:pt x="307568" y="1644853"/>
                    </a:lnTo>
                    <a:lnTo>
                      <a:pt x="307568" y="1655089"/>
                    </a:lnTo>
                    <a:lnTo>
                      <a:pt x="317817" y="1655089"/>
                    </a:lnTo>
                    <a:lnTo>
                      <a:pt x="317817" y="1644853"/>
                    </a:lnTo>
                    <a:close/>
                  </a:path>
                  <a:path w="748664" h="1655445">
                    <a:moveTo>
                      <a:pt x="379336" y="1644853"/>
                    </a:moveTo>
                    <a:lnTo>
                      <a:pt x="369087" y="1644853"/>
                    </a:lnTo>
                    <a:lnTo>
                      <a:pt x="369087" y="1655089"/>
                    </a:lnTo>
                    <a:lnTo>
                      <a:pt x="379336" y="1655089"/>
                    </a:lnTo>
                    <a:lnTo>
                      <a:pt x="379336" y="1644853"/>
                    </a:lnTo>
                    <a:close/>
                  </a:path>
                  <a:path w="748664" h="1655445">
                    <a:moveTo>
                      <a:pt x="440855" y="1644853"/>
                    </a:moveTo>
                    <a:lnTo>
                      <a:pt x="430593" y="1644853"/>
                    </a:lnTo>
                    <a:lnTo>
                      <a:pt x="430593" y="1655089"/>
                    </a:lnTo>
                    <a:lnTo>
                      <a:pt x="440855" y="1655089"/>
                    </a:lnTo>
                    <a:lnTo>
                      <a:pt x="440855" y="1644853"/>
                    </a:lnTo>
                    <a:close/>
                  </a:path>
                  <a:path w="748664" h="1655445">
                    <a:moveTo>
                      <a:pt x="502361" y="1644853"/>
                    </a:moveTo>
                    <a:lnTo>
                      <a:pt x="492112" y="1644853"/>
                    </a:lnTo>
                    <a:lnTo>
                      <a:pt x="492112" y="1655089"/>
                    </a:lnTo>
                    <a:lnTo>
                      <a:pt x="502361" y="1655089"/>
                    </a:lnTo>
                    <a:lnTo>
                      <a:pt x="502361" y="1644853"/>
                    </a:lnTo>
                    <a:close/>
                  </a:path>
                  <a:path w="748664" h="1655445">
                    <a:moveTo>
                      <a:pt x="563880" y="1644853"/>
                    </a:moveTo>
                    <a:lnTo>
                      <a:pt x="553618" y="1644853"/>
                    </a:lnTo>
                    <a:lnTo>
                      <a:pt x="553618" y="1655089"/>
                    </a:lnTo>
                    <a:lnTo>
                      <a:pt x="563880" y="1655089"/>
                    </a:lnTo>
                    <a:lnTo>
                      <a:pt x="563880" y="1644853"/>
                    </a:lnTo>
                    <a:close/>
                  </a:path>
                  <a:path w="748664" h="1655445">
                    <a:moveTo>
                      <a:pt x="625386" y="1644853"/>
                    </a:moveTo>
                    <a:lnTo>
                      <a:pt x="615137" y="1644853"/>
                    </a:lnTo>
                    <a:lnTo>
                      <a:pt x="615137" y="1655089"/>
                    </a:lnTo>
                    <a:lnTo>
                      <a:pt x="625386" y="1655089"/>
                    </a:lnTo>
                    <a:lnTo>
                      <a:pt x="625386" y="1644853"/>
                    </a:lnTo>
                    <a:close/>
                  </a:path>
                  <a:path w="748664" h="1655445">
                    <a:moveTo>
                      <a:pt x="686904" y="1644853"/>
                    </a:moveTo>
                    <a:lnTo>
                      <a:pt x="676656" y="1644853"/>
                    </a:lnTo>
                    <a:lnTo>
                      <a:pt x="676656" y="1655089"/>
                    </a:lnTo>
                    <a:lnTo>
                      <a:pt x="686904" y="1655089"/>
                    </a:lnTo>
                    <a:lnTo>
                      <a:pt x="686904" y="1644853"/>
                    </a:lnTo>
                    <a:close/>
                  </a:path>
                  <a:path w="748664" h="1655445">
                    <a:moveTo>
                      <a:pt x="748411" y="1634617"/>
                    </a:moveTo>
                    <a:lnTo>
                      <a:pt x="738162" y="1634617"/>
                    </a:lnTo>
                    <a:lnTo>
                      <a:pt x="738162" y="1655089"/>
                    </a:lnTo>
                    <a:lnTo>
                      <a:pt x="748411" y="1655089"/>
                    </a:lnTo>
                    <a:lnTo>
                      <a:pt x="748411" y="1634617"/>
                    </a:lnTo>
                    <a:close/>
                  </a:path>
                  <a:path w="748664" h="1655445">
                    <a:moveTo>
                      <a:pt x="748411" y="1089748"/>
                    </a:moveTo>
                    <a:lnTo>
                      <a:pt x="738162" y="1089748"/>
                    </a:lnTo>
                    <a:lnTo>
                      <a:pt x="738162" y="1110221"/>
                    </a:lnTo>
                    <a:lnTo>
                      <a:pt x="748411" y="1110221"/>
                    </a:lnTo>
                    <a:lnTo>
                      <a:pt x="748411" y="1089748"/>
                    </a:lnTo>
                    <a:close/>
                  </a:path>
                  <a:path w="748664" h="1655445">
                    <a:moveTo>
                      <a:pt x="748411" y="544880"/>
                    </a:moveTo>
                    <a:lnTo>
                      <a:pt x="738162" y="544880"/>
                    </a:lnTo>
                    <a:lnTo>
                      <a:pt x="738162" y="565353"/>
                    </a:lnTo>
                    <a:lnTo>
                      <a:pt x="748411" y="565353"/>
                    </a:lnTo>
                    <a:lnTo>
                      <a:pt x="748411" y="544880"/>
                    </a:lnTo>
                    <a:close/>
                  </a:path>
                  <a:path w="748664" h="1655445">
                    <a:moveTo>
                      <a:pt x="748411" y="0"/>
                    </a:moveTo>
                    <a:lnTo>
                      <a:pt x="738162" y="0"/>
                    </a:lnTo>
                    <a:lnTo>
                      <a:pt x="738162" y="20485"/>
                    </a:lnTo>
                    <a:lnTo>
                      <a:pt x="748411" y="20485"/>
                    </a:lnTo>
                    <a:lnTo>
                      <a:pt x="748411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55" name="object 155"/>
              <p:cNvSpPr/>
              <p:nvPr/>
            </p:nvSpPr>
            <p:spPr>
              <a:xfrm>
                <a:off x="4461490" y="5110432"/>
                <a:ext cx="675640" cy="1798955"/>
              </a:xfrm>
              <a:custGeom>
                <a:avLst/>
                <a:gdLst/>
                <a:ahLst/>
                <a:cxnLst/>
                <a:rect l="l" t="t" r="r" b="b"/>
                <a:pathLst>
                  <a:path w="675639" h="1798954">
                    <a:moveTo>
                      <a:pt x="675438" y="1798603"/>
                    </a:moveTo>
                    <a:lnTo>
                      <a:pt x="0" y="1798603"/>
                    </a:lnTo>
                    <a:lnTo>
                      <a:pt x="0" y="0"/>
                    </a:lnTo>
                    <a:lnTo>
                      <a:pt x="675438" y="0"/>
                    </a:lnTo>
                    <a:lnTo>
                      <a:pt x="675438" y="1798603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156" name="object 156"/>
            <p:cNvSpPr/>
            <p:nvPr/>
          </p:nvSpPr>
          <p:spPr>
            <a:xfrm>
              <a:off x="4912807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57" name="object 157"/>
            <p:cNvSpPr/>
            <p:nvPr/>
          </p:nvSpPr>
          <p:spPr>
            <a:xfrm>
              <a:off x="4967083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158" name="object 158"/>
            <p:cNvGrpSpPr/>
            <p:nvPr/>
          </p:nvGrpSpPr>
          <p:grpSpPr>
            <a:xfrm>
              <a:off x="5021359" y="4955994"/>
              <a:ext cx="611841" cy="1149724"/>
              <a:chOff x="5335273" y="5616793"/>
              <a:chExt cx="693420" cy="1303020"/>
            </a:xfrm>
          </p:grpSpPr>
          <p:sp>
            <p:nvSpPr>
              <p:cNvPr id="159" name="object 159"/>
              <p:cNvSpPr/>
              <p:nvPr/>
            </p:nvSpPr>
            <p:spPr>
              <a:xfrm>
                <a:off x="5335270" y="5809068"/>
                <a:ext cx="687070" cy="1110615"/>
              </a:xfrm>
              <a:custGeom>
                <a:avLst/>
                <a:gdLst/>
                <a:ahLst/>
                <a:cxnLst/>
                <a:rect l="l" t="t" r="r" b="b"/>
                <a:pathLst>
                  <a:path w="687070" h="1110615">
                    <a:moveTo>
                      <a:pt x="10248" y="1089736"/>
                    </a:moveTo>
                    <a:lnTo>
                      <a:pt x="0" y="1089736"/>
                    </a:lnTo>
                    <a:lnTo>
                      <a:pt x="0" y="1110208"/>
                    </a:lnTo>
                    <a:lnTo>
                      <a:pt x="10248" y="1110208"/>
                    </a:lnTo>
                    <a:lnTo>
                      <a:pt x="10248" y="1089736"/>
                    </a:lnTo>
                    <a:close/>
                  </a:path>
                  <a:path w="687070" h="1110615">
                    <a:moveTo>
                      <a:pt x="10248" y="544868"/>
                    </a:moveTo>
                    <a:lnTo>
                      <a:pt x="0" y="544868"/>
                    </a:lnTo>
                    <a:lnTo>
                      <a:pt x="0" y="565340"/>
                    </a:lnTo>
                    <a:lnTo>
                      <a:pt x="10248" y="565340"/>
                    </a:lnTo>
                    <a:lnTo>
                      <a:pt x="10248" y="544868"/>
                    </a:lnTo>
                    <a:close/>
                  </a:path>
                  <a:path w="687070" h="111061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20472"/>
                    </a:lnTo>
                    <a:lnTo>
                      <a:pt x="10248" y="20472"/>
                    </a:lnTo>
                    <a:lnTo>
                      <a:pt x="10248" y="0"/>
                    </a:lnTo>
                    <a:close/>
                  </a:path>
                  <a:path w="687070" h="1110615">
                    <a:moveTo>
                      <a:pt x="71767" y="1099972"/>
                    </a:moveTo>
                    <a:lnTo>
                      <a:pt x="61506" y="1099972"/>
                    </a:lnTo>
                    <a:lnTo>
                      <a:pt x="61506" y="1110208"/>
                    </a:lnTo>
                    <a:lnTo>
                      <a:pt x="71767" y="1110208"/>
                    </a:lnTo>
                    <a:lnTo>
                      <a:pt x="71767" y="1099972"/>
                    </a:lnTo>
                    <a:close/>
                  </a:path>
                  <a:path w="687070" h="1110615">
                    <a:moveTo>
                      <a:pt x="133273" y="1099972"/>
                    </a:moveTo>
                    <a:lnTo>
                      <a:pt x="123024" y="1099972"/>
                    </a:lnTo>
                    <a:lnTo>
                      <a:pt x="123024" y="1110208"/>
                    </a:lnTo>
                    <a:lnTo>
                      <a:pt x="133273" y="1110208"/>
                    </a:lnTo>
                    <a:lnTo>
                      <a:pt x="133273" y="1099972"/>
                    </a:lnTo>
                    <a:close/>
                  </a:path>
                  <a:path w="687070" h="1110615">
                    <a:moveTo>
                      <a:pt x="194792" y="1099972"/>
                    </a:moveTo>
                    <a:lnTo>
                      <a:pt x="184531" y="1099972"/>
                    </a:lnTo>
                    <a:lnTo>
                      <a:pt x="184531" y="1110208"/>
                    </a:lnTo>
                    <a:lnTo>
                      <a:pt x="194792" y="1110208"/>
                    </a:lnTo>
                    <a:lnTo>
                      <a:pt x="194792" y="1099972"/>
                    </a:lnTo>
                    <a:close/>
                  </a:path>
                  <a:path w="687070" h="1110615">
                    <a:moveTo>
                      <a:pt x="256298" y="1099972"/>
                    </a:moveTo>
                    <a:lnTo>
                      <a:pt x="246049" y="1099972"/>
                    </a:lnTo>
                    <a:lnTo>
                      <a:pt x="246049" y="1110208"/>
                    </a:lnTo>
                    <a:lnTo>
                      <a:pt x="256298" y="1110208"/>
                    </a:lnTo>
                    <a:lnTo>
                      <a:pt x="256298" y="1099972"/>
                    </a:lnTo>
                    <a:close/>
                  </a:path>
                  <a:path w="687070" h="1110615">
                    <a:moveTo>
                      <a:pt x="317817" y="1099972"/>
                    </a:moveTo>
                    <a:lnTo>
                      <a:pt x="307568" y="1099972"/>
                    </a:lnTo>
                    <a:lnTo>
                      <a:pt x="307568" y="1110208"/>
                    </a:lnTo>
                    <a:lnTo>
                      <a:pt x="317817" y="1110208"/>
                    </a:lnTo>
                    <a:lnTo>
                      <a:pt x="317817" y="1099972"/>
                    </a:lnTo>
                    <a:close/>
                  </a:path>
                  <a:path w="687070" h="1110615">
                    <a:moveTo>
                      <a:pt x="379323" y="1099972"/>
                    </a:moveTo>
                    <a:lnTo>
                      <a:pt x="369074" y="1099972"/>
                    </a:lnTo>
                    <a:lnTo>
                      <a:pt x="369074" y="1110208"/>
                    </a:lnTo>
                    <a:lnTo>
                      <a:pt x="379323" y="1110208"/>
                    </a:lnTo>
                    <a:lnTo>
                      <a:pt x="379323" y="1099972"/>
                    </a:lnTo>
                    <a:close/>
                  </a:path>
                  <a:path w="687070" h="1110615">
                    <a:moveTo>
                      <a:pt x="440842" y="1099972"/>
                    </a:moveTo>
                    <a:lnTo>
                      <a:pt x="430593" y="1099972"/>
                    </a:lnTo>
                    <a:lnTo>
                      <a:pt x="430593" y="1110208"/>
                    </a:lnTo>
                    <a:lnTo>
                      <a:pt x="440842" y="1110208"/>
                    </a:lnTo>
                    <a:lnTo>
                      <a:pt x="440842" y="1099972"/>
                    </a:lnTo>
                    <a:close/>
                  </a:path>
                  <a:path w="687070" h="1110615">
                    <a:moveTo>
                      <a:pt x="502361" y="1099972"/>
                    </a:moveTo>
                    <a:lnTo>
                      <a:pt x="492099" y="1099972"/>
                    </a:lnTo>
                    <a:lnTo>
                      <a:pt x="492099" y="1110208"/>
                    </a:lnTo>
                    <a:lnTo>
                      <a:pt x="502361" y="1110208"/>
                    </a:lnTo>
                    <a:lnTo>
                      <a:pt x="502361" y="1099972"/>
                    </a:lnTo>
                    <a:close/>
                  </a:path>
                  <a:path w="687070" h="1110615">
                    <a:moveTo>
                      <a:pt x="563867" y="1099972"/>
                    </a:moveTo>
                    <a:lnTo>
                      <a:pt x="553618" y="1099972"/>
                    </a:lnTo>
                    <a:lnTo>
                      <a:pt x="553618" y="1110208"/>
                    </a:lnTo>
                    <a:lnTo>
                      <a:pt x="563867" y="1110208"/>
                    </a:lnTo>
                    <a:lnTo>
                      <a:pt x="563867" y="1099972"/>
                    </a:lnTo>
                    <a:close/>
                  </a:path>
                  <a:path w="687070" h="1110615">
                    <a:moveTo>
                      <a:pt x="625386" y="1099972"/>
                    </a:moveTo>
                    <a:lnTo>
                      <a:pt x="615124" y="1099972"/>
                    </a:lnTo>
                    <a:lnTo>
                      <a:pt x="615124" y="1110208"/>
                    </a:lnTo>
                    <a:lnTo>
                      <a:pt x="625386" y="1110208"/>
                    </a:lnTo>
                    <a:lnTo>
                      <a:pt x="625386" y="1099972"/>
                    </a:lnTo>
                    <a:close/>
                  </a:path>
                  <a:path w="687070" h="1110615">
                    <a:moveTo>
                      <a:pt x="686892" y="1099972"/>
                    </a:moveTo>
                    <a:lnTo>
                      <a:pt x="676643" y="1099972"/>
                    </a:lnTo>
                    <a:lnTo>
                      <a:pt x="676643" y="1110208"/>
                    </a:lnTo>
                    <a:lnTo>
                      <a:pt x="686892" y="1110208"/>
                    </a:lnTo>
                    <a:lnTo>
                      <a:pt x="686892" y="1099972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0" name="object 160"/>
              <p:cNvSpPr/>
              <p:nvPr/>
            </p:nvSpPr>
            <p:spPr>
              <a:xfrm>
                <a:off x="5352694" y="5616793"/>
                <a:ext cx="675640" cy="1292860"/>
              </a:xfrm>
              <a:custGeom>
                <a:avLst/>
                <a:gdLst/>
                <a:ahLst/>
                <a:cxnLst/>
                <a:rect l="l" t="t" r="r" b="b"/>
                <a:pathLst>
                  <a:path w="675639" h="1292859">
                    <a:moveTo>
                      <a:pt x="675438" y="1292242"/>
                    </a:moveTo>
                    <a:lnTo>
                      <a:pt x="0" y="1292242"/>
                    </a:lnTo>
                    <a:lnTo>
                      <a:pt x="0" y="0"/>
                    </a:lnTo>
                    <a:lnTo>
                      <a:pt x="675438" y="0"/>
                    </a:lnTo>
                    <a:lnTo>
                      <a:pt x="675438" y="1292242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161" name="object 161"/>
            <p:cNvSpPr/>
            <p:nvPr/>
          </p:nvSpPr>
          <p:spPr>
            <a:xfrm>
              <a:off x="5672676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62" name="object 162"/>
            <p:cNvSpPr/>
            <p:nvPr/>
          </p:nvSpPr>
          <p:spPr>
            <a:xfrm>
              <a:off x="5726953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163" name="object 163"/>
            <p:cNvGrpSpPr/>
            <p:nvPr/>
          </p:nvGrpSpPr>
          <p:grpSpPr>
            <a:xfrm>
              <a:off x="5781229" y="5351598"/>
              <a:ext cx="660587" cy="754156"/>
              <a:chOff x="6196459" y="6065144"/>
              <a:chExt cx="748665" cy="854710"/>
            </a:xfrm>
          </p:grpSpPr>
          <p:sp>
            <p:nvSpPr>
              <p:cNvPr id="164" name="object 164"/>
              <p:cNvSpPr/>
              <p:nvPr/>
            </p:nvSpPr>
            <p:spPr>
              <a:xfrm>
                <a:off x="6196457" y="6353936"/>
                <a:ext cx="748665" cy="565785"/>
              </a:xfrm>
              <a:custGeom>
                <a:avLst/>
                <a:gdLst/>
                <a:ahLst/>
                <a:cxnLst/>
                <a:rect l="l" t="t" r="r" b="b"/>
                <a:pathLst>
                  <a:path w="748665" h="565784">
                    <a:moveTo>
                      <a:pt x="10248" y="544868"/>
                    </a:moveTo>
                    <a:lnTo>
                      <a:pt x="0" y="544868"/>
                    </a:lnTo>
                    <a:lnTo>
                      <a:pt x="0" y="565340"/>
                    </a:lnTo>
                    <a:lnTo>
                      <a:pt x="10248" y="565340"/>
                    </a:lnTo>
                    <a:lnTo>
                      <a:pt x="10248" y="544868"/>
                    </a:lnTo>
                    <a:close/>
                  </a:path>
                  <a:path w="748665" h="565784">
                    <a:moveTo>
                      <a:pt x="10248" y="0"/>
                    </a:moveTo>
                    <a:lnTo>
                      <a:pt x="0" y="0"/>
                    </a:lnTo>
                    <a:lnTo>
                      <a:pt x="0" y="20472"/>
                    </a:lnTo>
                    <a:lnTo>
                      <a:pt x="10248" y="20472"/>
                    </a:lnTo>
                    <a:lnTo>
                      <a:pt x="10248" y="0"/>
                    </a:lnTo>
                    <a:close/>
                  </a:path>
                  <a:path w="748665" h="565784">
                    <a:moveTo>
                      <a:pt x="71767" y="555104"/>
                    </a:moveTo>
                    <a:lnTo>
                      <a:pt x="61506" y="555104"/>
                    </a:lnTo>
                    <a:lnTo>
                      <a:pt x="61506" y="565340"/>
                    </a:lnTo>
                    <a:lnTo>
                      <a:pt x="71767" y="565340"/>
                    </a:lnTo>
                    <a:lnTo>
                      <a:pt x="71767" y="555104"/>
                    </a:lnTo>
                    <a:close/>
                  </a:path>
                  <a:path w="748665" h="565784">
                    <a:moveTo>
                      <a:pt x="133273" y="555104"/>
                    </a:moveTo>
                    <a:lnTo>
                      <a:pt x="123024" y="555104"/>
                    </a:lnTo>
                    <a:lnTo>
                      <a:pt x="123024" y="565340"/>
                    </a:lnTo>
                    <a:lnTo>
                      <a:pt x="133273" y="565340"/>
                    </a:lnTo>
                    <a:lnTo>
                      <a:pt x="133273" y="555104"/>
                    </a:lnTo>
                    <a:close/>
                  </a:path>
                  <a:path w="748665" h="565784">
                    <a:moveTo>
                      <a:pt x="194792" y="555104"/>
                    </a:moveTo>
                    <a:lnTo>
                      <a:pt x="184531" y="555104"/>
                    </a:lnTo>
                    <a:lnTo>
                      <a:pt x="184531" y="565340"/>
                    </a:lnTo>
                    <a:lnTo>
                      <a:pt x="194792" y="565340"/>
                    </a:lnTo>
                    <a:lnTo>
                      <a:pt x="194792" y="555104"/>
                    </a:lnTo>
                    <a:close/>
                  </a:path>
                  <a:path w="748665" h="565784">
                    <a:moveTo>
                      <a:pt x="256298" y="555104"/>
                    </a:moveTo>
                    <a:lnTo>
                      <a:pt x="246049" y="555104"/>
                    </a:lnTo>
                    <a:lnTo>
                      <a:pt x="246049" y="565340"/>
                    </a:lnTo>
                    <a:lnTo>
                      <a:pt x="256298" y="565340"/>
                    </a:lnTo>
                    <a:lnTo>
                      <a:pt x="256298" y="555104"/>
                    </a:lnTo>
                    <a:close/>
                  </a:path>
                  <a:path w="748665" h="565784">
                    <a:moveTo>
                      <a:pt x="317817" y="555104"/>
                    </a:moveTo>
                    <a:lnTo>
                      <a:pt x="307555" y="555104"/>
                    </a:lnTo>
                    <a:lnTo>
                      <a:pt x="307555" y="565340"/>
                    </a:lnTo>
                    <a:lnTo>
                      <a:pt x="317817" y="565340"/>
                    </a:lnTo>
                    <a:lnTo>
                      <a:pt x="317817" y="555104"/>
                    </a:lnTo>
                    <a:close/>
                  </a:path>
                  <a:path w="748665" h="565784">
                    <a:moveTo>
                      <a:pt x="379323" y="555104"/>
                    </a:moveTo>
                    <a:lnTo>
                      <a:pt x="369074" y="555104"/>
                    </a:lnTo>
                    <a:lnTo>
                      <a:pt x="369074" y="565340"/>
                    </a:lnTo>
                    <a:lnTo>
                      <a:pt x="379323" y="565340"/>
                    </a:lnTo>
                    <a:lnTo>
                      <a:pt x="379323" y="555104"/>
                    </a:lnTo>
                    <a:close/>
                  </a:path>
                  <a:path w="748665" h="565784">
                    <a:moveTo>
                      <a:pt x="440842" y="555104"/>
                    </a:moveTo>
                    <a:lnTo>
                      <a:pt x="430593" y="555104"/>
                    </a:lnTo>
                    <a:lnTo>
                      <a:pt x="430593" y="565340"/>
                    </a:lnTo>
                    <a:lnTo>
                      <a:pt x="440842" y="565340"/>
                    </a:lnTo>
                    <a:lnTo>
                      <a:pt x="440842" y="555104"/>
                    </a:lnTo>
                    <a:close/>
                  </a:path>
                  <a:path w="748665" h="565784">
                    <a:moveTo>
                      <a:pt x="502348" y="555104"/>
                    </a:moveTo>
                    <a:lnTo>
                      <a:pt x="492099" y="555104"/>
                    </a:lnTo>
                    <a:lnTo>
                      <a:pt x="492099" y="565340"/>
                    </a:lnTo>
                    <a:lnTo>
                      <a:pt x="502348" y="565340"/>
                    </a:lnTo>
                    <a:lnTo>
                      <a:pt x="502348" y="555104"/>
                    </a:lnTo>
                    <a:close/>
                  </a:path>
                  <a:path w="748665" h="565784">
                    <a:moveTo>
                      <a:pt x="563867" y="555104"/>
                    </a:moveTo>
                    <a:lnTo>
                      <a:pt x="553618" y="555104"/>
                    </a:lnTo>
                    <a:lnTo>
                      <a:pt x="553618" y="565340"/>
                    </a:lnTo>
                    <a:lnTo>
                      <a:pt x="563867" y="565340"/>
                    </a:lnTo>
                    <a:lnTo>
                      <a:pt x="563867" y="555104"/>
                    </a:lnTo>
                    <a:close/>
                  </a:path>
                  <a:path w="748665" h="565784">
                    <a:moveTo>
                      <a:pt x="625386" y="555104"/>
                    </a:moveTo>
                    <a:lnTo>
                      <a:pt x="615124" y="555104"/>
                    </a:lnTo>
                    <a:lnTo>
                      <a:pt x="615124" y="565340"/>
                    </a:lnTo>
                    <a:lnTo>
                      <a:pt x="625386" y="565340"/>
                    </a:lnTo>
                    <a:lnTo>
                      <a:pt x="625386" y="555104"/>
                    </a:lnTo>
                    <a:close/>
                  </a:path>
                  <a:path w="748665" h="565784">
                    <a:moveTo>
                      <a:pt x="686892" y="555104"/>
                    </a:moveTo>
                    <a:lnTo>
                      <a:pt x="676643" y="555104"/>
                    </a:lnTo>
                    <a:lnTo>
                      <a:pt x="676643" y="565340"/>
                    </a:lnTo>
                    <a:lnTo>
                      <a:pt x="686892" y="565340"/>
                    </a:lnTo>
                    <a:lnTo>
                      <a:pt x="686892" y="555104"/>
                    </a:lnTo>
                    <a:close/>
                  </a:path>
                  <a:path w="748665" h="565784">
                    <a:moveTo>
                      <a:pt x="748411" y="544868"/>
                    </a:moveTo>
                    <a:lnTo>
                      <a:pt x="738149" y="544868"/>
                    </a:lnTo>
                    <a:lnTo>
                      <a:pt x="738149" y="565340"/>
                    </a:lnTo>
                    <a:lnTo>
                      <a:pt x="748411" y="565340"/>
                    </a:lnTo>
                    <a:lnTo>
                      <a:pt x="748411" y="544868"/>
                    </a:lnTo>
                    <a:close/>
                  </a:path>
                  <a:path w="748665" h="565784">
                    <a:moveTo>
                      <a:pt x="748411" y="0"/>
                    </a:moveTo>
                    <a:lnTo>
                      <a:pt x="738149" y="0"/>
                    </a:lnTo>
                    <a:lnTo>
                      <a:pt x="738149" y="20472"/>
                    </a:lnTo>
                    <a:lnTo>
                      <a:pt x="748411" y="20472"/>
                    </a:lnTo>
                    <a:lnTo>
                      <a:pt x="748411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165" name="object 165"/>
              <p:cNvSpPr/>
              <p:nvPr/>
            </p:nvSpPr>
            <p:spPr>
              <a:xfrm>
                <a:off x="6243898" y="6065144"/>
                <a:ext cx="675640" cy="843915"/>
              </a:xfrm>
              <a:custGeom>
                <a:avLst/>
                <a:gdLst/>
                <a:ahLst/>
                <a:cxnLst/>
                <a:rect l="l" t="t" r="r" b="b"/>
                <a:pathLst>
                  <a:path w="675640" h="843915">
                    <a:moveTo>
                      <a:pt x="675438" y="843891"/>
                    </a:moveTo>
                    <a:lnTo>
                      <a:pt x="0" y="843891"/>
                    </a:lnTo>
                    <a:lnTo>
                      <a:pt x="0" y="0"/>
                    </a:lnTo>
                    <a:lnTo>
                      <a:pt x="675438" y="0"/>
                    </a:lnTo>
                    <a:lnTo>
                      <a:pt x="675438" y="843891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172" name="object 172"/>
            <p:cNvSpPr txBox="1"/>
            <p:nvPr/>
          </p:nvSpPr>
          <p:spPr>
            <a:xfrm>
              <a:off x="3775649" y="6011295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73" name="object 173"/>
            <p:cNvSpPr/>
            <p:nvPr/>
          </p:nvSpPr>
          <p:spPr>
            <a:xfrm>
              <a:off x="3935832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4" name="object 174"/>
            <p:cNvSpPr/>
            <p:nvPr/>
          </p:nvSpPr>
          <p:spPr>
            <a:xfrm>
              <a:off x="3990108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5" name="object 175"/>
            <p:cNvSpPr/>
            <p:nvPr/>
          </p:nvSpPr>
          <p:spPr>
            <a:xfrm>
              <a:off x="4044384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6" name="object 176"/>
            <p:cNvSpPr/>
            <p:nvPr/>
          </p:nvSpPr>
          <p:spPr>
            <a:xfrm>
              <a:off x="4098661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7" name="object 177"/>
            <p:cNvSpPr/>
            <p:nvPr/>
          </p:nvSpPr>
          <p:spPr>
            <a:xfrm>
              <a:off x="4152937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8" name="object 178"/>
            <p:cNvSpPr/>
            <p:nvPr/>
          </p:nvSpPr>
          <p:spPr>
            <a:xfrm>
              <a:off x="4912807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9" name="object 179"/>
            <p:cNvSpPr/>
            <p:nvPr/>
          </p:nvSpPr>
          <p:spPr>
            <a:xfrm>
              <a:off x="4967083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0" name="object 180"/>
            <p:cNvSpPr/>
            <p:nvPr/>
          </p:nvSpPr>
          <p:spPr>
            <a:xfrm>
              <a:off x="5672676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1" name="object 181"/>
            <p:cNvSpPr/>
            <p:nvPr/>
          </p:nvSpPr>
          <p:spPr>
            <a:xfrm>
              <a:off x="5726953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8" name="object 188"/>
            <p:cNvSpPr txBox="1"/>
            <p:nvPr/>
          </p:nvSpPr>
          <p:spPr>
            <a:xfrm>
              <a:off x="3658615" y="5530529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1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89" name="object 189"/>
            <p:cNvSpPr/>
            <p:nvPr/>
          </p:nvSpPr>
          <p:spPr>
            <a:xfrm>
              <a:off x="3935832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0" name="object 190"/>
            <p:cNvSpPr/>
            <p:nvPr/>
          </p:nvSpPr>
          <p:spPr>
            <a:xfrm>
              <a:off x="3990108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1" name="object 191"/>
            <p:cNvSpPr/>
            <p:nvPr/>
          </p:nvSpPr>
          <p:spPr>
            <a:xfrm>
              <a:off x="4044384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2" name="object 192"/>
            <p:cNvSpPr/>
            <p:nvPr/>
          </p:nvSpPr>
          <p:spPr>
            <a:xfrm>
              <a:off x="4098661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3" name="object 193"/>
            <p:cNvSpPr/>
            <p:nvPr/>
          </p:nvSpPr>
          <p:spPr>
            <a:xfrm>
              <a:off x="4152937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4" name="object 194"/>
            <p:cNvSpPr/>
            <p:nvPr/>
          </p:nvSpPr>
          <p:spPr>
            <a:xfrm>
              <a:off x="4912807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5" name="object 195"/>
            <p:cNvSpPr/>
            <p:nvPr/>
          </p:nvSpPr>
          <p:spPr>
            <a:xfrm>
              <a:off x="4967083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6" name="object 196"/>
            <p:cNvSpPr/>
            <p:nvPr/>
          </p:nvSpPr>
          <p:spPr>
            <a:xfrm>
              <a:off x="5672676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7" name="object 197"/>
            <p:cNvSpPr/>
            <p:nvPr/>
          </p:nvSpPr>
          <p:spPr>
            <a:xfrm>
              <a:off x="5726953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8" name="object 198"/>
            <p:cNvSpPr/>
            <p:nvPr/>
          </p:nvSpPr>
          <p:spPr>
            <a:xfrm>
              <a:off x="5781229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9" name="object 199"/>
            <p:cNvSpPr/>
            <p:nvPr/>
          </p:nvSpPr>
          <p:spPr>
            <a:xfrm>
              <a:off x="5835505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0" name="object 200"/>
            <p:cNvSpPr/>
            <p:nvPr/>
          </p:nvSpPr>
          <p:spPr>
            <a:xfrm>
              <a:off x="5889781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201" name="object 201"/>
            <p:cNvGrpSpPr/>
            <p:nvPr/>
          </p:nvGrpSpPr>
          <p:grpSpPr>
            <a:xfrm>
              <a:off x="5944057" y="5123877"/>
              <a:ext cx="337297" cy="173691"/>
              <a:chOff x="6380998" y="5807060"/>
              <a:chExt cx="382270" cy="196850"/>
            </a:xfrm>
          </p:grpSpPr>
          <p:sp>
            <p:nvSpPr>
              <p:cNvPr id="202" name="object 202"/>
              <p:cNvSpPr/>
              <p:nvPr/>
            </p:nvSpPr>
            <p:spPr>
              <a:xfrm>
                <a:off x="6380988" y="5809068"/>
                <a:ext cx="379730" cy="20955"/>
              </a:xfrm>
              <a:custGeom>
                <a:avLst/>
                <a:gdLst/>
                <a:ahLst/>
                <a:cxnLst/>
                <a:rect l="l" t="t" r="r" b="b"/>
                <a:pathLst>
                  <a:path w="379729" h="20954">
                    <a:moveTo>
                      <a:pt x="10261" y="0"/>
                    </a:moveTo>
                    <a:lnTo>
                      <a:pt x="0" y="0"/>
                    </a:lnTo>
                    <a:lnTo>
                      <a:pt x="0" y="20472"/>
                    </a:lnTo>
                    <a:lnTo>
                      <a:pt x="10261" y="20472"/>
                    </a:lnTo>
                    <a:lnTo>
                      <a:pt x="10261" y="0"/>
                    </a:lnTo>
                    <a:close/>
                  </a:path>
                  <a:path w="379729" h="20954">
                    <a:moveTo>
                      <a:pt x="71767" y="0"/>
                    </a:moveTo>
                    <a:lnTo>
                      <a:pt x="61518" y="0"/>
                    </a:lnTo>
                    <a:lnTo>
                      <a:pt x="61518" y="20472"/>
                    </a:lnTo>
                    <a:lnTo>
                      <a:pt x="71767" y="20472"/>
                    </a:lnTo>
                    <a:lnTo>
                      <a:pt x="71767" y="0"/>
                    </a:lnTo>
                    <a:close/>
                  </a:path>
                  <a:path w="379729" h="20954">
                    <a:moveTo>
                      <a:pt x="133286" y="0"/>
                    </a:moveTo>
                    <a:lnTo>
                      <a:pt x="123037" y="0"/>
                    </a:lnTo>
                    <a:lnTo>
                      <a:pt x="123037" y="20472"/>
                    </a:lnTo>
                    <a:lnTo>
                      <a:pt x="133286" y="20472"/>
                    </a:lnTo>
                    <a:lnTo>
                      <a:pt x="133286" y="0"/>
                    </a:lnTo>
                    <a:close/>
                  </a:path>
                  <a:path w="379729" h="20954">
                    <a:moveTo>
                      <a:pt x="194792" y="0"/>
                    </a:moveTo>
                    <a:lnTo>
                      <a:pt x="184543" y="0"/>
                    </a:lnTo>
                    <a:lnTo>
                      <a:pt x="184543" y="20472"/>
                    </a:lnTo>
                    <a:lnTo>
                      <a:pt x="194792" y="20472"/>
                    </a:lnTo>
                    <a:lnTo>
                      <a:pt x="194792" y="0"/>
                    </a:lnTo>
                    <a:close/>
                  </a:path>
                  <a:path w="379729" h="20954">
                    <a:moveTo>
                      <a:pt x="256311" y="0"/>
                    </a:moveTo>
                    <a:lnTo>
                      <a:pt x="246062" y="0"/>
                    </a:lnTo>
                    <a:lnTo>
                      <a:pt x="246062" y="20472"/>
                    </a:lnTo>
                    <a:lnTo>
                      <a:pt x="256311" y="20472"/>
                    </a:lnTo>
                    <a:lnTo>
                      <a:pt x="256311" y="0"/>
                    </a:lnTo>
                    <a:close/>
                  </a:path>
                  <a:path w="379729" h="20954">
                    <a:moveTo>
                      <a:pt x="317817" y="0"/>
                    </a:moveTo>
                    <a:lnTo>
                      <a:pt x="307568" y="0"/>
                    </a:lnTo>
                    <a:lnTo>
                      <a:pt x="307568" y="20472"/>
                    </a:lnTo>
                    <a:lnTo>
                      <a:pt x="317817" y="20472"/>
                    </a:lnTo>
                    <a:lnTo>
                      <a:pt x="317817" y="0"/>
                    </a:lnTo>
                    <a:close/>
                  </a:path>
                  <a:path w="379729" h="20954">
                    <a:moveTo>
                      <a:pt x="379336" y="0"/>
                    </a:moveTo>
                    <a:lnTo>
                      <a:pt x="369087" y="0"/>
                    </a:lnTo>
                    <a:lnTo>
                      <a:pt x="369087" y="20472"/>
                    </a:lnTo>
                    <a:lnTo>
                      <a:pt x="379336" y="20472"/>
                    </a:lnTo>
                    <a:lnTo>
                      <a:pt x="379336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203" name="object 203"/>
              <p:cNvSpPr/>
              <p:nvPr/>
            </p:nvSpPr>
            <p:spPr>
              <a:xfrm>
                <a:off x="6400121" y="5807060"/>
                <a:ext cx="363220" cy="196850"/>
              </a:xfrm>
              <a:custGeom>
                <a:avLst/>
                <a:gdLst/>
                <a:ahLst/>
                <a:cxnLst/>
                <a:rect l="l" t="t" r="r" b="b"/>
                <a:pathLst>
                  <a:path w="363220" h="196850">
                    <a:moveTo>
                      <a:pt x="327421" y="196662"/>
                    </a:moveTo>
                    <a:lnTo>
                      <a:pt x="35570" y="196662"/>
                    </a:lnTo>
                    <a:lnTo>
                      <a:pt x="30339" y="195622"/>
                    </a:lnTo>
                    <a:lnTo>
                      <a:pt x="1040" y="166367"/>
                    </a:lnTo>
                    <a:lnTo>
                      <a:pt x="0" y="161144"/>
                    </a:lnTo>
                    <a:lnTo>
                      <a:pt x="0" y="35517"/>
                    </a:lnTo>
                    <a:lnTo>
                      <a:pt x="30339" y="1038"/>
                    </a:lnTo>
                    <a:lnTo>
                      <a:pt x="35570" y="0"/>
                    </a:lnTo>
                    <a:lnTo>
                      <a:pt x="41009" y="0"/>
                    </a:lnTo>
                    <a:lnTo>
                      <a:pt x="327421" y="0"/>
                    </a:lnTo>
                    <a:lnTo>
                      <a:pt x="361951" y="30294"/>
                    </a:lnTo>
                    <a:lnTo>
                      <a:pt x="362991" y="35517"/>
                    </a:lnTo>
                    <a:lnTo>
                      <a:pt x="362991" y="161144"/>
                    </a:lnTo>
                    <a:lnTo>
                      <a:pt x="332652" y="195622"/>
                    </a:lnTo>
                    <a:lnTo>
                      <a:pt x="327421" y="196662"/>
                    </a:lnTo>
                    <a:close/>
                  </a:path>
                </a:pathLst>
              </a:custGeom>
              <a:solidFill>
                <a:srgbClr val="252423">
                  <a:alpha val="10198"/>
                </a:srgbClr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204" name="object 204"/>
            <p:cNvSpPr/>
            <p:nvPr/>
          </p:nvSpPr>
          <p:spPr>
            <a:xfrm>
              <a:off x="6323993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5" name="object 205"/>
            <p:cNvSpPr/>
            <p:nvPr/>
          </p:nvSpPr>
          <p:spPr>
            <a:xfrm>
              <a:off x="6378270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3" name="object 213"/>
            <p:cNvSpPr txBox="1"/>
            <p:nvPr/>
          </p:nvSpPr>
          <p:spPr>
            <a:xfrm>
              <a:off x="3658615" y="5049760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2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14" name="object 214"/>
            <p:cNvSpPr/>
            <p:nvPr/>
          </p:nvSpPr>
          <p:spPr>
            <a:xfrm>
              <a:off x="3935832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5" name="object 215"/>
            <p:cNvSpPr/>
            <p:nvPr/>
          </p:nvSpPr>
          <p:spPr>
            <a:xfrm>
              <a:off x="3990108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6" name="object 216"/>
            <p:cNvSpPr/>
            <p:nvPr/>
          </p:nvSpPr>
          <p:spPr>
            <a:xfrm>
              <a:off x="4044384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7" name="object 217"/>
            <p:cNvSpPr/>
            <p:nvPr/>
          </p:nvSpPr>
          <p:spPr>
            <a:xfrm>
              <a:off x="4098661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8" name="object 218"/>
            <p:cNvSpPr/>
            <p:nvPr/>
          </p:nvSpPr>
          <p:spPr>
            <a:xfrm>
              <a:off x="4152937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9" name="object 219"/>
            <p:cNvSpPr/>
            <p:nvPr/>
          </p:nvSpPr>
          <p:spPr>
            <a:xfrm>
              <a:off x="4912807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0" name="object 220"/>
            <p:cNvSpPr/>
            <p:nvPr/>
          </p:nvSpPr>
          <p:spPr>
            <a:xfrm>
              <a:off x="4967083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1" name="object 221"/>
            <p:cNvSpPr/>
            <p:nvPr/>
          </p:nvSpPr>
          <p:spPr>
            <a:xfrm>
              <a:off x="5021359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2" name="object 222"/>
            <p:cNvSpPr/>
            <p:nvPr/>
          </p:nvSpPr>
          <p:spPr>
            <a:xfrm>
              <a:off x="5075636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3" name="object 223"/>
            <p:cNvSpPr/>
            <p:nvPr/>
          </p:nvSpPr>
          <p:spPr>
            <a:xfrm>
              <a:off x="5129912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4" name="object 224"/>
            <p:cNvSpPr/>
            <p:nvPr/>
          </p:nvSpPr>
          <p:spPr>
            <a:xfrm>
              <a:off x="5184188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5" name="object 225"/>
            <p:cNvSpPr/>
            <p:nvPr/>
          </p:nvSpPr>
          <p:spPr>
            <a:xfrm>
              <a:off x="5238465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6" name="object 226"/>
            <p:cNvSpPr/>
            <p:nvPr/>
          </p:nvSpPr>
          <p:spPr>
            <a:xfrm>
              <a:off x="5292742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7" name="object 227"/>
            <p:cNvSpPr/>
            <p:nvPr/>
          </p:nvSpPr>
          <p:spPr>
            <a:xfrm>
              <a:off x="5347018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8" name="object 228"/>
            <p:cNvSpPr/>
            <p:nvPr/>
          </p:nvSpPr>
          <p:spPr>
            <a:xfrm>
              <a:off x="5401294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9" name="object 229"/>
            <p:cNvSpPr/>
            <p:nvPr/>
          </p:nvSpPr>
          <p:spPr>
            <a:xfrm>
              <a:off x="5455570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0" name="object 230"/>
            <p:cNvSpPr/>
            <p:nvPr/>
          </p:nvSpPr>
          <p:spPr>
            <a:xfrm>
              <a:off x="5509847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1" name="object 231"/>
            <p:cNvSpPr/>
            <p:nvPr/>
          </p:nvSpPr>
          <p:spPr>
            <a:xfrm>
              <a:off x="5564123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2" name="object 232"/>
            <p:cNvSpPr/>
            <p:nvPr/>
          </p:nvSpPr>
          <p:spPr>
            <a:xfrm>
              <a:off x="5618400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3" name="object 233"/>
            <p:cNvSpPr/>
            <p:nvPr/>
          </p:nvSpPr>
          <p:spPr>
            <a:xfrm>
              <a:off x="5672676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4" name="object 234"/>
            <p:cNvSpPr/>
            <p:nvPr/>
          </p:nvSpPr>
          <p:spPr>
            <a:xfrm>
              <a:off x="5726953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5" name="object 235"/>
            <p:cNvSpPr/>
            <p:nvPr/>
          </p:nvSpPr>
          <p:spPr>
            <a:xfrm>
              <a:off x="5781229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6" name="object 236"/>
            <p:cNvSpPr/>
            <p:nvPr/>
          </p:nvSpPr>
          <p:spPr>
            <a:xfrm>
              <a:off x="5835505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7" name="object 237"/>
            <p:cNvSpPr/>
            <p:nvPr/>
          </p:nvSpPr>
          <p:spPr>
            <a:xfrm>
              <a:off x="5889781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8" name="object 238"/>
            <p:cNvSpPr/>
            <p:nvPr/>
          </p:nvSpPr>
          <p:spPr>
            <a:xfrm>
              <a:off x="5944058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9" name="object 239"/>
            <p:cNvSpPr/>
            <p:nvPr/>
          </p:nvSpPr>
          <p:spPr>
            <a:xfrm>
              <a:off x="5998335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0" name="object 240"/>
            <p:cNvSpPr/>
            <p:nvPr/>
          </p:nvSpPr>
          <p:spPr>
            <a:xfrm>
              <a:off x="6052611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1" name="object 241"/>
            <p:cNvSpPr/>
            <p:nvPr/>
          </p:nvSpPr>
          <p:spPr>
            <a:xfrm>
              <a:off x="6106887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2" name="object 242"/>
            <p:cNvSpPr/>
            <p:nvPr/>
          </p:nvSpPr>
          <p:spPr>
            <a:xfrm>
              <a:off x="6161164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3" name="object 243"/>
            <p:cNvSpPr/>
            <p:nvPr/>
          </p:nvSpPr>
          <p:spPr>
            <a:xfrm>
              <a:off x="6215440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4" name="object 244"/>
            <p:cNvSpPr/>
            <p:nvPr/>
          </p:nvSpPr>
          <p:spPr>
            <a:xfrm>
              <a:off x="6269716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5" name="object 245"/>
            <p:cNvSpPr/>
            <p:nvPr/>
          </p:nvSpPr>
          <p:spPr>
            <a:xfrm>
              <a:off x="6323993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6" name="object 246"/>
            <p:cNvSpPr/>
            <p:nvPr/>
          </p:nvSpPr>
          <p:spPr>
            <a:xfrm>
              <a:off x="6378270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4" name="object 254"/>
            <p:cNvSpPr txBox="1"/>
            <p:nvPr/>
          </p:nvSpPr>
          <p:spPr>
            <a:xfrm>
              <a:off x="3658615" y="4568992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30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55" name="object 255"/>
            <p:cNvSpPr txBox="1"/>
            <p:nvPr/>
          </p:nvSpPr>
          <p:spPr>
            <a:xfrm>
              <a:off x="4848399" y="6460844"/>
              <a:ext cx="1006288" cy="185568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marL="11206">
                <a:spcBef>
                  <a:spcPts val="124"/>
                </a:spcBef>
              </a:pPr>
              <a:r>
                <a:rPr sz="1103" spc="-31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Review</a:t>
              </a:r>
              <a:r>
                <a:rPr sz="1103" spc="-11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103" spc="-3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ategory</a:t>
              </a:r>
              <a:endParaRPr sz="1103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256" name="object 256"/>
            <p:cNvSpPr txBox="1"/>
            <p:nvPr/>
          </p:nvSpPr>
          <p:spPr>
            <a:xfrm>
              <a:off x="3484414" y="4441240"/>
              <a:ext cx="128240" cy="1322840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1015"/>
                </a:lnSpc>
              </a:pPr>
              <a:r>
                <a:rPr sz="1050" spc="-35" dirty="0">
                  <a:solidFill>
                    <a:srgbClr val="252423"/>
                  </a:solidFill>
                  <a:latin typeface="Trebuchet MS"/>
                  <a:cs typeface="Trebuchet MS"/>
                </a:rPr>
                <a:t>Average </a:t>
              </a:r>
              <a:r>
                <a:rPr sz="1050" spc="-62" dirty="0">
                  <a:solidFill>
                    <a:srgbClr val="252423"/>
                  </a:solidFill>
                  <a:latin typeface="Trebuchet MS"/>
                  <a:cs typeface="Trebuchet MS"/>
                </a:rPr>
                <a:t>of </a:t>
              </a:r>
              <a:r>
                <a:rPr sz="1050" spc="-49" dirty="0">
                  <a:solidFill>
                    <a:srgbClr val="252423"/>
                  </a:solidFill>
                  <a:latin typeface="Trebuchet MS"/>
                  <a:cs typeface="Trebuchet MS"/>
                </a:rPr>
                <a:t>Word</a:t>
              </a:r>
              <a:r>
                <a:rPr sz="1050" spc="-128" dirty="0">
                  <a:solidFill>
                    <a:srgbClr val="252423"/>
                  </a:solidFill>
                  <a:latin typeface="Trebuchet MS"/>
                  <a:cs typeface="Trebuchet MS"/>
                </a:rPr>
                <a:t> </a:t>
              </a:r>
              <a:r>
                <a:rPr sz="1050" spc="-44" dirty="0">
                  <a:solidFill>
                    <a:srgbClr val="252423"/>
                  </a:solidFill>
                  <a:latin typeface="Trebuchet MS"/>
                  <a:cs typeface="Trebuchet MS"/>
                </a:rPr>
                <a:t>Count</a:t>
              </a:r>
              <a:endParaRPr sz="1050" dirty="0">
                <a:latin typeface="Trebuchet MS"/>
                <a:cs typeface="Trebuchet MS"/>
              </a:endParaRPr>
            </a:p>
          </p:txBody>
        </p:sp>
        <p:sp>
          <p:nvSpPr>
            <p:cNvPr id="257" name="object 257"/>
            <p:cNvSpPr txBox="1"/>
            <p:nvPr/>
          </p:nvSpPr>
          <p:spPr>
            <a:xfrm>
              <a:off x="4236824" y="6191700"/>
              <a:ext cx="65666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Video</a:t>
              </a:r>
              <a:r>
                <a:rPr sz="838" spc="-44" dirty="0">
                  <a:solidFill>
                    <a:srgbClr val="605D5C"/>
                  </a:solidFill>
                  <a:latin typeface="Segoe UI"/>
                  <a:cs typeface="Segoe UI"/>
                </a:rPr>
                <a:t> </a:t>
              </a: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Games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58" name="object 258"/>
            <p:cNvSpPr txBox="1"/>
            <p:nvPr/>
          </p:nvSpPr>
          <p:spPr>
            <a:xfrm>
              <a:off x="5195339" y="6191700"/>
              <a:ext cx="31208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Books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59" name="object 259"/>
            <p:cNvSpPr txBox="1"/>
            <p:nvPr/>
          </p:nvSpPr>
          <p:spPr>
            <a:xfrm>
              <a:off x="5875793" y="6177107"/>
              <a:ext cx="523875" cy="302112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83488" marR="4483" indent="-72842">
                <a:lnSpc>
                  <a:spcPct val="113199"/>
                </a:lnSpc>
                <a:spcBef>
                  <a:spcPts val="84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Home</a:t>
              </a:r>
              <a:r>
                <a:rPr sz="838" spc="-71" dirty="0">
                  <a:solidFill>
                    <a:srgbClr val="605D5C"/>
                  </a:solidFill>
                  <a:latin typeface="Segoe UI"/>
                  <a:cs typeface="Segoe UI"/>
                </a:rPr>
                <a:t> </a:t>
              </a: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and  </a:t>
              </a: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Kitchen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60" name="object 260"/>
            <p:cNvSpPr/>
            <p:nvPr/>
          </p:nvSpPr>
          <p:spPr>
            <a:xfrm>
              <a:off x="4388217" y="4281484"/>
              <a:ext cx="320488" cy="173691"/>
            </a:xfrm>
            <a:custGeom>
              <a:avLst/>
              <a:gdLst/>
              <a:ahLst/>
              <a:cxnLst/>
              <a:rect l="l" t="t" r="r" b="b"/>
              <a:pathLst>
                <a:path w="363220" h="196850">
                  <a:moveTo>
                    <a:pt x="327421" y="196662"/>
                  </a:moveTo>
                  <a:lnTo>
                    <a:pt x="35570" y="196662"/>
                  </a:lnTo>
                  <a:lnTo>
                    <a:pt x="30339" y="195623"/>
                  </a:lnTo>
                  <a:lnTo>
                    <a:pt x="1040" y="166367"/>
                  </a:lnTo>
                  <a:lnTo>
                    <a:pt x="0" y="161144"/>
                  </a:lnTo>
                  <a:lnTo>
                    <a:pt x="0" y="35517"/>
                  </a:lnTo>
                  <a:lnTo>
                    <a:pt x="30339" y="1038"/>
                  </a:lnTo>
                  <a:lnTo>
                    <a:pt x="41008" y="0"/>
                  </a:lnTo>
                  <a:lnTo>
                    <a:pt x="327421" y="0"/>
                  </a:lnTo>
                  <a:lnTo>
                    <a:pt x="361951" y="30294"/>
                  </a:lnTo>
                  <a:lnTo>
                    <a:pt x="362992" y="35517"/>
                  </a:lnTo>
                  <a:lnTo>
                    <a:pt x="362992" y="161144"/>
                  </a:lnTo>
                  <a:lnTo>
                    <a:pt x="332652" y="195623"/>
                  </a:lnTo>
                  <a:lnTo>
                    <a:pt x="327421" y="196662"/>
                  </a:lnTo>
                  <a:close/>
                </a:path>
              </a:pathLst>
            </a:custGeom>
            <a:solidFill>
              <a:srgbClr val="252423">
                <a:alpha val="10198"/>
              </a:srgbClr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1" name="object 261"/>
            <p:cNvSpPr/>
            <p:nvPr/>
          </p:nvSpPr>
          <p:spPr>
            <a:xfrm>
              <a:off x="5174574" y="4728273"/>
              <a:ext cx="320488" cy="173691"/>
            </a:xfrm>
            <a:custGeom>
              <a:avLst/>
              <a:gdLst/>
              <a:ahLst/>
              <a:cxnLst/>
              <a:rect l="l" t="t" r="r" b="b"/>
              <a:pathLst>
                <a:path w="363220" h="196850">
                  <a:moveTo>
                    <a:pt x="327421" y="196662"/>
                  </a:moveTo>
                  <a:lnTo>
                    <a:pt x="35570" y="196662"/>
                  </a:lnTo>
                  <a:lnTo>
                    <a:pt x="30339" y="195623"/>
                  </a:lnTo>
                  <a:lnTo>
                    <a:pt x="1040" y="166367"/>
                  </a:lnTo>
                  <a:lnTo>
                    <a:pt x="0" y="161144"/>
                  </a:lnTo>
                  <a:lnTo>
                    <a:pt x="0" y="35517"/>
                  </a:lnTo>
                  <a:lnTo>
                    <a:pt x="30339" y="1038"/>
                  </a:lnTo>
                  <a:lnTo>
                    <a:pt x="35570" y="0"/>
                  </a:lnTo>
                  <a:lnTo>
                    <a:pt x="41008" y="0"/>
                  </a:lnTo>
                  <a:lnTo>
                    <a:pt x="327421" y="0"/>
                  </a:lnTo>
                  <a:lnTo>
                    <a:pt x="361951" y="30294"/>
                  </a:lnTo>
                  <a:lnTo>
                    <a:pt x="362992" y="35517"/>
                  </a:lnTo>
                  <a:lnTo>
                    <a:pt x="362992" y="161144"/>
                  </a:lnTo>
                  <a:lnTo>
                    <a:pt x="332652" y="195623"/>
                  </a:lnTo>
                  <a:lnTo>
                    <a:pt x="327421" y="196662"/>
                  </a:lnTo>
                  <a:close/>
                </a:path>
              </a:pathLst>
            </a:custGeom>
            <a:solidFill>
              <a:srgbClr val="252423">
                <a:alpha val="10198"/>
              </a:srgbClr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2" name="object 262"/>
            <p:cNvSpPr txBox="1"/>
            <p:nvPr/>
          </p:nvSpPr>
          <p:spPr>
            <a:xfrm>
              <a:off x="4449381" y="4299281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33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63" name="object 263"/>
            <p:cNvSpPr txBox="1"/>
            <p:nvPr/>
          </p:nvSpPr>
          <p:spPr>
            <a:xfrm>
              <a:off x="5235737" y="4746070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237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64" name="object 264"/>
            <p:cNvSpPr txBox="1"/>
            <p:nvPr/>
          </p:nvSpPr>
          <p:spPr>
            <a:xfrm>
              <a:off x="6022093" y="5141675"/>
              <a:ext cx="1983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155</a:t>
              </a:r>
              <a:endParaRPr sz="838" dirty="0">
                <a:latin typeface="Segoe UI"/>
                <a:cs typeface="Segoe UI"/>
              </a:endParaRPr>
            </a:p>
          </p:txBody>
        </p:sp>
      </p:grpSp>
      <p:sp>
        <p:nvSpPr>
          <p:cNvPr id="291" name="object 291"/>
          <p:cNvSpPr/>
          <p:nvPr/>
        </p:nvSpPr>
        <p:spPr>
          <a:xfrm>
            <a:off x="313765" y="237631"/>
            <a:ext cx="11564471" cy="488016"/>
          </a:xfrm>
          <a:custGeom>
            <a:avLst/>
            <a:gdLst/>
            <a:ahLst/>
            <a:cxnLst/>
            <a:rect l="l" t="t" r="r" b="b"/>
            <a:pathLst>
              <a:path w="13106400" h="553085">
                <a:moveTo>
                  <a:pt x="13106387" y="0"/>
                </a:moveTo>
                <a:lnTo>
                  <a:pt x="0" y="0"/>
                </a:lnTo>
                <a:lnTo>
                  <a:pt x="0" y="17208"/>
                </a:lnTo>
                <a:lnTo>
                  <a:pt x="0" y="552919"/>
                </a:lnTo>
                <a:lnTo>
                  <a:pt x="13106387" y="552919"/>
                </a:lnTo>
                <a:lnTo>
                  <a:pt x="13106387" y="17208"/>
                </a:lnTo>
                <a:lnTo>
                  <a:pt x="13106387" y="0"/>
                </a:lnTo>
                <a:close/>
              </a:path>
            </a:pathLst>
          </a:custGeom>
          <a:solidFill>
            <a:srgbClr val="FFB618"/>
          </a:solidFill>
        </p:spPr>
        <p:txBody>
          <a:bodyPr wrap="square" lIns="0" tIns="0" rIns="0" bIns="0" rtlCol="0"/>
          <a:lstStyle/>
          <a:p>
            <a:endParaRPr sz="1588" dirty="0"/>
          </a:p>
        </p:txBody>
      </p:sp>
      <p:sp>
        <p:nvSpPr>
          <p:cNvPr id="292" name="object 292"/>
          <p:cNvSpPr txBox="1">
            <a:spLocks noGrp="1"/>
          </p:cNvSpPr>
          <p:nvPr>
            <p:ph type="title"/>
          </p:nvPr>
        </p:nvSpPr>
        <p:spPr>
          <a:xfrm>
            <a:off x="1243361" y="332979"/>
            <a:ext cx="4049381" cy="303703"/>
          </a:xfrm>
          <a:prstGeom prst="rect">
            <a:avLst/>
          </a:prstGeom>
        </p:spPr>
        <p:txBody>
          <a:bodyPr vert="horz" wrap="square" lIns="0" tIns="11206" rIns="0" bIns="0" rtlCol="0" anchor="ctr">
            <a:spAutoFit/>
          </a:bodyPr>
          <a:lstStyle/>
          <a:p>
            <a:pPr marL="11206">
              <a:lnSpc>
                <a:spcPct val="100000"/>
              </a:lnSpc>
              <a:spcBef>
                <a:spcPts val="88"/>
              </a:spcBef>
            </a:pPr>
            <a:r>
              <a:rPr lang="en-US" sz="1900" b="1" i="1" dirty="0">
                <a:latin typeface="+mn-lt"/>
              </a:rPr>
              <a:t>Reviewing Habits per</a:t>
            </a:r>
            <a:r>
              <a:rPr lang="en-US" sz="1900" b="1" i="1" spc="-110" dirty="0">
                <a:latin typeface="+mn-lt"/>
              </a:rPr>
              <a:t> </a:t>
            </a:r>
            <a:r>
              <a:rPr lang="en-US" sz="1900" b="1" i="1" dirty="0">
                <a:latin typeface="+mn-lt"/>
              </a:rPr>
              <a:t>Category: Books</a:t>
            </a:r>
            <a:endParaRPr sz="1900" b="1" i="1" dirty="0">
              <a:latin typeface="+mn-lt"/>
            </a:endParaRPr>
          </a:p>
        </p:txBody>
      </p:sp>
      <p:grpSp>
        <p:nvGrpSpPr>
          <p:cNvPr id="440" name="Group 439">
            <a:extLst>
              <a:ext uri="{FF2B5EF4-FFF2-40B4-BE49-F238E27FC236}">
                <a16:creationId xmlns:a16="http://schemas.microsoft.com/office/drawing/2014/main" id="{82EDC0BB-B3F6-4773-B5F5-974C81E5224F}"/>
              </a:ext>
            </a:extLst>
          </p:cNvPr>
          <p:cNvGrpSpPr/>
          <p:nvPr/>
        </p:nvGrpSpPr>
        <p:grpSpPr>
          <a:xfrm>
            <a:off x="6480433" y="992556"/>
            <a:ext cx="5313788" cy="5199144"/>
            <a:chOff x="6423500" y="906522"/>
            <a:chExt cx="5313788" cy="5199144"/>
          </a:xfrm>
        </p:grpSpPr>
        <p:sp>
          <p:nvSpPr>
            <p:cNvPr id="166" name="object 166"/>
            <p:cNvSpPr/>
            <p:nvPr/>
          </p:nvSpPr>
          <p:spPr>
            <a:xfrm>
              <a:off x="6486822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67" name="object 167"/>
            <p:cNvSpPr/>
            <p:nvPr/>
          </p:nvSpPr>
          <p:spPr>
            <a:xfrm>
              <a:off x="6541098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68" name="object 168"/>
            <p:cNvSpPr/>
            <p:nvPr/>
          </p:nvSpPr>
          <p:spPr>
            <a:xfrm>
              <a:off x="6595374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69" name="object 169"/>
            <p:cNvSpPr/>
            <p:nvPr/>
          </p:nvSpPr>
          <p:spPr>
            <a:xfrm>
              <a:off x="6649651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0" name="object 170"/>
            <p:cNvSpPr/>
            <p:nvPr/>
          </p:nvSpPr>
          <p:spPr>
            <a:xfrm>
              <a:off x="6703928" y="608717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1" name="object 171"/>
            <p:cNvSpPr/>
            <p:nvPr/>
          </p:nvSpPr>
          <p:spPr>
            <a:xfrm>
              <a:off x="6758203" y="6087176"/>
              <a:ext cx="8965" cy="18490"/>
            </a:xfrm>
            <a:custGeom>
              <a:avLst/>
              <a:gdLst/>
              <a:ahLst/>
              <a:cxnLst/>
              <a:rect l="l" t="t" r="r" b="b"/>
              <a:pathLst>
                <a:path w="10159" h="20954">
                  <a:moveTo>
                    <a:pt x="9644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9644" y="0"/>
                  </a:lnTo>
                  <a:lnTo>
                    <a:pt x="9644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2" name="object 182"/>
            <p:cNvSpPr/>
            <p:nvPr/>
          </p:nvSpPr>
          <p:spPr>
            <a:xfrm>
              <a:off x="6486822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3" name="object 183"/>
            <p:cNvSpPr/>
            <p:nvPr/>
          </p:nvSpPr>
          <p:spPr>
            <a:xfrm>
              <a:off x="6541098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4" name="object 184"/>
            <p:cNvSpPr/>
            <p:nvPr/>
          </p:nvSpPr>
          <p:spPr>
            <a:xfrm>
              <a:off x="6595374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5" name="object 185"/>
            <p:cNvSpPr/>
            <p:nvPr/>
          </p:nvSpPr>
          <p:spPr>
            <a:xfrm>
              <a:off x="6649651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6" name="object 186"/>
            <p:cNvSpPr/>
            <p:nvPr/>
          </p:nvSpPr>
          <p:spPr>
            <a:xfrm>
              <a:off x="6703928" y="5606407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7" name="object 187"/>
            <p:cNvSpPr/>
            <p:nvPr/>
          </p:nvSpPr>
          <p:spPr>
            <a:xfrm>
              <a:off x="6758203" y="5606407"/>
              <a:ext cx="8965" cy="18490"/>
            </a:xfrm>
            <a:custGeom>
              <a:avLst/>
              <a:gdLst/>
              <a:ahLst/>
              <a:cxnLst/>
              <a:rect l="l" t="t" r="r" b="b"/>
              <a:pathLst>
                <a:path w="10159" h="20954">
                  <a:moveTo>
                    <a:pt x="9644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9644" y="0"/>
                  </a:lnTo>
                  <a:lnTo>
                    <a:pt x="9644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6" name="object 206"/>
            <p:cNvSpPr/>
            <p:nvPr/>
          </p:nvSpPr>
          <p:spPr>
            <a:xfrm>
              <a:off x="6432545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7" name="object 207"/>
            <p:cNvSpPr/>
            <p:nvPr/>
          </p:nvSpPr>
          <p:spPr>
            <a:xfrm>
              <a:off x="6486822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8" name="object 208"/>
            <p:cNvSpPr/>
            <p:nvPr/>
          </p:nvSpPr>
          <p:spPr>
            <a:xfrm>
              <a:off x="6541098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9" name="object 209"/>
            <p:cNvSpPr/>
            <p:nvPr/>
          </p:nvSpPr>
          <p:spPr>
            <a:xfrm>
              <a:off x="6595374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0" name="object 210"/>
            <p:cNvSpPr/>
            <p:nvPr/>
          </p:nvSpPr>
          <p:spPr>
            <a:xfrm>
              <a:off x="6649651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1" name="object 211"/>
            <p:cNvSpPr/>
            <p:nvPr/>
          </p:nvSpPr>
          <p:spPr>
            <a:xfrm>
              <a:off x="6703928" y="5125639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2" name="object 212"/>
            <p:cNvSpPr/>
            <p:nvPr/>
          </p:nvSpPr>
          <p:spPr>
            <a:xfrm>
              <a:off x="6758203" y="5125639"/>
              <a:ext cx="8965" cy="18490"/>
            </a:xfrm>
            <a:custGeom>
              <a:avLst/>
              <a:gdLst/>
              <a:ahLst/>
              <a:cxnLst/>
              <a:rect l="l" t="t" r="r" b="b"/>
              <a:pathLst>
                <a:path w="10159" h="20954">
                  <a:moveTo>
                    <a:pt x="9644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9644" y="0"/>
                  </a:lnTo>
                  <a:lnTo>
                    <a:pt x="9644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7" name="object 247"/>
            <p:cNvSpPr/>
            <p:nvPr/>
          </p:nvSpPr>
          <p:spPr>
            <a:xfrm>
              <a:off x="6432545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8" name="object 248"/>
            <p:cNvSpPr/>
            <p:nvPr/>
          </p:nvSpPr>
          <p:spPr>
            <a:xfrm>
              <a:off x="6486822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9" name="object 249"/>
            <p:cNvSpPr/>
            <p:nvPr/>
          </p:nvSpPr>
          <p:spPr>
            <a:xfrm>
              <a:off x="6541098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0" name="object 250"/>
            <p:cNvSpPr/>
            <p:nvPr/>
          </p:nvSpPr>
          <p:spPr>
            <a:xfrm>
              <a:off x="6595374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1" name="object 251"/>
            <p:cNvSpPr/>
            <p:nvPr/>
          </p:nvSpPr>
          <p:spPr>
            <a:xfrm>
              <a:off x="6649651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2" name="object 252"/>
            <p:cNvSpPr/>
            <p:nvPr/>
          </p:nvSpPr>
          <p:spPr>
            <a:xfrm>
              <a:off x="6703928" y="4644871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3" name="object 253"/>
            <p:cNvSpPr/>
            <p:nvPr/>
          </p:nvSpPr>
          <p:spPr>
            <a:xfrm>
              <a:off x="6758203" y="4644871"/>
              <a:ext cx="8965" cy="18490"/>
            </a:xfrm>
            <a:custGeom>
              <a:avLst/>
              <a:gdLst/>
              <a:ahLst/>
              <a:cxnLst/>
              <a:rect l="l" t="t" r="r" b="b"/>
              <a:pathLst>
                <a:path w="10159" h="20954">
                  <a:moveTo>
                    <a:pt x="9644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9644" y="0"/>
                  </a:lnTo>
                  <a:lnTo>
                    <a:pt x="9644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5" name="object 265"/>
            <p:cNvSpPr/>
            <p:nvPr/>
          </p:nvSpPr>
          <p:spPr>
            <a:xfrm>
              <a:off x="6961384" y="1134561"/>
              <a:ext cx="993962" cy="18490"/>
            </a:xfrm>
            <a:custGeom>
              <a:avLst/>
              <a:gdLst/>
              <a:ahLst/>
              <a:cxnLst/>
              <a:rect l="l" t="t" r="r" b="b"/>
              <a:pathLst>
                <a:path w="1126490" h="20955">
                  <a:moveTo>
                    <a:pt x="1126331" y="20478"/>
                  </a:moveTo>
                  <a:lnTo>
                    <a:pt x="0" y="20478"/>
                  </a:lnTo>
                  <a:lnTo>
                    <a:pt x="0" y="0"/>
                  </a:lnTo>
                  <a:lnTo>
                    <a:pt x="1126331" y="0"/>
                  </a:lnTo>
                  <a:lnTo>
                    <a:pt x="1126331" y="20478"/>
                  </a:lnTo>
                  <a:close/>
                </a:path>
              </a:pathLst>
            </a:custGeom>
            <a:solidFill>
              <a:srgbClr val="118CFF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6" name="object 266"/>
            <p:cNvSpPr txBox="1"/>
            <p:nvPr/>
          </p:nvSpPr>
          <p:spPr>
            <a:xfrm>
              <a:off x="6950179" y="906522"/>
              <a:ext cx="2202516" cy="504693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marL="11206">
                <a:spcBef>
                  <a:spcPts val="124"/>
                </a:spcBef>
                <a:tabLst>
                  <a:tab pos="1148664" algn="l"/>
                </a:tabLst>
              </a:pPr>
              <a:r>
                <a:rPr sz="1103" b="1" spc="13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Key</a:t>
              </a:r>
              <a:r>
                <a:rPr sz="1103" b="1" spc="18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 </a:t>
              </a:r>
              <a:r>
                <a:rPr sz="1103" b="1" spc="13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influencers	</a:t>
              </a:r>
              <a:r>
                <a:rPr sz="1103" b="1" spc="-18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Top</a:t>
              </a:r>
              <a:r>
                <a:rPr sz="1103" b="1" spc="-9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 </a:t>
              </a:r>
              <a:r>
                <a:rPr sz="1103" b="1" spc="18" dirty="0">
                  <a:solidFill>
                    <a:srgbClr val="252423"/>
                  </a:solidFill>
                  <a:latin typeface="Segoe UI Semibold"/>
                  <a:cs typeface="Segoe UI Semibold"/>
                </a:rPr>
                <a:t>segments</a:t>
              </a:r>
              <a:endParaRPr sz="1103" dirty="0">
                <a:latin typeface="Segoe UI Semibold"/>
                <a:cs typeface="Segoe UI Semibold"/>
              </a:endParaRPr>
            </a:p>
            <a:p>
              <a:pPr>
                <a:spcBef>
                  <a:spcPts val="44"/>
                </a:spcBef>
              </a:pPr>
              <a:endParaRPr sz="1103" dirty="0">
                <a:latin typeface="Segoe UI Semibold"/>
                <a:cs typeface="Segoe UI Semibold"/>
              </a:endParaRPr>
            </a:p>
            <a:p>
              <a:pPr marL="11206"/>
              <a:r>
                <a:rPr sz="971" spc="13" dirty="0">
                  <a:solidFill>
                    <a:srgbClr val="252423"/>
                  </a:solidFill>
                  <a:latin typeface="Segoe UI"/>
                  <a:cs typeface="Segoe UI"/>
                </a:rPr>
                <a:t>What </a:t>
              </a:r>
              <a:r>
                <a:rPr sz="971" spc="9" dirty="0">
                  <a:solidFill>
                    <a:srgbClr val="252423"/>
                  </a:solidFill>
                  <a:latin typeface="Segoe UI"/>
                  <a:cs typeface="Segoe UI"/>
                </a:rPr>
                <a:t>influences </a:t>
              </a:r>
              <a:r>
                <a:rPr sz="971" spc="4" dirty="0">
                  <a:solidFill>
                    <a:srgbClr val="252423"/>
                  </a:solidFill>
                  <a:latin typeface="Segoe UI"/>
                  <a:cs typeface="Segoe UI"/>
                </a:rPr>
                <a:t>Review </a:t>
              </a:r>
              <a:r>
                <a:rPr sz="971" spc="9" dirty="0">
                  <a:solidFill>
                    <a:srgbClr val="252423"/>
                  </a:solidFill>
                  <a:latin typeface="Segoe UI"/>
                  <a:cs typeface="Segoe UI"/>
                </a:rPr>
                <a:t>Category to</a:t>
              </a:r>
              <a:r>
                <a:rPr sz="971" spc="-13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971" spc="13" dirty="0">
                  <a:solidFill>
                    <a:srgbClr val="252423"/>
                  </a:solidFill>
                  <a:latin typeface="Segoe UI"/>
                  <a:cs typeface="Segoe UI"/>
                </a:rPr>
                <a:t>be</a:t>
              </a:r>
              <a:endParaRPr sz="971" dirty="0">
                <a:latin typeface="Segoe UI"/>
                <a:cs typeface="Segoe UI"/>
              </a:endParaRPr>
            </a:p>
          </p:txBody>
        </p:sp>
        <p:sp>
          <p:nvSpPr>
            <p:cNvPr id="267" name="object 267"/>
            <p:cNvSpPr txBox="1"/>
            <p:nvPr/>
          </p:nvSpPr>
          <p:spPr>
            <a:xfrm>
              <a:off x="10711314" y="1267910"/>
              <a:ext cx="79562" cy="163544"/>
            </a:xfrm>
            <a:prstGeom prst="rect">
              <a:avLst/>
            </a:prstGeom>
          </p:spPr>
          <p:txBody>
            <a:bodyPr vert="horz" wrap="square" lIns="0" tIns="14007" rIns="0" bIns="0" rtlCol="0">
              <a:spAutoFit/>
            </a:bodyPr>
            <a:lstStyle/>
            <a:p>
              <a:pPr marL="11206">
                <a:spcBef>
                  <a:spcPts val="110"/>
                </a:spcBef>
              </a:pPr>
              <a:r>
                <a:rPr sz="971" spc="9" dirty="0">
                  <a:solidFill>
                    <a:srgbClr val="252423"/>
                  </a:solidFill>
                  <a:latin typeface="Segoe UI"/>
                  <a:cs typeface="Segoe UI"/>
                </a:rPr>
                <a:t>?</a:t>
              </a:r>
              <a:endParaRPr sz="971" dirty="0">
                <a:latin typeface="Segoe UI"/>
                <a:cs typeface="Segoe UI"/>
              </a:endParaRPr>
            </a:p>
          </p:txBody>
        </p:sp>
        <p:sp>
          <p:nvSpPr>
            <p:cNvPr id="268" name="object 268"/>
            <p:cNvSpPr txBox="1"/>
            <p:nvPr/>
          </p:nvSpPr>
          <p:spPr>
            <a:xfrm>
              <a:off x="11353487" y="924590"/>
              <a:ext cx="383801" cy="185568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marL="11206">
                <a:spcBef>
                  <a:spcPts val="124"/>
                </a:spcBef>
              </a:pPr>
              <a:r>
                <a:rPr sz="1103" spc="35" dirty="0">
                  <a:solidFill>
                    <a:srgbClr val="252423"/>
                  </a:solidFill>
                  <a:latin typeface="Segoe MDL2 Assets"/>
                  <a:cs typeface="Segoe MDL2 Assets"/>
                </a:rPr>
                <a:t></a:t>
              </a:r>
              <a:r>
                <a:rPr sz="1103" spc="190" dirty="0">
                  <a:solidFill>
                    <a:srgbClr val="252423"/>
                  </a:solidFill>
                  <a:latin typeface="Segoe MDL2 Assets"/>
                  <a:cs typeface="Segoe MDL2 Assets"/>
                </a:rPr>
                <a:t> </a:t>
              </a:r>
              <a:r>
                <a:rPr sz="1103" spc="35" dirty="0">
                  <a:solidFill>
                    <a:srgbClr val="252423"/>
                  </a:solidFill>
                  <a:latin typeface="Segoe MDL2 Assets"/>
                  <a:cs typeface="Segoe MDL2 Assets"/>
                </a:rPr>
                <a:t></a:t>
              </a:r>
              <a:endParaRPr sz="1103" dirty="0">
                <a:latin typeface="Segoe MDL2 Assets"/>
                <a:cs typeface="Segoe MDL2 Assets"/>
              </a:endParaRPr>
            </a:p>
          </p:txBody>
        </p:sp>
        <p:sp>
          <p:nvSpPr>
            <p:cNvPr id="269" name="object 269"/>
            <p:cNvSpPr txBox="1"/>
            <p:nvPr/>
          </p:nvSpPr>
          <p:spPr>
            <a:xfrm>
              <a:off x="6950179" y="1755787"/>
              <a:ext cx="373716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When...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0" name="object 270"/>
            <p:cNvSpPr txBox="1"/>
            <p:nvPr/>
          </p:nvSpPr>
          <p:spPr>
            <a:xfrm>
              <a:off x="10359664" y="1741331"/>
              <a:ext cx="1257300" cy="447793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11206" marR="4483">
                <a:lnSpc>
                  <a:spcPct val="113199"/>
                </a:lnSpc>
                <a:spcBef>
                  <a:spcPts val="84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....the likelihood of</a:t>
              </a:r>
              <a:r>
                <a:rPr sz="838" spc="-44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dirty="0">
                  <a:solidFill>
                    <a:srgbClr val="252423"/>
                  </a:solidFill>
                  <a:latin typeface="Segoe UI"/>
                  <a:cs typeface="Segoe UI"/>
                </a:rPr>
                <a:t>Review 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Category being Books  increases</a:t>
              </a:r>
              <a:r>
                <a:rPr sz="838" spc="-4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by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1" name="object 271"/>
            <p:cNvSpPr txBox="1"/>
            <p:nvPr/>
          </p:nvSpPr>
          <p:spPr>
            <a:xfrm>
              <a:off x="7058596" y="2460497"/>
              <a:ext cx="118950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dirty="0">
                  <a:solidFill>
                    <a:srgbClr val="252423"/>
                  </a:solidFill>
                  <a:latin typeface="Segoe UI"/>
                  <a:cs typeface="Segoe UI"/>
                </a:rPr>
                <a:t>Word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Count is 230 -</a:t>
              </a:r>
              <a:r>
                <a:rPr sz="838" spc="-53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973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2" name="object 272"/>
            <p:cNvSpPr/>
            <p:nvPr/>
          </p:nvSpPr>
          <p:spPr>
            <a:xfrm>
              <a:off x="8605703" y="2300052"/>
              <a:ext cx="2791946" cy="470087"/>
            </a:xfrm>
            <a:custGeom>
              <a:avLst/>
              <a:gdLst/>
              <a:ahLst/>
              <a:cxnLst/>
              <a:rect l="l" t="t" r="r" b="b"/>
              <a:pathLst>
                <a:path w="3164204" h="532764">
                  <a:moveTo>
                    <a:pt x="2631516" y="266217"/>
                  </a:moveTo>
                  <a:lnTo>
                    <a:pt x="2549601" y="225259"/>
                  </a:lnTo>
                  <a:lnTo>
                    <a:pt x="2549601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2549601" y="276453"/>
                  </a:lnTo>
                  <a:lnTo>
                    <a:pt x="2549601" y="307174"/>
                  </a:lnTo>
                  <a:lnTo>
                    <a:pt x="2631516" y="266217"/>
                  </a:lnTo>
                  <a:close/>
                </a:path>
                <a:path w="3164204" h="532764">
                  <a:moveTo>
                    <a:pt x="3163963" y="266217"/>
                  </a:moveTo>
                  <a:lnTo>
                    <a:pt x="3161080" y="227152"/>
                  </a:lnTo>
                  <a:lnTo>
                    <a:pt x="3152508" y="188937"/>
                  </a:lnTo>
                  <a:lnTo>
                    <a:pt x="3138411" y="152400"/>
                  </a:lnTo>
                  <a:lnTo>
                    <a:pt x="3119094" y="118313"/>
                  </a:lnTo>
                  <a:lnTo>
                    <a:pt x="3095002" y="87439"/>
                  </a:lnTo>
                  <a:lnTo>
                    <a:pt x="3066631" y="60426"/>
                  </a:lnTo>
                  <a:lnTo>
                    <a:pt x="3034601" y="37871"/>
                  </a:lnTo>
                  <a:lnTo>
                    <a:pt x="2999625" y="20256"/>
                  </a:lnTo>
                  <a:lnTo>
                    <a:pt x="2962427" y="7975"/>
                  </a:lnTo>
                  <a:lnTo>
                    <a:pt x="2923832" y="1282"/>
                  </a:lnTo>
                  <a:lnTo>
                    <a:pt x="2897746" y="0"/>
                  </a:lnTo>
                  <a:lnTo>
                    <a:pt x="2884678" y="317"/>
                  </a:lnTo>
                  <a:lnTo>
                    <a:pt x="2845803" y="5105"/>
                  </a:lnTo>
                  <a:lnTo>
                    <a:pt x="2808059" y="15557"/>
                  </a:lnTo>
                  <a:lnTo>
                    <a:pt x="2772245" y="31432"/>
                  </a:lnTo>
                  <a:lnTo>
                    <a:pt x="2739148" y="52387"/>
                  </a:lnTo>
                  <a:lnTo>
                    <a:pt x="2709494" y="77965"/>
                  </a:lnTo>
                  <a:lnTo>
                    <a:pt x="2683903" y="107632"/>
                  </a:lnTo>
                  <a:lnTo>
                    <a:pt x="2662948" y="140728"/>
                  </a:lnTo>
                  <a:lnTo>
                    <a:pt x="2647086" y="176530"/>
                  </a:lnTo>
                  <a:lnTo>
                    <a:pt x="2636634" y="214287"/>
                  </a:lnTo>
                  <a:lnTo>
                    <a:pt x="2631833" y="253161"/>
                  </a:lnTo>
                  <a:lnTo>
                    <a:pt x="2631516" y="266217"/>
                  </a:lnTo>
                  <a:lnTo>
                    <a:pt x="2631833" y="279285"/>
                  </a:lnTo>
                  <a:lnTo>
                    <a:pt x="2636634" y="318160"/>
                  </a:lnTo>
                  <a:lnTo>
                    <a:pt x="2647086" y="355904"/>
                  </a:lnTo>
                  <a:lnTo>
                    <a:pt x="2662948" y="391718"/>
                  </a:lnTo>
                  <a:lnTo>
                    <a:pt x="2683903" y="424815"/>
                  </a:lnTo>
                  <a:lnTo>
                    <a:pt x="2709494" y="454469"/>
                  </a:lnTo>
                  <a:lnTo>
                    <a:pt x="2739148" y="480047"/>
                  </a:lnTo>
                  <a:lnTo>
                    <a:pt x="2772245" y="501002"/>
                  </a:lnTo>
                  <a:lnTo>
                    <a:pt x="2808059" y="516877"/>
                  </a:lnTo>
                  <a:lnTo>
                    <a:pt x="2845803" y="527329"/>
                  </a:lnTo>
                  <a:lnTo>
                    <a:pt x="2884678" y="532117"/>
                  </a:lnTo>
                  <a:lnTo>
                    <a:pt x="2897746" y="532447"/>
                  </a:lnTo>
                  <a:lnTo>
                    <a:pt x="2910802" y="532117"/>
                  </a:lnTo>
                  <a:lnTo>
                    <a:pt x="2949676" y="527329"/>
                  </a:lnTo>
                  <a:lnTo>
                    <a:pt x="2987433" y="516877"/>
                  </a:lnTo>
                  <a:lnTo>
                    <a:pt x="3023235" y="501002"/>
                  </a:lnTo>
                  <a:lnTo>
                    <a:pt x="3056331" y="480047"/>
                  </a:lnTo>
                  <a:lnTo>
                    <a:pt x="3085985" y="454469"/>
                  </a:lnTo>
                  <a:lnTo>
                    <a:pt x="3111576" y="424815"/>
                  </a:lnTo>
                  <a:lnTo>
                    <a:pt x="3132531" y="391718"/>
                  </a:lnTo>
                  <a:lnTo>
                    <a:pt x="3148406" y="355904"/>
                  </a:lnTo>
                  <a:lnTo>
                    <a:pt x="3158845" y="318160"/>
                  </a:lnTo>
                  <a:lnTo>
                    <a:pt x="3163646" y="279285"/>
                  </a:lnTo>
                  <a:lnTo>
                    <a:pt x="3163963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73" name="object 273"/>
            <p:cNvSpPr txBox="1"/>
            <p:nvPr/>
          </p:nvSpPr>
          <p:spPr>
            <a:xfrm>
              <a:off x="11030353" y="2460497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45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4" name="object 274"/>
            <p:cNvSpPr txBox="1"/>
            <p:nvPr/>
          </p:nvSpPr>
          <p:spPr>
            <a:xfrm>
              <a:off x="7058595" y="3038721"/>
              <a:ext cx="118894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dirty="0">
                  <a:solidFill>
                    <a:srgbClr val="252423"/>
                  </a:solidFill>
                  <a:latin typeface="Segoe UI"/>
                  <a:cs typeface="Segoe UI"/>
                </a:rPr>
                <a:t>Word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Count is 76 or</a:t>
              </a:r>
              <a:r>
                <a:rPr sz="838" spc="-57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less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5" name="object 275"/>
            <p:cNvSpPr/>
            <p:nvPr/>
          </p:nvSpPr>
          <p:spPr>
            <a:xfrm>
              <a:off x="8605703" y="2878275"/>
              <a:ext cx="2394697" cy="470087"/>
            </a:xfrm>
            <a:custGeom>
              <a:avLst/>
              <a:gdLst/>
              <a:ahLst/>
              <a:cxnLst/>
              <a:rect l="l" t="t" r="r" b="b"/>
              <a:pathLst>
                <a:path w="2713990" h="532764">
                  <a:moveTo>
                    <a:pt x="2180983" y="266217"/>
                  </a:moveTo>
                  <a:lnTo>
                    <a:pt x="2099068" y="225259"/>
                  </a:lnTo>
                  <a:lnTo>
                    <a:pt x="2099068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2099068" y="276453"/>
                  </a:lnTo>
                  <a:lnTo>
                    <a:pt x="2099068" y="307174"/>
                  </a:lnTo>
                  <a:lnTo>
                    <a:pt x="2180983" y="266217"/>
                  </a:lnTo>
                  <a:close/>
                </a:path>
                <a:path w="2713990" h="532764">
                  <a:moveTo>
                    <a:pt x="2713431" y="266217"/>
                  </a:moveTo>
                  <a:lnTo>
                    <a:pt x="2710548" y="227152"/>
                  </a:lnTo>
                  <a:lnTo>
                    <a:pt x="2701963" y="188937"/>
                  </a:lnTo>
                  <a:lnTo>
                    <a:pt x="2687878" y="152400"/>
                  </a:lnTo>
                  <a:lnTo>
                    <a:pt x="2668562" y="118313"/>
                  </a:lnTo>
                  <a:lnTo>
                    <a:pt x="2644470" y="87439"/>
                  </a:lnTo>
                  <a:lnTo>
                    <a:pt x="2616098" y="60426"/>
                  </a:lnTo>
                  <a:lnTo>
                    <a:pt x="2584081" y="37871"/>
                  </a:lnTo>
                  <a:lnTo>
                    <a:pt x="2549093" y="20256"/>
                  </a:lnTo>
                  <a:lnTo>
                    <a:pt x="2511895" y="7975"/>
                  </a:lnTo>
                  <a:lnTo>
                    <a:pt x="2473299" y="1282"/>
                  </a:lnTo>
                  <a:lnTo>
                    <a:pt x="2447213" y="0"/>
                  </a:lnTo>
                  <a:lnTo>
                    <a:pt x="2434145" y="317"/>
                  </a:lnTo>
                  <a:lnTo>
                    <a:pt x="2395270" y="5105"/>
                  </a:lnTo>
                  <a:lnTo>
                    <a:pt x="2357526" y="15557"/>
                  </a:lnTo>
                  <a:lnTo>
                    <a:pt x="2321712" y="31432"/>
                  </a:lnTo>
                  <a:lnTo>
                    <a:pt x="2288616" y="52387"/>
                  </a:lnTo>
                  <a:lnTo>
                    <a:pt x="2258961" y="77965"/>
                  </a:lnTo>
                  <a:lnTo>
                    <a:pt x="2233371" y="107632"/>
                  </a:lnTo>
                  <a:lnTo>
                    <a:pt x="2212416" y="140716"/>
                  </a:lnTo>
                  <a:lnTo>
                    <a:pt x="2196554" y="176530"/>
                  </a:lnTo>
                  <a:lnTo>
                    <a:pt x="2186101" y="214287"/>
                  </a:lnTo>
                  <a:lnTo>
                    <a:pt x="2181301" y="253161"/>
                  </a:lnTo>
                  <a:lnTo>
                    <a:pt x="2180983" y="266217"/>
                  </a:lnTo>
                  <a:lnTo>
                    <a:pt x="2181301" y="279285"/>
                  </a:lnTo>
                  <a:lnTo>
                    <a:pt x="2186101" y="318160"/>
                  </a:lnTo>
                  <a:lnTo>
                    <a:pt x="2196554" y="355904"/>
                  </a:lnTo>
                  <a:lnTo>
                    <a:pt x="2212416" y="391718"/>
                  </a:lnTo>
                  <a:lnTo>
                    <a:pt x="2233371" y="424802"/>
                  </a:lnTo>
                  <a:lnTo>
                    <a:pt x="2258961" y="454469"/>
                  </a:lnTo>
                  <a:lnTo>
                    <a:pt x="2288616" y="480047"/>
                  </a:lnTo>
                  <a:lnTo>
                    <a:pt x="2321712" y="501002"/>
                  </a:lnTo>
                  <a:lnTo>
                    <a:pt x="2357526" y="516877"/>
                  </a:lnTo>
                  <a:lnTo>
                    <a:pt x="2395270" y="527329"/>
                  </a:lnTo>
                  <a:lnTo>
                    <a:pt x="2434145" y="532117"/>
                  </a:lnTo>
                  <a:lnTo>
                    <a:pt x="2447213" y="532447"/>
                  </a:lnTo>
                  <a:lnTo>
                    <a:pt x="2460269" y="532117"/>
                  </a:lnTo>
                  <a:lnTo>
                    <a:pt x="2499144" y="527329"/>
                  </a:lnTo>
                  <a:lnTo>
                    <a:pt x="2536901" y="516877"/>
                  </a:lnTo>
                  <a:lnTo>
                    <a:pt x="2572702" y="501002"/>
                  </a:lnTo>
                  <a:lnTo>
                    <a:pt x="2605798" y="480047"/>
                  </a:lnTo>
                  <a:lnTo>
                    <a:pt x="2635453" y="454469"/>
                  </a:lnTo>
                  <a:lnTo>
                    <a:pt x="2661043" y="424802"/>
                  </a:lnTo>
                  <a:lnTo>
                    <a:pt x="2681998" y="391718"/>
                  </a:lnTo>
                  <a:lnTo>
                    <a:pt x="2697873" y="355904"/>
                  </a:lnTo>
                  <a:lnTo>
                    <a:pt x="2708313" y="318160"/>
                  </a:lnTo>
                  <a:lnTo>
                    <a:pt x="2713113" y="279285"/>
                  </a:lnTo>
                  <a:lnTo>
                    <a:pt x="2713431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76" name="object 276"/>
            <p:cNvSpPr txBox="1"/>
            <p:nvPr/>
          </p:nvSpPr>
          <p:spPr>
            <a:xfrm>
              <a:off x="10627460" y="3038721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36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7" name="object 277"/>
            <p:cNvSpPr txBox="1"/>
            <p:nvPr/>
          </p:nvSpPr>
          <p:spPr>
            <a:xfrm>
              <a:off x="7058595" y="3616944"/>
              <a:ext cx="682438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Rating is 2 -</a:t>
              </a:r>
              <a:r>
                <a:rPr sz="838" spc="-71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4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8" name="object 278"/>
            <p:cNvSpPr/>
            <p:nvPr/>
          </p:nvSpPr>
          <p:spPr>
            <a:xfrm>
              <a:off x="8605703" y="3456499"/>
              <a:ext cx="1698812" cy="470087"/>
            </a:xfrm>
            <a:custGeom>
              <a:avLst/>
              <a:gdLst/>
              <a:ahLst/>
              <a:cxnLst/>
              <a:rect l="l" t="t" r="r" b="b"/>
              <a:pathLst>
                <a:path w="1925320" h="532764">
                  <a:moveTo>
                    <a:pt x="1392555" y="266217"/>
                  </a:moveTo>
                  <a:lnTo>
                    <a:pt x="1310640" y="225259"/>
                  </a:lnTo>
                  <a:lnTo>
                    <a:pt x="1310640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1310640" y="276453"/>
                  </a:lnTo>
                  <a:lnTo>
                    <a:pt x="1310640" y="307174"/>
                  </a:lnTo>
                  <a:lnTo>
                    <a:pt x="1392555" y="266217"/>
                  </a:lnTo>
                  <a:close/>
                </a:path>
                <a:path w="1925320" h="532764">
                  <a:moveTo>
                    <a:pt x="1925002" y="266217"/>
                  </a:moveTo>
                  <a:lnTo>
                    <a:pt x="1922119" y="227152"/>
                  </a:lnTo>
                  <a:lnTo>
                    <a:pt x="1913534" y="188937"/>
                  </a:lnTo>
                  <a:lnTo>
                    <a:pt x="1899437" y="152400"/>
                  </a:lnTo>
                  <a:lnTo>
                    <a:pt x="1880133" y="118313"/>
                  </a:lnTo>
                  <a:lnTo>
                    <a:pt x="1856041" y="87439"/>
                  </a:lnTo>
                  <a:lnTo>
                    <a:pt x="1827669" y="60426"/>
                  </a:lnTo>
                  <a:lnTo>
                    <a:pt x="1795640" y="37871"/>
                  </a:lnTo>
                  <a:lnTo>
                    <a:pt x="1760651" y="20256"/>
                  </a:lnTo>
                  <a:lnTo>
                    <a:pt x="1723466" y="7975"/>
                  </a:lnTo>
                  <a:lnTo>
                    <a:pt x="1684870" y="1282"/>
                  </a:lnTo>
                  <a:lnTo>
                    <a:pt x="1658772" y="0"/>
                  </a:lnTo>
                  <a:lnTo>
                    <a:pt x="1645716" y="317"/>
                  </a:lnTo>
                  <a:lnTo>
                    <a:pt x="1606842" y="5105"/>
                  </a:lnTo>
                  <a:lnTo>
                    <a:pt x="1569085" y="15557"/>
                  </a:lnTo>
                  <a:lnTo>
                    <a:pt x="1533283" y="31432"/>
                  </a:lnTo>
                  <a:lnTo>
                    <a:pt x="1500187" y="52387"/>
                  </a:lnTo>
                  <a:lnTo>
                    <a:pt x="1470533" y="77965"/>
                  </a:lnTo>
                  <a:lnTo>
                    <a:pt x="1444942" y="107632"/>
                  </a:lnTo>
                  <a:lnTo>
                    <a:pt x="1423987" y="140716"/>
                  </a:lnTo>
                  <a:lnTo>
                    <a:pt x="1408112" y="176530"/>
                  </a:lnTo>
                  <a:lnTo>
                    <a:pt x="1397673" y="214287"/>
                  </a:lnTo>
                  <a:lnTo>
                    <a:pt x="1392872" y="253161"/>
                  </a:lnTo>
                  <a:lnTo>
                    <a:pt x="1392555" y="266217"/>
                  </a:lnTo>
                  <a:lnTo>
                    <a:pt x="1392872" y="279285"/>
                  </a:lnTo>
                  <a:lnTo>
                    <a:pt x="1397673" y="318160"/>
                  </a:lnTo>
                  <a:lnTo>
                    <a:pt x="1408112" y="355904"/>
                  </a:lnTo>
                  <a:lnTo>
                    <a:pt x="1423987" y="391718"/>
                  </a:lnTo>
                  <a:lnTo>
                    <a:pt x="1444942" y="424802"/>
                  </a:lnTo>
                  <a:lnTo>
                    <a:pt x="1470533" y="454469"/>
                  </a:lnTo>
                  <a:lnTo>
                    <a:pt x="1500187" y="480047"/>
                  </a:lnTo>
                  <a:lnTo>
                    <a:pt x="1533283" y="501002"/>
                  </a:lnTo>
                  <a:lnTo>
                    <a:pt x="1569085" y="516877"/>
                  </a:lnTo>
                  <a:lnTo>
                    <a:pt x="1606842" y="527329"/>
                  </a:lnTo>
                  <a:lnTo>
                    <a:pt x="1645716" y="532117"/>
                  </a:lnTo>
                  <a:lnTo>
                    <a:pt x="1658772" y="532447"/>
                  </a:lnTo>
                  <a:lnTo>
                    <a:pt x="1671840" y="532117"/>
                  </a:lnTo>
                  <a:lnTo>
                    <a:pt x="1710715" y="527329"/>
                  </a:lnTo>
                  <a:lnTo>
                    <a:pt x="1748459" y="516877"/>
                  </a:lnTo>
                  <a:lnTo>
                    <a:pt x="1784273" y="501002"/>
                  </a:lnTo>
                  <a:lnTo>
                    <a:pt x="1817370" y="480047"/>
                  </a:lnTo>
                  <a:lnTo>
                    <a:pt x="1847024" y="454469"/>
                  </a:lnTo>
                  <a:lnTo>
                    <a:pt x="1872615" y="424802"/>
                  </a:lnTo>
                  <a:lnTo>
                    <a:pt x="1893570" y="391718"/>
                  </a:lnTo>
                  <a:lnTo>
                    <a:pt x="1909445" y="355904"/>
                  </a:lnTo>
                  <a:lnTo>
                    <a:pt x="1919884" y="318160"/>
                  </a:lnTo>
                  <a:lnTo>
                    <a:pt x="1924685" y="279285"/>
                  </a:lnTo>
                  <a:lnTo>
                    <a:pt x="1925002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79" name="object 279"/>
            <p:cNvSpPr txBox="1"/>
            <p:nvPr/>
          </p:nvSpPr>
          <p:spPr>
            <a:xfrm>
              <a:off x="9934325" y="3616944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21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0" name="object 280"/>
            <p:cNvSpPr txBox="1"/>
            <p:nvPr/>
          </p:nvSpPr>
          <p:spPr>
            <a:xfrm>
              <a:off x="7058596" y="4195168"/>
              <a:ext cx="118950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Sentence Count is 7 -</a:t>
              </a:r>
              <a:r>
                <a:rPr sz="838" spc="-44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27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1" name="object 281"/>
            <p:cNvSpPr/>
            <p:nvPr/>
          </p:nvSpPr>
          <p:spPr>
            <a:xfrm>
              <a:off x="8605703" y="4034722"/>
              <a:ext cx="1581150" cy="470087"/>
            </a:xfrm>
            <a:custGeom>
              <a:avLst/>
              <a:gdLst/>
              <a:ahLst/>
              <a:cxnLst/>
              <a:rect l="l" t="t" r="r" b="b"/>
              <a:pathLst>
                <a:path w="1791970" h="532764">
                  <a:moveTo>
                    <a:pt x="1259446" y="266217"/>
                  </a:moveTo>
                  <a:lnTo>
                    <a:pt x="1177531" y="225259"/>
                  </a:lnTo>
                  <a:lnTo>
                    <a:pt x="1177531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1177531" y="276453"/>
                  </a:lnTo>
                  <a:lnTo>
                    <a:pt x="1177531" y="307174"/>
                  </a:lnTo>
                  <a:lnTo>
                    <a:pt x="1259446" y="266217"/>
                  </a:lnTo>
                  <a:close/>
                </a:path>
                <a:path w="1791970" h="532764">
                  <a:moveTo>
                    <a:pt x="1791893" y="266217"/>
                  </a:moveTo>
                  <a:lnTo>
                    <a:pt x="1789010" y="227152"/>
                  </a:lnTo>
                  <a:lnTo>
                    <a:pt x="1780425" y="188937"/>
                  </a:lnTo>
                  <a:lnTo>
                    <a:pt x="1766328" y="152387"/>
                  </a:lnTo>
                  <a:lnTo>
                    <a:pt x="1747024" y="118313"/>
                  </a:lnTo>
                  <a:lnTo>
                    <a:pt x="1722920" y="87439"/>
                  </a:lnTo>
                  <a:lnTo>
                    <a:pt x="1694561" y="60426"/>
                  </a:lnTo>
                  <a:lnTo>
                    <a:pt x="1662531" y="37871"/>
                  </a:lnTo>
                  <a:lnTo>
                    <a:pt x="1627543" y="20256"/>
                  </a:lnTo>
                  <a:lnTo>
                    <a:pt x="1590357" y="7975"/>
                  </a:lnTo>
                  <a:lnTo>
                    <a:pt x="1551762" y="1282"/>
                  </a:lnTo>
                  <a:lnTo>
                    <a:pt x="1525663" y="0"/>
                  </a:lnTo>
                  <a:lnTo>
                    <a:pt x="1512608" y="317"/>
                  </a:lnTo>
                  <a:lnTo>
                    <a:pt x="1473733" y="5105"/>
                  </a:lnTo>
                  <a:lnTo>
                    <a:pt x="1435976" y="15557"/>
                  </a:lnTo>
                  <a:lnTo>
                    <a:pt x="1400162" y="31432"/>
                  </a:lnTo>
                  <a:lnTo>
                    <a:pt x="1367078" y="52387"/>
                  </a:lnTo>
                  <a:lnTo>
                    <a:pt x="1337411" y="77965"/>
                  </a:lnTo>
                  <a:lnTo>
                    <a:pt x="1311833" y="107632"/>
                  </a:lnTo>
                  <a:lnTo>
                    <a:pt x="1290878" y="140716"/>
                  </a:lnTo>
                  <a:lnTo>
                    <a:pt x="1275003" y="176530"/>
                  </a:lnTo>
                  <a:lnTo>
                    <a:pt x="1264551" y="214287"/>
                  </a:lnTo>
                  <a:lnTo>
                    <a:pt x="1259763" y="253161"/>
                  </a:lnTo>
                  <a:lnTo>
                    <a:pt x="1259446" y="266217"/>
                  </a:lnTo>
                  <a:lnTo>
                    <a:pt x="1259763" y="279285"/>
                  </a:lnTo>
                  <a:lnTo>
                    <a:pt x="1264551" y="318160"/>
                  </a:lnTo>
                  <a:lnTo>
                    <a:pt x="1275003" y="355904"/>
                  </a:lnTo>
                  <a:lnTo>
                    <a:pt x="1290878" y="391718"/>
                  </a:lnTo>
                  <a:lnTo>
                    <a:pt x="1311833" y="424802"/>
                  </a:lnTo>
                  <a:lnTo>
                    <a:pt x="1337411" y="454469"/>
                  </a:lnTo>
                  <a:lnTo>
                    <a:pt x="1367078" y="480047"/>
                  </a:lnTo>
                  <a:lnTo>
                    <a:pt x="1400162" y="501002"/>
                  </a:lnTo>
                  <a:lnTo>
                    <a:pt x="1435976" y="516877"/>
                  </a:lnTo>
                  <a:lnTo>
                    <a:pt x="1473733" y="527329"/>
                  </a:lnTo>
                  <a:lnTo>
                    <a:pt x="1512608" y="532117"/>
                  </a:lnTo>
                  <a:lnTo>
                    <a:pt x="1525663" y="532447"/>
                  </a:lnTo>
                  <a:lnTo>
                    <a:pt x="1538732" y="532117"/>
                  </a:lnTo>
                  <a:lnTo>
                    <a:pt x="1577606" y="527329"/>
                  </a:lnTo>
                  <a:lnTo>
                    <a:pt x="1615351" y="516877"/>
                  </a:lnTo>
                  <a:lnTo>
                    <a:pt x="1651165" y="501002"/>
                  </a:lnTo>
                  <a:lnTo>
                    <a:pt x="1684261" y="480047"/>
                  </a:lnTo>
                  <a:lnTo>
                    <a:pt x="1713915" y="454469"/>
                  </a:lnTo>
                  <a:lnTo>
                    <a:pt x="1739493" y="424802"/>
                  </a:lnTo>
                  <a:lnTo>
                    <a:pt x="1760448" y="391718"/>
                  </a:lnTo>
                  <a:lnTo>
                    <a:pt x="1776323" y="355904"/>
                  </a:lnTo>
                  <a:lnTo>
                    <a:pt x="1786775" y="318160"/>
                  </a:lnTo>
                  <a:lnTo>
                    <a:pt x="1791563" y="279285"/>
                  </a:lnTo>
                  <a:lnTo>
                    <a:pt x="1791893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2" name="object 282"/>
            <p:cNvSpPr txBox="1"/>
            <p:nvPr/>
          </p:nvSpPr>
          <p:spPr>
            <a:xfrm>
              <a:off x="9818428" y="4195168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19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3" name="object 283"/>
            <p:cNvSpPr txBox="1"/>
            <p:nvPr/>
          </p:nvSpPr>
          <p:spPr>
            <a:xfrm>
              <a:off x="7058595" y="4773391"/>
              <a:ext cx="96202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Usefulness is</a:t>
              </a:r>
              <a:r>
                <a:rPr sz="838" spc="-40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Useful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4" name="object 284"/>
            <p:cNvSpPr/>
            <p:nvPr/>
          </p:nvSpPr>
          <p:spPr>
            <a:xfrm>
              <a:off x="8605703" y="4612946"/>
              <a:ext cx="1563221" cy="470087"/>
            </a:xfrm>
            <a:custGeom>
              <a:avLst/>
              <a:gdLst/>
              <a:ahLst/>
              <a:cxnLst/>
              <a:rect l="l" t="t" r="r" b="b"/>
              <a:pathLst>
                <a:path w="1771650" h="532764">
                  <a:moveTo>
                    <a:pt x="1238961" y="266217"/>
                  </a:moveTo>
                  <a:lnTo>
                    <a:pt x="1157046" y="225259"/>
                  </a:lnTo>
                  <a:lnTo>
                    <a:pt x="1157046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1157046" y="276453"/>
                  </a:lnTo>
                  <a:lnTo>
                    <a:pt x="1157046" y="307174"/>
                  </a:lnTo>
                  <a:lnTo>
                    <a:pt x="1238961" y="266217"/>
                  </a:lnTo>
                  <a:close/>
                </a:path>
                <a:path w="1771650" h="532764">
                  <a:moveTo>
                    <a:pt x="1771408" y="266217"/>
                  </a:moveTo>
                  <a:lnTo>
                    <a:pt x="1768525" y="227152"/>
                  </a:lnTo>
                  <a:lnTo>
                    <a:pt x="1759953" y="188937"/>
                  </a:lnTo>
                  <a:lnTo>
                    <a:pt x="1745856" y="152387"/>
                  </a:lnTo>
                  <a:lnTo>
                    <a:pt x="1726539" y="118313"/>
                  </a:lnTo>
                  <a:lnTo>
                    <a:pt x="1702447" y="87439"/>
                  </a:lnTo>
                  <a:lnTo>
                    <a:pt x="1674075" y="60426"/>
                  </a:lnTo>
                  <a:lnTo>
                    <a:pt x="1642059" y="37871"/>
                  </a:lnTo>
                  <a:lnTo>
                    <a:pt x="1607070" y="20256"/>
                  </a:lnTo>
                  <a:lnTo>
                    <a:pt x="1569872" y="7975"/>
                  </a:lnTo>
                  <a:lnTo>
                    <a:pt x="1531277" y="1282"/>
                  </a:lnTo>
                  <a:lnTo>
                    <a:pt x="1505191" y="0"/>
                  </a:lnTo>
                  <a:lnTo>
                    <a:pt x="1492123" y="317"/>
                  </a:lnTo>
                  <a:lnTo>
                    <a:pt x="1453248" y="5105"/>
                  </a:lnTo>
                  <a:lnTo>
                    <a:pt x="1415503" y="15557"/>
                  </a:lnTo>
                  <a:lnTo>
                    <a:pt x="1379689" y="31432"/>
                  </a:lnTo>
                  <a:lnTo>
                    <a:pt x="1346593" y="52387"/>
                  </a:lnTo>
                  <a:lnTo>
                    <a:pt x="1316939" y="77965"/>
                  </a:lnTo>
                  <a:lnTo>
                    <a:pt x="1291348" y="107632"/>
                  </a:lnTo>
                  <a:lnTo>
                    <a:pt x="1270393" y="140716"/>
                  </a:lnTo>
                  <a:lnTo>
                    <a:pt x="1254531" y="176530"/>
                  </a:lnTo>
                  <a:lnTo>
                    <a:pt x="1244079" y="214287"/>
                  </a:lnTo>
                  <a:lnTo>
                    <a:pt x="1239278" y="253161"/>
                  </a:lnTo>
                  <a:lnTo>
                    <a:pt x="1238961" y="266217"/>
                  </a:lnTo>
                  <a:lnTo>
                    <a:pt x="1239278" y="279285"/>
                  </a:lnTo>
                  <a:lnTo>
                    <a:pt x="1244079" y="318160"/>
                  </a:lnTo>
                  <a:lnTo>
                    <a:pt x="1254531" y="355904"/>
                  </a:lnTo>
                  <a:lnTo>
                    <a:pt x="1270393" y="391718"/>
                  </a:lnTo>
                  <a:lnTo>
                    <a:pt x="1291348" y="424802"/>
                  </a:lnTo>
                  <a:lnTo>
                    <a:pt x="1316939" y="454469"/>
                  </a:lnTo>
                  <a:lnTo>
                    <a:pt x="1346593" y="480047"/>
                  </a:lnTo>
                  <a:lnTo>
                    <a:pt x="1379689" y="501002"/>
                  </a:lnTo>
                  <a:lnTo>
                    <a:pt x="1415503" y="516877"/>
                  </a:lnTo>
                  <a:lnTo>
                    <a:pt x="1453248" y="527329"/>
                  </a:lnTo>
                  <a:lnTo>
                    <a:pt x="1492123" y="532117"/>
                  </a:lnTo>
                  <a:lnTo>
                    <a:pt x="1505191" y="532447"/>
                  </a:lnTo>
                  <a:lnTo>
                    <a:pt x="1518246" y="532117"/>
                  </a:lnTo>
                  <a:lnTo>
                    <a:pt x="1557121" y="527329"/>
                  </a:lnTo>
                  <a:lnTo>
                    <a:pt x="1594878" y="516877"/>
                  </a:lnTo>
                  <a:lnTo>
                    <a:pt x="1630680" y="501002"/>
                  </a:lnTo>
                  <a:lnTo>
                    <a:pt x="1663776" y="480047"/>
                  </a:lnTo>
                  <a:lnTo>
                    <a:pt x="1693430" y="454469"/>
                  </a:lnTo>
                  <a:lnTo>
                    <a:pt x="1719021" y="424802"/>
                  </a:lnTo>
                  <a:lnTo>
                    <a:pt x="1739976" y="391718"/>
                  </a:lnTo>
                  <a:lnTo>
                    <a:pt x="1755851" y="355904"/>
                  </a:lnTo>
                  <a:lnTo>
                    <a:pt x="1766290" y="318160"/>
                  </a:lnTo>
                  <a:lnTo>
                    <a:pt x="1771091" y="279285"/>
                  </a:lnTo>
                  <a:lnTo>
                    <a:pt x="1771408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5" name="object 285"/>
            <p:cNvSpPr txBox="1"/>
            <p:nvPr/>
          </p:nvSpPr>
          <p:spPr>
            <a:xfrm>
              <a:off x="9800781" y="4773391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18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6" name="object 286"/>
            <p:cNvSpPr txBox="1"/>
            <p:nvPr/>
          </p:nvSpPr>
          <p:spPr>
            <a:xfrm>
              <a:off x="7058595" y="5351615"/>
              <a:ext cx="1005168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252423"/>
                  </a:solidFill>
                  <a:latin typeface="Segoe UI"/>
                  <a:cs typeface="Segoe UI"/>
                </a:rPr>
                <a:t>Sentiment is</a:t>
              </a:r>
              <a:r>
                <a:rPr sz="838" spc="-40" dirty="0">
                  <a:solidFill>
                    <a:srgbClr val="252423"/>
                  </a:solidFill>
                  <a:latin typeface="Segoe UI"/>
                  <a:cs typeface="Segoe UI"/>
                </a:rPr>
                <a:t> </a:t>
              </a:r>
              <a:r>
                <a:rPr sz="838" dirty="0">
                  <a:solidFill>
                    <a:srgbClr val="252423"/>
                  </a:solidFill>
                  <a:latin typeface="Segoe UI"/>
                  <a:cs typeface="Segoe UI"/>
                </a:rPr>
                <a:t>Positive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87" name="object 287"/>
            <p:cNvSpPr/>
            <p:nvPr/>
          </p:nvSpPr>
          <p:spPr>
            <a:xfrm>
              <a:off x="8605703" y="5191169"/>
              <a:ext cx="993962" cy="470087"/>
            </a:xfrm>
            <a:custGeom>
              <a:avLst/>
              <a:gdLst/>
              <a:ahLst/>
              <a:cxnLst/>
              <a:rect l="l" t="t" r="r" b="b"/>
              <a:pathLst>
                <a:path w="1126490" h="532764">
                  <a:moveTo>
                    <a:pt x="593877" y="266217"/>
                  </a:moveTo>
                  <a:lnTo>
                    <a:pt x="511962" y="225259"/>
                  </a:lnTo>
                  <a:lnTo>
                    <a:pt x="511962" y="266217"/>
                  </a:lnTo>
                  <a:lnTo>
                    <a:pt x="0" y="266217"/>
                  </a:lnTo>
                  <a:lnTo>
                    <a:pt x="0" y="276453"/>
                  </a:lnTo>
                  <a:lnTo>
                    <a:pt x="511962" y="276453"/>
                  </a:lnTo>
                  <a:lnTo>
                    <a:pt x="511962" y="307174"/>
                  </a:lnTo>
                  <a:lnTo>
                    <a:pt x="593877" y="266217"/>
                  </a:lnTo>
                  <a:close/>
                </a:path>
                <a:path w="1126490" h="532764">
                  <a:moveTo>
                    <a:pt x="1126324" y="266217"/>
                  </a:moveTo>
                  <a:lnTo>
                    <a:pt x="1123454" y="227152"/>
                  </a:lnTo>
                  <a:lnTo>
                    <a:pt x="1114869" y="188937"/>
                  </a:lnTo>
                  <a:lnTo>
                    <a:pt x="1100772" y="152387"/>
                  </a:lnTo>
                  <a:lnTo>
                    <a:pt x="1081468" y="118313"/>
                  </a:lnTo>
                  <a:lnTo>
                    <a:pt x="1057363" y="87439"/>
                  </a:lnTo>
                  <a:lnTo>
                    <a:pt x="1028992" y="60426"/>
                  </a:lnTo>
                  <a:lnTo>
                    <a:pt x="996975" y="37871"/>
                  </a:lnTo>
                  <a:lnTo>
                    <a:pt x="961986" y="20256"/>
                  </a:lnTo>
                  <a:lnTo>
                    <a:pt x="924788" y="7975"/>
                  </a:lnTo>
                  <a:lnTo>
                    <a:pt x="886206" y="1282"/>
                  </a:lnTo>
                  <a:lnTo>
                    <a:pt x="860107" y="0"/>
                  </a:lnTo>
                  <a:lnTo>
                    <a:pt x="847039" y="317"/>
                  </a:lnTo>
                  <a:lnTo>
                    <a:pt x="808164" y="5105"/>
                  </a:lnTo>
                  <a:lnTo>
                    <a:pt x="770420" y="15557"/>
                  </a:lnTo>
                  <a:lnTo>
                    <a:pt x="734606" y="31432"/>
                  </a:lnTo>
                  <a:lnTo>
                    <a:pt x="701522" y="52387"/>
                  </a:lnTo>
                  <a:lnTo>
                    <a:pt x="671855" y="77965"/>
                  </a:lnTo>
                  <a:lnTo>
                    <a:pt x="646277" y="107632"/>
                  </a:lnTo>
                  <a:lnTo>
                    <a:pt x="625322" y="140716"/>
                  </a:lnTo>
                  <a:lnTo>
                    <a:pt x="609447" y="176530"/>
                  </a:lnTo>
                  <a:lnTo>
                    <a:pt x="598995" y="214287"/>
                  </a:lnTo>
                  <a:lnTo>
                    <a:pt x="594207" y="253161"/>
                  </a:lnTo>
                  <a:lnTo>
                    <a:pt x="593877" y="266217"/>
                  </a:lnTo>
                  <a:lnTo>
                    <a:pt x="594207" y="279285"/>
                  </a:lnTo>
                  <a:lnTo>
                    <a:pt x="598995" y="318160"/>
                  </a:lnTo>
                  <a:lnTo>
                    <a:pt x="609447" y="355904"/>
                  </a:lnTo>
                  <a:lnTo>
                    <a:pt x="625322" y="391718"/>
                  </a:lnTo>
                  <a:lnTo>
                    <a:pt x="646277" y="424802"/>
                  </a:lnTo>
                  <a:lnTo>
                    <a:pt x="671855" y="454469"/>
                  </a:lnTo>
                  <a:lnTo>
                    <a:pt x="701522" y="480047"/>
                  </a:lnTo>
                  <a:lnTo>
                    <a:pt x="734606" y="501002"/>
                  </a:lnTo>
                  <a:lnTo>
                    <a:pt x="770420" y="516877"/>
                  </a:lnTo>
                  <a:lnTo>
                    <a:pt x="808164" y="527329"/>
                  </a:lnTo>
                  <a:lnTo>
                    <a:pt x="847039" y="532117"/>
                  </a:lnTo>
                  <a:lnTo>
                    <a:pt x="860107" y="532447"/>
                  </a:lnTo>
                  <a:lnTo>
                    <a:pt x="873163" y="532117"/>
                  </a:lnTo>
                  <a:lnTo>
                    <a:pt x="912037" y="527329"/>
                  </a:lnTo>
                  <a:lnTo>
                    <a:pt x="949794" y="516877"/>
                  </a:lnTo>
                  <a:lnTo>
                    <a:pt x="985608" y="501002"/>
                  </a:lnTo>
                  <a:lnTo>
                    <a:pt x="1018692" y="480047"/>
                  </a:lnTo>
                  <a:lnTo>
                    <a:pt x="1048359" y="454469"/>
                  </a:lnTo>
                  <a:lnTo>
                    <a:pt x="1073937" y="424802"/>
                  </a:lnTo>
                  <a:lnTo>
                    <a:pt x="1094892" y="391718"/>
                  </a:lnTo>
                  <a:lnTo>
                    <a:pt x="1110767" y="355904"/>
                  </a:lnTo>
                  <a:lnTo>
                    <a:pt x="1121219" y="318160"/>
                  </a:lnTo>
                  <a:lnTo>
                    <a:pt x="1126007" y="279285"/>
                  </a:lnTo>
                  <a:lnTo>
                    <a:pt x="1126324" y="266217"/>
                  </a:lnTo>
                  <a:close/>
                </a:path>
              </a:pathLst>
            </a:custGeom>
            <a:solidFill>
              <a:srgbClr val="C7C7C7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8" name="object 288"/>
            <p:cNvSpPr txBox="1"/>
            <p:nvPr/>
          </p:nvSpPr>
          <p:spPr>
            <a:xfrm>
              <a:off x="9227923" y="5351615"/>
              <a:ext cx="271182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333333"/>
                  </a:solidFill>
                  <a:latin typeface="Segoe UI"/>
                  <a:cs typeface="Segoe UI"/>
                </a:rPr>
                <a:t>1.06x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90" name="object 290"/>
            <p:cNvSpPr txBox="1"/>
            <p:nvPr/>
          </p:nvSpPr>
          <p:spPr>
            <a:xfrm>
              <a:off x="9233622" y="1256530"/>
              <a:ext cx="1391771" cy="199101"/>
            </a:xfrm>
            <a:prstGeom prst="rect">
              <a:avLst/>
            </a:prstGeom>
            <a:ln w="10239">
              <a:solidFill>
                <a:srgbClr val="E9E9E9"/>
              </a:solidFill>
            </a:ln>
          </p:spPr>
          <p:txBody>
            <a:bodyPr vert="horz" wrap="square" lIns="0" tIns="69476" rIns="0" bIns="0" rtlCol="0">
              <a:spAutoFit/>
            </a:bodyPr>
            <a:lstStyle/>
            <a:p>
              <a:pPr marL="52110">
                <a:spcBef>
                  <a:spcPts val="547"/>
                </a:spcBef>
                <a:tabLst>
                  <a:tab pos="1235514" algn="l"/>
                </a:tabLst>
              </a:pPr>
              <a:r>
                <a:rPr sz="1257" spc="6" baseline="5847" dirty="0">
                  <a:solidFill>
                    <a:srgbClr val="605D5C"/>
                  </a:solidFill>
                  <a:latin typeface="Segoe UI"/>
                  <a:cs typeface="Segoe UI"/>
                </a:rPr>
                <a:t>Books	</a:t>
              </a:r>
              <a:r>
                <a:rPr sz="838" spc="13" dirty="0">
                  <a:solidFill>
                    <a:srgbClr val="605D5C"/>
                  </a:solidFill>
                  <a:latin typeface="Segoe MDL2 Assets"/>
                  <a:cs typeface="Segoe MDL2 Assets"/>
                </a:rPr>
                <a:t></a:t>
              </a:r>
              <a:endParaRPr sz="838" dirty="0">
                <a:latin typeface="Segoe MDL2 Assets"/>
                <a:cs typeface="Segoe MDL2 Assets"/>
              </a:endParaRPr>
            </a:p>
          </p:txBody>
        </p:sp>
        <p:sp>
          <p:nvSpPr>
            <p:cNvPr id="313" name="object 313"/>
            <p:cNvSpPr/>
            <p:nvPr/>
          </p:nvSpPr>
          <p:spPr>
            <a:xfrm>
              <a:off x="6477776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4" name="object 314"/>
            <p:cNvSpPr/>
            <p:nvPr/>
          </p:nvSpPr>
          <p:spPr>
            <a:xfrm>
              <a:off x="6532052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5" name="object 315"/>
            <p:cNvSpPr/>
            <p:nvPr/>
          </p:nvSpPr>
          <p:spPr>
            <a:xfrm>
              <a:off x="6586328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6" name="object 316"/>
            <p:cNvSpPr/>
            <p:nvPr/>
          </p:nvSpPr>
          <p:spPr>
            <a:xfrm>
              <a:off x="6640605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7" name="object 317"/>
            <p:cNvSpPr/>
            <p:nvPr/>
          </p:nvSpPr>
          <p:spPr>
            <a:xfrm>
              <a:off x="6694882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8" name="object 318"/>
            <p:cNvSpPr/>
            <p:nvPr/>
          </p:nvSpPr>
          <p:spPr>
            <a:xfrm>
              <a:off x="6749158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0" name="object 330"/>
            <p:cNvSpPr/>
            <p:nvPr/>
          </p:nvSpPr>
          <p:spPr>
            <a:xfrm>
              <a:off x="6477776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1" name="object 331"/>
            <p:cNvSpPr/>
            <p:nvPr/>
          </p:nvSpPr>
          <p:spPr>
            <a:xfrm>
              <a:off x="6532052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2" name="object 332"/>
            <p:cNvSpPr/>
            <p:nvPr/>
          </p:nvSpPr>
          <p:spPr>
            <a:xfrm>
              <a:off x="6586328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3" name="object 333"/>
            <p:cNvSpPr/>
            <p:nvPr/>
          </p:nvSpPr>
          <p:spPr>
            <a:xfrm>
              <a:off x="6640605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4" name="object 334"/>
            <p:cNvSpPr/>
            <p:nvPr/>
          </p:nvSpPr>
          <p:spPr>
            <a:xfrm>
              <a:off x="6694882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5" name="object 335"/>
            <p:cNvSpPr/>
            <p:nvPr/>
          </p:nvSpPr>
          <p:spPr>
            <a:xfrm>
              <a:off x="6749158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7" name="object 347"/>
            <p:cNvSpPr/>
            <p:nvPr/>
          </p:nvSpPr>
          <p:spPr>
            <a:xfrm>
              <a:off x="6477776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8" name="object 348"/>
            <p:cNvSpPr/>
            <p:nvPr/>
          </p:nvSpPr>
          <p:spPr>
            <a:xfrm>
              <a:off x="6532052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9" name="object 349"/>
            <p:cNvSpPr/>
            <p:nvPr/>
          </p:nvSpPr>
          <p:spPr>
            <a:xfrm>
              <a:off x="6586328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0" name="object 350"/>
            <p:cNvSpPr/>
            <p:nvPr/>
          </p:nvSpPr>
          <p:spPr>
            <a:xfrm>
              <a:off x="6640605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1" name="object 351"/>
            <p:cNvSpPr/>
            <p:nvPr/>
          </p:nvSpPr>
          <p:spPr>
            <a:xfrm>
              <a:off x="6694882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2" name="object 352"/>
            <p:cNvSpPr/>
            <p:nvPr/>
          </p:nvSpPr>
          <p:spPr>
            <a:xfrm>
              <a:off x="6749158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4" name="object 374"/>
            <p:cNvSpPr/>
            <p:nvPr/>
          </p:nvSpPr>
          <p:spPr>
            <a:xfrm>
              <a:off x="6423500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5" name="object 375"/>
            <p:cNvSpPr/>
            <p:nvPr/>
          </p:nvSpPr>
          <p:spPr>
            <a:xfrm>
              <a:off x="6477776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6" name="object 376"/>
            <p:cNvSpPr/>
            <p:nvPr/>
          </p:nvSpPr>
          <p:spPr>
            <a:xfrm>
              <a:off x="6532052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7" name="object 377"/>
            <p:cNvSpPr/>
            <p:nvPr/>
          </p:nvSpPr>
          <p:spPr>
            <a:xfrm>
              <a:off x="6586328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8" name="object 378"/>
            <p:cNvSpPr/>
            <p:nvPr/>
          </p:nvSpPr>
          <p:spPr>
            <a:xfrm>
              <a:off x="6640605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9" name="object 379"/>
            <p:cNvSpPr/>
            <p:nvPr/>
          </p:nvSpPr>
          <p:spPr>
            <a:xfrm>
              <a:off x="6694882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0" name="object 380"/>
            <p:cNvSpPr/>
            <p:nvPr/>
          </p:nvSpPr>
          <p:spPr>
            <a:xfrm>
              <a:off x="6749158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7" name="object 417"/>
            <p:cNvSpPr/>
            <p:nvPr/>
          </p:nvSpPr>
          <p:spPr>
            <a:xfrm>
              <a:off x="6423500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8" name="object 418"/>
            <p:cNvSpPr/>
            <p:nvPr/>
          </p:nvSpPr>
          <p:spPr>
            <a:xfrm>
              <a:off x="6477776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9" name="object 419"/>
            <p:cNvSpPr/>
            <p:nvPr/>
          </p:nvSpPr>
          <p:spPr>
            <a:xfrm>
              <a:off x="653205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0" name="object 420"/>
            <p:cNvSpPr/>
            <p:nvPr/>
          </p:nvSpPr>
          <p:spPr>
            <a:xfrm>
              <a:off x="6586328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1" name="object 421"/>
            <p:cNvSpPr/>
            <p:nvPr/>
          </p:nvSpPr>
          <p:spPr>
            <a:xfrm>
              <a:off x="664060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2" name="object 422"/>
            <p:cNvSpPr/>
            <p:nvPr/>
          </p:nvSpPr>
          <p:spPr>
            <a:xfrm>
              <a:off x="669488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3" name="object 423"/>
            <p:cNvSpPr/>
            <p:nvPr/>
          </p:nvSpPr>
          <p:spPr>
            <a:xfrm>
              <a:off x="6749158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</p:grpSp>
      <p:grpSp>
        <p:nvGrpSpPr>
          <p:cNvPr id="441" name="Group 440">
            <a:extLst>
              <a:ext uri="{FF2B5EF4-FFF2-40B4-BE49-F238E27FC236}">
                <a16:creationId xmlns:a16="http://schemas.microsoft.com/office/drawing/2014/main" id="{79BDB681-3B13-4060-A840-EAFDF021A5D1}"/>
              </a:ext>
            </a:extLst>
          </p:cNvPr>
          <p:cNvGrpSpPr/>
          <p:nvPr/>
        </p:nvGrpSpPr>
        <p:grpSpPr>
          <a:xfrm>
            <a:off x="3821125" y="1041329"/>
            <a:ext cx="2948356" cy="2661653"/>
            <a:chOff x="3484414" y="1040466"/>
            <a:chExt cx="2948356" cy="2661653"/>
          </a:xfrm>
        </p:grpSpPr>
        <p:sp>
          <p:nvSpPr>
            <p:cNvPr id="293" name="object 293"/>
            <p:cNvSpPr txBox="1"/>
            <p:nvPr/>
          </p:nvSpPr>
          <p:spPr>
            <a:xfrm>
              <a:off x="4701045" y="1040466"/>
              <a:ext cx="1229855" cy="226194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11206">
                <a:spcBef>
                  <a:spcPts val="84"/>
                </a:spcBef>
              </a:pPr>
              <a:r>
                <a:rPr sz="1400" b="1" spc="-62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Sentence</a:t>
              </a:r>
              <a:r>
                <a:rPr sz="1400" b="1" spc="-124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400" b="1" spc="-7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ount</a:t>
              </a:r>
              <a:endParaRPr sz="1400" b="1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294" name="object 294"/>
            <p:cNvSpPr/>
            <p:nvPr/>
          </p:nvSpPr>
          <p:spPr>
            <a:xfrm>
              <a:off x="3872509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5" name="object 295"/>
            <p:cNvSpPr/>
            <p:nvPr/>
          </p:nvSpPr>
          <p:spPr>
            <a:xfrm>
              <a:off x="3926786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6" name="object 296"/>
            <p:cNvSpPr/>
            <p:nvPr/>
          </p:nvSpPr>
          <p:spPr>
            <a:xfrm>
              <a:off x="3981062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7" name="object 297"/>
            <p:cNvSpPr/>
            <p:nvPr/>
          </p:nvSpPr>
          <p:spPr>
            <a:xfrm>
              <a:off x="4035338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8" name="object 298"/>
            <p:cNvSpPr/>
            <p:nvPr/>
          </p:nvSpPr>
          <p:spPr>
            <a:xfrm>
              <a:off x="4089615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9" name="object 299"/>
            <p:cNvSpPr/>
            <p:nvPr/>
          </p:nvSpPr>
          <p:spPr>
            <a:xfrm>
              <a:off x="4143892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300" name="object 300"/>
            <p:cNvGrpSpPr/>
            <p:nvPr/>
          </p:nvGrpSpPr>
          <p:grpSpPr>
            <a:xfrm>
              <a:off x="4194087" y="1583066"/>
              <a:ext cx="610721" cy="1578349"/>
              <a:chOff x="4397699" y="1794141"/>
              <a:chExt cx="692150" cy="1788795"/>
            </a:xfrm>
          </p:grpSpPr>
          <p:sp>
            <p:nvSpPr>
              <p:cNvPr id="301" name="object 301"/>
              <p:cNvSpPr/>
              <p:nvPr/>
            </p:nvSpPr>
            <p:spPr>
              <a:xfrm>
                <a:off x="4402315" y="1904301"/>
                <a:ext cx="687070" cy="1678939"/>
              </a:xfrm>
              <a:custGeom>
                <a:avLst/>
                <a:gdLst/>
                <a:ahLst/>
                <a:cxnLst/>
                <a:rect l="l" t="t" r="r" b="b"/>
                <a:pathLst>
                  <a:path w="687070" h="1678939">
                    <a:moveTo>
                      <a:pt x="10248" y="1668386"/>
                    </a:moveTo>
                    <a:lnTo>
                      <a:pt x="0" y="1668386"/>
                    </a:lnTo>
                    <a:lnTo>
                      <a:pt x="0" y="1678622"/>
                    </a:lnTo>
                    <a:lnTo>
                      <a:pt x="10248" y="1678622"/>
                    </a:lnTo>
                    <a:lnTo>
                      <a:pt x="10248" y="1668386"/>
                    </a:lnTo>
                    <a:close/>
                  </a:path>
                  <a:path w="687070" h="1678939">
                    <a:moveTo>
                      <a:pt x="71767" y="1668386"/>
                    </a:moveTo>
                    <a:lnTo>
                      <a:pt x="61518" y="1668386"/>
                    </a:lnTo>
                    <a:lnTo>
                      <a:pt x="61518" y="1678622"/>
                    </a:lnTo>
                    <a:lnTo>
                      <a:pt x="71767" y="1678622"/>
                    </a:lnTo>
                    <a:lnTo>
                      <a:pt x="71767" y="1668386"/>
                    </a:lnTo>
                    <a:close/>
                  </a:path>
                  <a:path w="687070" h="1678939">
                    <a:moveTo>
                      <a:pt x="133286" y="1668386"/>
                    </a:moveTo>
                    <a:lnTo>
                      <a:pt x="123024" y="1668386"/>
                    </a:lnTo>
                    <a:lnTo>
                      <a:pt x="123024" y="1678622"/>
                    </a:lnTo>
                    <a:lnTo>
                      <a:pt x="133286" y="1678622"/>
                    </a:lnTo>
                    <a:lnTo>
                      <a:pt x="133286" y="1668386"/>
                    </a:lnTo>
                    <a:close/>
                  </a:path>
                  <a:path w="687070" h="1678939">
                    <a:moveTo>
                      <a:pt x="194792" y="1668386"/>
                    </a:moveTo>
                    <a:lnTo>
                      <a:pt x="184543" y="1668386"/>
                    </a:lnTo>
                    <a:lnTo>
                      <a:pt x="184543" y="1678622"/>
                    </a:lnTo>
                    <a:lnTo>
                      <a:pt x="194792" y="1678622"/>
                    </a:lnTo>
                    <a:lnTo>
                      <a:pt x="194792" y="1668386"/>
                    </a:lnTo>
                    <a:close/>
                  </a:path>
                  <a:path w="687070" h="1678939">
                    <a:moveTo>
                      <a:pt x="256311" y="1668386"/>
                    </a:moveTo>
                    <a:lnTo>
                      <a:pt x="246049" y="1668386"/>
                    </a:lnTo>
                    <a:lnTo>
                      <a:pt x="246049" y="1678622"/>
                    </a:lnTo>
                    <a:lnTo>
                      <a:pt x="256311" y="1678622"/>
                    </a:lnTo>
                    <a:lnTo>
                      <a:pt x="256311" y="1668386"/>
                    </a:lnTo>
                    <a:close/>
                  </a:path>
                  <a:path w="687070" h="1678939">
                    <a:moveTo>
                      <a:pt x="317817" y="1668386"/>
                    </a:moveTo>
                    <a:lnTo>
                      <a:pt x="307568" y="1668386"/>
                    </a:lnTo>
                    <a:lnTo>
                      <a:pt x="307568" y="1678622"/>
                    </a:lnTo>
                    <a:lnTo>
                      <a:pt x="317817" y="1678622"/>
                    </a:lnTo>
                    <a:lnTo>
                      <a:pt x="317817" y="1668386"/>
                    </a:lnTo>
                    <a:close/>
                  </a:path>
                  <a:path w="687070" h="1678939">
                    <a:moveTo>
                      <a:pt x="379336" y="1668386"/>
                    </a:moveTo>
                    <a:lnTo>
                      <a:pt x="369087" y="1668386"/>
                    </a:lnTo>
                    <a:lnTo>
                      <a:pt x="369087" y="1678622"/>
                    </a:lnTo>
                    <a:lnTo>
                      <a:pt x="379336" y="1678622"/>
                    </a:lnTo>
                    <a:lnTo>
                      <a:pt x="379336" y="1668386"/>
                    </a:lnTo>
                    <a:close/>
                  </a:path>
                  <a:path w="687070" h="1678939">
                    <a:moveTo>
                      <a:pt x="440842" y="1668386"/>
                    </a:moveTo>
                    <a:lnTo>
                      <a:pt x="430593" y="1668386"/>
                    </a:lnTo>
                    <a:lnTo>
                      <a:pt x="430593" y="1678622"/>
                    </a:lnTo>
                    <a:lnTo>
                      <a:pt x="440842" y="1678622"/>
                    </a:lnTo>
                    <a:lnTo>
                      <a:pt x="440842" y="1668386"/>
                    </a:lnTo>
                    <a:close/>
                  </a:path>
                  <a:path w="687070" h="1678939">
                    <a:moveTo>
                      <a:pt x="502361" y="1668386"/>
                    </a:moveTo>
                    <a:lnTo>
                      <a:pt x="492112" y="1668386"/>
                    </a:lnTo>
                    <a:lnTo>
                      <a:pt x="492112" y="1678622"/>
                    </a:lnTo>
                    <a:lnTo>
                      <a:pt x="502361" y="1678622"/>
                    </a:lnTo>
                    <a:lnTo>
                      <a:pt x="502361" y="1668386"/>
                    </a:lnTo>
                    <a:close/>
                  </a:path>
                  <a:path w="687070" h="1678939">
                    <a:moveTo>
                      <a:pt x="563867" y="1668386"/>
                    </a:moveTo>
                    <a:lnTo>
                      <a:pt x="553618" y="1668386"/>
                    </a:lnTo>
                    <a:lnTo>
                      <a:pt x="553618" y="1678622"/>
                    </a:lnTo>
                    <a:lnTo>
                      <a:pt x="563867" y="1678622"/>
                    </a:lnTo>
                    <a:lnTo>
                      <a:pt x="563867" y="1668386"/>
                    </a:lnTo>
                    <a:close/>
                  </a:path>
                  <a:path w="687070" h="1678939">
                    <a:moveTo>
                      <a:pt x="625386" y="1668386"/>
                    </a:moveTo>
                    <a:lnTo>
                      <a:pt x="615137" y="1668386"/>
                    </a:lnTo>
                    <a:lnTo>
                      <a:pt x="615137" y="1678622"/>
                    </a:lnTo>
                    <a:lnTo>
                      <a:pt x="625386" y="1678622"/>
                    </a:lnTo>
                    <a:lnTo>
                      <a:pt x="625386" y="1668386"/>
                    </a:lnTo>
                    <a:close/>
                  </a:path>
                  <a:path w="687070" h="1678939">
                    <a:moveTo>
                      <a:pt x="686904" y="1658150"/>
                    </a:moveTo>
                    <a:lnTo>
                      <a:pt x="676643" y="1658150"/>
                    </a:lnTo>
                    <a:lnTo>
                      <a:pt x="676643" y="1668386"/>
                    </a:lnTo>
                    <a:lnTo>
                      <a:pt x="676643" y="1678622"/>
                    </a:lnTo>
                    <a:lnTo>
                      <a:pt x="686904" y="1678622"/>
                    </a:lnTo>
                    <a:lnTo>
                      <a:pt x="686904" y="1668386"/>
                    </a:lnTo>
                    <a:lnTo>
                      <a:pt x="686904" y="1658150"/>
                    </a:lnTo>
                    <a:close/>
                  </a:path>
                  <a:path w="687070" h="1678939">
                    <a:moveTo>
                      <a:pt x="686904" y="1243609"/>
                    </a:moveTo>
                    <a:lnTo>
                      <a:pt x="685927" y="1243609"/>
                    </a:lnTo>
                    <a:lnTo>
                      <a:pt x="685927" y="1264081"/>
                    </a:lnTo>
                    <a:lnTo>
                      <a:pt x="686904" y="1264081"/>
                    </a:lnTo>
                    <a:lnTo>
                      <a:pt x="686904" y="1243609"/>
                    </a:lnTo>
                    <a:close/>
                  </a:path>
                  <a:path w="687070" h="1678939">
                    <a:moveTo>
                      <a:pt x="686904" y="829068"/>
                    </a:moveTo>
                    <a:lnTo>
                      <a:pt x="685927" y="829068"/>
                    </a:lnTo>
                    <a:lnTo>
                      <a:pt x="685927" y="849541"/>
                    </a:lnTo>
                    <a:lnTo>
                      <a:pt x="686904" y="849541"/>
                    </a:lnTo>
                    <a:lnTo>
                      <a:pt x="686904" y="829068"/>
                    </a:lnTo>
                    <a:close/>
                  </a:path>
                  <a:path w="687070" h="1678939">
                    <a:moveTo>
                      <a:pt x="686904" y="414528"/>
                    </a:moveTo>
                    <a:lnTo>
                      <a:pt x="685927" y="414528"/>
                    </a:lnTo>
                    <a:lnTo>
                      <a:pt x="685927" y="435013"/>
                    </a:lnTo>
                    <a:lnTo>
                      <a:pt x="686904" y="435013"/>
                    </a:lnTo>
                    <a:lnTo>
                      <a:pt x="686904" y="414528"/>
                    </a:lnTo>
                    <a:close/>
                  </a:path>
                  <a:path w="687070" h="1678939">
                    <a:moveTo>
                      <a:pt x="686904" y="0"/>
                    </a:moveTo>
                    <a:lnTo>
                      <a:pt x="685927" y="0"/>
                    </a:lnTo>
                    <a:lnTo>
                      <a:pt x="685927" y="20472"/>
                    </a:lnTo>
                    <a:lnTo>
                      <a:pt x="686904" y="20472"/>
                    </a:lnTo>
                    <a:lnTo>
                      <a:pt x="686904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2" name="object 302"/>
              <p:cNvSpPr/>
              <p:nvPr/>
            </p:nvSpPr>
            <p:spPr>
              <a:xfrm>
                <a:off x="4397699" y="1794141"/>
                <a:ext cx="690880" cy="1778635"/>
              </a:xfrm>
              <a:custGeom>
                <a:avLst/>
                <a:gdLst/>
                <a:ahLst/>
                <a:cxnLst/>
                <a:rect l="l" t="t" r="r" b="b"/>
                <a:pathLst>
                  <a:path w="690879" h="1778635">
                    <a:moveTo>
                      <a:pt x="690547" y="1778539"/>
                    </a:moveTo>
                    <a:lnTo>
                      <a:pt x="0" y="1778539"/>
                    </a:lnTo>
                    <a:lnTo>
                      <a:pt x="0" y="0"/>
                    </a:lnTo>
                    <a:lnTo>
                      <a:pt x="690547" y="0"/>
                    </a:lnTo>
                    <a:lnTo>
                      <a:pt x="690547" y="1778539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303" name="object 303"/>
            <p:cNvSpPr/>
            <p:nvPr/>
          </p:nvSpPr>
          <p:spPr>
            <a:xfrm>
              <a:off x="4849485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4" name="object 304"/>
            <p:cNvSpPr/>
            <p:nvPr/>
          </p:nvSpPr>
          <p:spPr>
            <a:xfrm>
              <a:off x="4903761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305" name="object 305"/>
            <p:cNvGrpSpPr/>
            <p:nvPr/>
          </p:nvGrpSpPr>
          <p:grpSpPr>
            <a:xfrm>
              <a:off x="4958037" y="1969396"/>
              <a:ext cx="660587" cy="1192306"/>
              <a:chOff x="5263508" y="2231982"/>
              <a:chExt cx="748665" cy="1351280"/>
            </a:xfrm>
          </p:grpSpPr>
          <p:sp>
            <p:nvSpPr>
              <p:cNvPr id="306" name="object 306"/>
              <p:cNvSpPr/>
              <p:nvPr/>
            </p:nvSpPr>
            <p:spPr>
              <a:xfrm>
                <a:off x="5263502" y="2318829"/>
                <a:ext cx="748665" cy="1264285"/>
              </a:xfrm>
              <a:custGeom>
                <a:avLst/>
                <a:gdLst/>
                <a:ahLst/>
                <a:cxnLst/>
                <a:rect l="l" t="t" r="r" b="b"/>
                <a:pathLst>
                  <a:path w="748664" h="1264285">
                    <a:moveTo>
                      <a:pt x="10248" y="1243622"/>
                    </a:moveTo>
                    <a:lnTo>
                      <a:pt x="0" y="1243622"/>
                    </a:lnTo>
                    <a:lnTo>
                      <a:pt x="0" y="1264094"/>
                    </a:lnTo>
                    <a:lnTo>
                      <a:pt x="10248" y="1264094"/>
                    </a:lnTo>
                    <a:lnTo>
                      <a:pt x="10248" y="1243622"/>
                    </a:lnTo>
                    <a:close/>
                  </a:path>
                  <a:path w="748664" h="1264285">
                    <a:moveTo>
                      <a:pt x="10248" y="829081"/>
                    </a:moveTo>
                    <a:lnTo>
                      <a:pt x="0" y="829081"/>
                    </a:lnTo>
                    <a:lnTo>
                      <a:pt x="0" y="849553"/>
                    </a:lnTo>
                    <a:lnTo>
                      <a:pt x="10248" y="849553"/>
                    </a:lnTo>
                    <a:lnTo>
                      <a:pt x="10248" y="829081"/>
                    </a:lnTo>
                    <a:close/>
                  </a:path>
                  <a:path w="748664" h="1264285">
                    <a:moveTo>
                      <a:pt x="10248" y="414540"/>
                    </a:moveTo>
                    <a:lnTo>
                      <a:pt x="0" y="414540"/>
                    </a:lnTo>
                    <a:lnTo>
                      <a:pt x="0" y="435013"/>
                    </a:lnTo>
                    <a:lnTo>
                      <a:pt x="10248" y="435013"/>
                    </a:lnTo>
                    <a:lnTo>
                      <a:pt x="10248" y="414540"/>
                    </a:lnTo>
                    <a:close/>
                  </a:path>
                  <a:path w="748664" h="126428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20485"/>
                    </a:lnTo>
                    <a:lnTo>
                      <a:pt x="10248" y="20485"/>
                    </a:lnTo>
                    <a:lnTo>
                      <a:pt x="10248" y="0"/>
                    </a:lnTo>
                    <a:close/>
                  </a:path>
                  <a:path w="748664" h="1264285">
                    <a:moveTo>
                      <a:pt x="71767" y="1253858"/>
                    </a:moveTo>
                    <a:lnTo>
                      <a:pt x="61518" y="1253858"/>
                    </a:lnTo>
                    <a:lnTo>
                      <a:pt x="61518" y="1264094"/>
                    </a:lnTo>
                    <a:lnTo>
                      <a:pt x="71767" y="1264094"/>
                    </a:lnTo>
                    <a:lnTo>
                      <a:pt x="71767" y="1253858"/>
                    </a:lnTo>
                    <a:close/>
                  </a:path>
                  <a:path w="748664" h="1264285">
                    <a:moveTo>
                      <a:pt x="133273" y="1253858"/>
                    </a:moveTo>
                    <a:lnTo>
                      <a:pt x="123024" y="1253858"/>
                    </a:lnTo>
                    <a:lnTo>
                      <a:pt x="123024" y="1264094"/>
                    </a:lnTo>
                    <a:lnTo>
                      <a:pt x="133273" y="1264094"/>
                    </a:lnTo>
                    <a:lnTo>
                      <a:pt x="133273" y="1253858"/>
                    </a:lnTo>
                    <a:close/>
                  </a:path>
                  <a:path w="748664" h="1264285">
                    <a:moveTo>
                      <a:pt x="194792" y="1253858"/>
                    </a:moveTo>
                    <a:lnTo>
                      <a:pt x="184543" y="1253858"/>
                    </a:lnTo>
                    <a:lnTo>
                      <a:pt x="184543" y="1264094"/>
                    </a:lnTo>
                    <a:lnTo>
                      <a:pt x="194792" y="1264094"/>
                    </a:lnTo>
                    <a:lnTo>
                      <a:pt x="194792" y="1253858"/>
                    </a:lnTo>
                    <a:close/>
                  </a:path>
                  <a:path w="748664" h="1264285">
                    <a:moveTo>
                      <a:pt x="256311" y="1253858"/>
                    </a:moveTo>
                    <a:lnTo>
                      <a:pt x="246049" y="1253858"/>
                    </a:lnTo>
                    <a:lnTo>
                      <a:pt x="246049" y="1264094"/>
                    </a:lnTo>
                    <a:lnTo>
                      <a:pt x="256311" y="1264094"/>
                    </a:lnTo>
                    <a:lnTo>
                      <a:pt x="256311" y="1253858"/>
                    </a:lnTo>
                    <a:close/>
                  </a:path>
                  <a:path w="748664" h="1264285">
                    <a:moveTo>
                      <a:pt x="317817" y="1253858"/>
                    </a:moveTo>
                    <a:lnTo>
                      <a:pt x="307568" y="1253858"/>
                    </a:lnTo>
                    <a:lnTo>
                      <a:pt x="307568" y="1264094"/>
                    </a:lnTo>
                    <a:lnTo>
                      <a:pt x="317817" y="1264094"/>
                    </a:lnTo>
                    <a:lnTo>
                      <a:pt x="317817" y="1253858"/>
                    </a:lnTo>
                    <a:close/>
                  </a:path>
                  <a:path w="748664" h="1264285">
                    <a:moveTo>
                      <a:pt x="379336" y="1253858"/>
                    </a:moveTo>
                    <a:lnTo>
                      <a:pt x="369074" y="1253858"/>
                    </a:lnTo>
                    <a:lnTo>
                      <a:pt x="369074" y="1264094"/>
                    </a:lnTo>
                    <a:lnTo>
                      <a:pt x="379336" y="1264094"/>
                    </a:lnTo>
                    <a:lnTo>
                      <a:pt x="379336" y="1253858"/>
                    </a:lnTo>
                    <a:close/>
                  </a:path>
                  <a:path w="748664" h="1264285">
                    <a:moveTo>
                      <a:pt x="440842" y="1253858"/>
                    </a:moveTo>
                    <a:lnTo>
                      <a:pt x="430593" y="1253858"/>
                    </a:lnTo>
                    <a:lnTo>
                      <a:pt x="430593" y="1264094"/>
                    </a:lnTo>
                    <a:lnTo>
                      <a:pt x="440842" y="1264094"/>
                    </a:lnTo>
                    <a:lnTo>
                      <a:pt x="440842" y="1253858"/>
                    </a:lnTo>
                    <a:close/>
                  </a:path>
                  <a:path w="748664" h="1264285">
                    <a:moveTo>
                      <a:pt x="502361" y="1253858"/>
                    </a:moveTo>
                    <a:lnTo>
                      <a:pt x="492099" y="1253858"/>
                    </a:lnTo>
                    <a:lnTo>
                      <a:pt x="492099" y="1264094"/>
                    </a:lnTo>
                    <a:lnTo>
                      <a:pt x="502361" y="1264094"/>
                    </a:lnTo>
                    <a:lnTo>
                      <a:pt x="502361" y="1253858"/>
                    </a:lnTo>
                    <a:close/>
                  </a:path>
                  <a:path w="748664" h="1264285">
                    <a:moveTo>
                      <a:pt x="563867" y="1253858"/>
                    </a:moveTo>
                    <a:lnTo>
                      <a:pt x="553618" y="1253858"/>
                    </a:lnTo>
                    <a:lnTo>
                      <a:pt x="553618" y="1264094"/>
                    </a:lnTo>
                    <a:lnTo>
                      <a:pt x="563867" y="1264094"/>
                    </a:lnTo>
                    <a:lnTo>
                      <a:pt x="563867" y="1253858"/>
                    </a:lnTo>
                    <a:close/>
                  </a:path>
                  <a:path w="748664" h="1264285">
                    <a:moveTo>
                      <a:pt x="625386" y="1253858"/>
                    </a:moveTo>
                    <a:lnTo>
                      <a:pt x="615137" y="1253858"/>
                    </a:lnTo>
                    <a:lnTo>
                      <a:pt x="615137" y="1264094"/>
                    </a:lnTo>
                    <a:lnTo>
                      <a:pt x="625386" y="1264094"/>
                    </a:lnTo>
                    <a:lnTo>
                      <a:pt x="625386" y="1253858"/>
                    </a:lnTo>
                    <a:close/>
                  </a:path>
                  <a:path w="748664" h="1264285">
                    <a:moveTo>
                      <a:pt x="686892" y="1253858"/>
                    </a:moveTo>
                    <a:lnTo>
                      <a:pt x="676643" y="1253858"/>
                    </a:lnTo>
                    <a:lnTo>
                      <a:pt x="676643" y="1264094"/>
                    </a:lnTo>
                    <a:lnTo>
                      <a:pt x="686892" y="1264094"/>
                    </a:lnTo>
                    <a:lnTo>
                      <a:pt x="686892" y="1253858"/>
                    </a:lnTo>
                    <a:close/>
                  </a:path>
                  <a:path w="748664" h="1264285">
                    <a:moveTo>
                      <a:pt x="748411" y="1243622"/>
                    </a:moveTo>
                    <a:lnTo>
                      <a:pt x="738162" y="1243622"/>
                    </a:lnTo>
                    <a:lnTo>
                      <a:pt x="738162" y="1264094"/>
                    </a:lnTo>
                    <a:lnTo>
                      <a:pt x="748411" y="1264094"/>
                    </a:lnTo>
                    <a:lnTo>
                      <a:pt x="748411" y="1243622"/>
                    </a:lnTo>
                    <a:close/>
                  </a:path>
                  <a:path w="748664" h="1264285">
                    <a:moveTo>
                      <a:pt x="748411" y="829081"/>
                    </a:moveTo>
                    <a:lnTo>
                      <a:pt x="738162" y="829081"/>
                    </a:lnTo>
                    <a:lnTo>
                      <a:pt x="738162" y="849553"/>
                    </a:lnTo>
                    <a:lnTo>
                      <a:pt x="748411" y="849553"/>
                    </a:lnTo>
                    <a:lnTo>
                      <a:pt x="748411" y="829081"/>
                    </a:lnTo>
                    <a:close/>
                  </a:path>
                  <a:path w="748664" h="1264285">
                    <a:moveTo>
                      <a:pt x="748411" y="414540"/>
                    </a:moveTo>
                    <a:lnTo>
                      <a:pt x="738162" y="414540"/>
                    </a:lnTo>
                    <a:lnTo>
                      <a:pt x="738162" y="435013"/>
                    </a:lnTo>
                    <a:lnTo>
                      <a:pt x="748411" y="435013"/>
                    </a:lnTo>
                    <a:lnTo>
                      <a:pt x="748411" y="414540"/>
                    </a:lnTo>
                    <a:close/>
                  </a:path>
                  <a:path w="748664" h="1264285">
                    <a:moveTo>
                      <a:pt x="748411" y="0"/>
                    </a:moveTo>
                    <a:lnTo>
                      <a:pt x="738162" y="0"/>
                    </a:lnTo>
                    <a:lnTo>
                      <a:pt x="738162" y="20485"/>
                    </a:lnTo>
                    <a:lnTo>
                      <a:pt x="748411" y="20485"/>
                    </a:lnTo>
                    <a:lnTo>
                      <a:pt x="748411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07" name="object 307"/>
              <p:cNvSpPr/>
              <p:nvPr/>
            </p:nvSpPr>
            <p:spPr>
              <a:xfrm>
                <a:off x="5308837" y="2231982"/>
                <a:ext cx="690880" cy="1341120"/>
              </a:xfrm>
              <a:custGeom>
                <a:avLst/>
                <a:gdLst/>
                <a:ahLst/>
                <a:cxnLst/>
                <a:rect l="l" t="t" r="r" b="b"/>
                <a:pathLst>
                  <a:path w="690879" h="1341120">
                    <a:moveTo>
                      <a:pt x="690547" y="1340697"/>
                    </a:moveTo>
                    <a:lnTo>
                      <a:pt x="0" y="1340697"/>
                    </a:lnTo>
                    <a:lnTo>
                      <a:pt x="0" y="0"/>
                    </a:lnTo>
                    <a:lnTo>
                      <a:pt x="690547" y="0"/>
                    </a:lnTo>
                    <a:lnTo>
                      <a:pt x="690547" y="1340697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308" name="object 308"/>
            <p:cNvSpPr/>
            <p:nvPr/>
          </p:nvSpPr>
          <p:spPr>
            <a:xfrm>
              <a:off x="5663630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9" name="object 309"/>
            <p:cNvSpPr/>
            <p:nvPr/>
          </p:nvSpPr>
          <p:spPr>
            <a:xfrm>
              <a:off x="5717906" y="3143332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4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310" name="object 310"/>
            <p:cNvGrpSpPr/>
            <p:nvPr/>
          </p:nvGrpSpPr>
          <p:grpSpPr>
            <a:xfrm>
              <a:off x="5772183" y="2190884"/>
              <a:ext cx="660587" cy="970990"/>
              <a:chOff x="6186207" y="2483002"/>
              <a:chExt cx="748665" cy="1100455"/>
            </a:xfrm>
          </p:grpSpPr>
          <p:sp>
            <p:nvSpPr>
              <p:cNvPr id="311" name="object 311"/>
              <p:cNvSpPr/>
              <p:nvPr/>
            </p:nvSpPr>
            <p:spPr>
              <a:xfrm>
                <a:off x="6186195" y="2733369"/>
                <a:ext cx="748665" cy="849630"/>
              </a:xfrm>
              <a:custGeom>
                <a:avLst/>
                <a:gdLst/>
                <a:ahLst/>
                <a:cxnLst/>
                <a:rect l="l" t="t" r="r" b="b"/>
                <a:pathLst>
                  <a:path w="748665" h="849629">
                    <a:moveTo>
                      <a:pt x="10261" y="829081"/>
                    </a:moveTo>
                    <a:lnTo>
                      <a:pt x="0" y="829081"/>
                    </a:lnTo>
                    <a:lnTo>
                      <a:pt x="0" y="849553"/>
                    </a:lnTo>
                    <a:lnTo>
                      <a:pt x="10261" y="849553"/>
                    </a:lnTo>
                    <a:lnTo>
                      <a:pt x="10261" y="829081"/>
                    </a:lnTo>
                    <a:close/>
                  </a:path>
                  <a:path w="748665" h="849629">
                    <a:moveTo>
                      <a:pt x="10261" y="414540"/>
                    </a:moveTo>
                    <a:lnTo>
                      <a:pt x="0" y="414540"/>
                    </a:lnTo>
                    <a:lnTo>
                      <a:pt x="0" y="435013"/>
                    </a:lnTo>
                    <a:lnTo>
                      <a:pt x="10261" y="435013"/>
                    </a:lnTo>
                    <a:lnTo>
                      <a:pt x="10261" y="414540"/>
                    </a:lnTo>
                    <a:close/>
                  </a:path>
                  <a:path w="748665" h="849629">
                    <a:moveTo>
                      <a:pt x="10261" y="0"/>
                    </a:moveTo>
                    <a:lnTo>
                      <a:pt x="0" y="0"/>
                    </a:lnTo>
                    <a:lnTo>
                      <a:pt x="0" y="20472"/>
                    </a:lnTo>
                    <a:lnTo>
                      <a:pt x="10261" y="20472"/>
                    </a:lnTo>
                    <a:lnTo>
                      <a:pt x="10261" y="0"/>
                    </a:lnTo>
                    <a:close/>
                  </a:path>
                  <a:path w="748665" h="849629">
                    <a:moveTo>
                      <a:pt x="71767" y="839317"/>
                    </a:moveTo>
                    <a:lnTo>
                      <a:pt x="61518" y="839317"/>
                    </a:lnTo>
                    <a:lnTo>
                      <a:pt x="61518" y="849553"/>
                    </a:lnTo>
                    <a:lnTo>
                      <a:pt x="71767" y="849553"/>
                    </a:lnTo>
                    <a:lnTo>
                      <a:pt x="71767" y="839317"/>
                    </a:lnTo>
                    <a:close/>
                  </a:path>
                  <a:path w="748665" h="849629">
                    <a:moveTo>
                      <a:pt x="133286" y="839317"/>
                    </a:moveTo>
                    <a:lnTo>
                      <a:pt x="123037" y="839317"/>
                    </a:lnTo>
                    <a:lnTo>
                      <a:pt x="123037" y="849553"/>
                    </a:lnTo>
                    <a:lnTo>
                      <a:pt x="133286" y="849553"/>
                    </a:lnTo>
                    <a:lnTo>
                      <a:pt x="133286" y="839317"/>
                    </a:lnTo>
                    <a:close/>
                  </a:path>
                  <a:path w="748665" h="849629">
                    <a:moveTo>
                      <a:pt x="194792" y="839317"/>
                    </a:moveTo>
                    <a:lnTo>
                      <a:pt x="184543" y="839317"/>
                    </a:lnTo>
                    <a:lnTo>
                      <a:pt x="184543" y="849553"/>
                    </a:lnTo>
                    <a:lnTo>
                      <a:pt x="194792" y="849553"/>
                    </a:lnTo>
                    <a:lnTo>
                      <a:pt x="194792" y="839317"/>
                    </a:lnTo>
                    <a:close/>
                  </a:path>
                  <a:path w="748665" h="849629">
                    <a:moveTo>
                      <a:pt x="256311" y="839317"/>
                    </a:moveTo>
                    <a:lnTo>
                      <a:pt x="246062" y="839317"/>
                    </a:lnTo>
                    <a:lnTo>
                      <a:pt x="246062" y="849553"/>
                    </a:lnTo>
                    <a:lnTo>
                      <a:pt x="256311" y="849553"/>
                    </a:lnTo>
                    <a:lnTo>
                      <a:pt x="256311" y="839317"/>
                    </a:lnTo>
                    <a:close/>
                  </a:path>
                  <a:path w="748665" h="849629">
                    <a:moveTo>
                      <a:pt x="317830" y="839317"/>
                    </a:moveTo>
                    <a:lnTo>
                      <a:pt x="307568" y="839317"/>
                    </a:lnTo>
                    <a:lnTo>
                      <a:pt x="307568" y="849553"/>
                    </a:lnTo>
                    <a:lnTo>
                      <a:pt x="317830" y="849553"/>
                    </a:lnTo>
                    <a:lnTo>
                      <a:pt x="317830" y="839317"/>
                    </a:lnTo>
                    <a:close/>
                  </a:path>
                  <a:path w="748665" h="849629">
                    <a:moveTo>
                      <a:pt x="379336" y="839317"/>
                    </a:moveTo>
                    <a:lnTo>
                      <a:pt x="369087" y="839317"/>
                    </a:lnTo>
                    <a:lnTo>
                      <a:pt x="369087" y="849553"/>
                    </a:lnTo>
                    <a:lnTo>
                      <a:pt x="379336" y="849553"/>
                    </a:lnTo>
                    <a:lnTo>
                      <a:pt x="379336" y="839317"/>
                    </a:lnTo>
                    <a:close/>
                  </a:path>
                  <a:path w="748665" h="849629">
                    <a:moveTo>
                      <a:pt x="440855" y="839317"/>
                    </a:moveTo>
                    <a:lnTo>
                      <a:pt x="430593" y="839317"/>
                    </a:lnTo>
                    <a:lnTo>
                      <a:pt x="430593" y="849553"/>
                    </a:lnTo>
                    <a:lnTo>
                      <a:pt x="440855" y="849553"/>
                    </a:lnTo>
                    <a:lnTo>
                      <a:pt x="440855" y="839317"/>
                    </a:lnTo>
                    <a:close/>
                  </a:path>
                  <a:path w="748665" h="849629">
                    <a:moveTo>
                      <a:pt x="502361" y="839317"/>
                    </a:moveTo>
                    <a:lnTo>
                      <a:pt x="492112" y="839317"/>
                    </a:lnTo>
                    <a:lnTo>
                      <a:pt x="492112" y="849553"/>
                    </a:lnTo>
                    <a:lnTo>
                      <a:pt x="502361" y="849553"/>
                    </a:lnTo>
                    <a:lnTo>
                      <a:pt x="502361" y="839317"/>
                    </a:lnTo>
                    <a:close/>
                  </a:path>
                  <a:path w="748665" h="849629">
                    <a:moveTo>
                      <a:pt x="563880" y="839317"/>
                    </a:moveTo>
                    <a:lnTo>
                      <a:pt x="553618" y="839317"/>
                    </a:lnTo>
                    <a:lnTo>
                      <a:pt x="553618" y="849553"/>
                    </a:lnTo>
                    <a:lnTo>
                      <a:pt x="563880" y="849553"/>
                    </a:lnTo>
                    <a:lnTo>
                      <a:pt x="563880" y="839317"/>
                    </a:lnTo>
                    <a:close/>
                  </a:path>
                  <a:path w="748665" h="849629">
                    <a:moveTo>
                      <a:pt x="625386" y="839317"/>
                    </a:moveTo>
                    <a:lnTo>
                      <a:pt x="615137" y="839317"/>
                    </a:lnTo>
                    <a:lnTo>
                      <a:pt x="615137" y="849553"/>
                    </a:lnTo>
                    <a:lnTo>
                      <a:pt x="625386" y="849553"/>
                    </a:lnTo>
                    <a:lnTo>
                      <a:pt x="625386" y="839317"/>
                    </a:lnTo>
                    <a:close/>
                  </a:path>
                  <a:path w="748665" h="849629">
                    <a:moveTo>
                      <a:pt x="686904" y="839317"/>
                    </a:moveTo>
                    <a:lnTo>
                      <a:pt x="676656" y="839317"/>
                    </a:lnTo>
                    <a:lnTo>
                      <a:pt x="676656" y="849553"/>
                    </a:lnTo>
                    <a:lnTo>
                      <a:pt x="686904" y="849553"/>
                    </a:lnTo>
                    <a:lnTo>
                      <a:pt x="686904" y="839317"/>
                    </a:lnTo>
                    <a:close/>
                  </a:path>
                  <a:path w="748665" h="849629">
                    <a:moveTo>
                      <a:pt x="748411" y="829081"/>
                    </a:moveTo>
                    <a:lnTo>
                      <a:pt x="738162" y="829081"/>
                    </a:lnTo>
                    <a:lnTo>
                      <a:pt x="738162" y="849553"/>
                    </a:lnTo>
                    <a:lnTo>
                      <a:pt x="748411" y="849553"/>
                    </a:lnTo>
                    <a:lnTo>
                      <a:pt x="748411" y="829081"/>
                    </a:lnTo>
                    <a:close/>
                  </a:path>
                  <a:path w="748665" h="849629">
                    <a:moveTo>
                      <a:pt x="748411" y="414540"/>
                    </a:moveTo>
                    <a:lnTo>
                      <a:pt x="738162" y="414540"/>
                    </a:lnTo>
                    <a:lnTo>
                      <a:pt x="738162" y="435013"/>
                    </a:lnTo>
                    <a:lnTo>
                      <a:pt x="748411" y="435013"/>
                    </a:lnTo>
                    <a:lnTo>
                      <a:pt x="748411" y="414540"/>
                    </a:lnTo>
                    <a:close/>
                  </a:path>
                  <a:path w="748665" h="849629">
                    <a:moveTo>
                      <a:pt x="748411" y="0"/>
                    </a:moveTo>
                    <a:lnTo>
                      <a:pt x="738162" y="0"/>
                    </a:lnTo>
                    <a:lnTo>
                      <a:pt x="738162" y="20472"/>
                    </a:lnTo>
                    <a:lnTo>
                      <a:pt x="748411" y="20472"/>
                    </a:lnTo>
                    <a:lnTo>
                      <a:pt x="748411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12" name="object 312"/>
              <p:cNvSpPr/>
              <p:nvPr/>
            </p:nvSpPr>
            <p:spPr>
              <a:xfrm>
                <a:off x="6219976" y="2483002"/>
                <a:ext cx="690880" cy="1090295"/>
              </a:xfrm>
              <a:custGeom>
                <a:avLst/>
                <a:gdLst/>
                <a:ahLst/>
                <a:cxnLst/>
                <a:rect l="l" t="t" r="r" b="b"/>
                <a:pathLst>
                  <a:path w="690879" h="1090295">
                    <a:moveTo>
                      <a:pt x="690547" y="1089678"/>
                    </a:moveTo>
                    <a:lnTo>
                      <a:pt x="0" y="1089678"/>
                    </a:lnTo>
                    <a:lnTo>
                      <a:pt x="0" y="0"/>
                    </a:lnTo>
                    <a:lnTo>
                      <a:pt x="690547" y="0"/>
                    </a:lnTo>
                    <a:lnTo>
                      <a:pt x="690547" y="1089678"/>
                    </a:lnTo>
                    <a:close/>
                  </a:path>
                </a:pathLst>
              </a:custGeom>
              <a:solidFill>
                <a:srgbClr val="118CFF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319" name="object 319"/>
            <p:cNvSpPr txBox="1"/>
            <p:nvPr/>
          </p:nvSpPr>
          <p:spPr>
            <a:xfrm>
              <a:off x="3712326" y="3067453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0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20" name="object 320"/>
            <p:cNvSpPr/>
            <p:nvPr/>
          </p:nvSpPr>
          <p:spPr>
            <a:xfrm>
              <a:off x="3872509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1" name="object 321"/>
            <p:cNvSpPr/>
            <p:nvPr/>
          </p:nvSpPr>
          <p:spPr>
            <a:xfrm>
              <a:off x="3926786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2" name="object 322"/>
            <p:cNvSpPr/>
            <p:nvPr/>
          </p:nvSpPr>
          <p:spPr>
            <a:xfrm>
              <a:off x="3981062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3" name="object 323"/>
            <p:cNvSpPr/>
            <p:nvPr/>
          </p:nvSpPr>
          <p:spPr>
            <a:xfrm>
              <a:off x="4035338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4" name="object 324"/>
            <p:cNvSpPr/>
            <p:nvPr/>
          </p:nvSpPr>
          <p:spPr>
            <a:xfrm>
              <a:off x="4089615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5" name="object 325"/>
            <p:cNvSpPr/>
            <p:nvPr/>
          </p:nvSpPr>
          <p:spPr>
            <a:xfrm>
              <a:off x="4143892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6" name="object 326"/>
            <p:cNvSpPr/>
            <p:nvPr/>
          </p:nvSpPr>
          <p:spPr>
            <a:xfrm>
              <a:off x="4849485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7" name="object 327"/>
            <p:cNvSpPr/>
            <p:nvPr/>
          </p:nvSpPr>
          <p:spPr>
            <a:xfrm>
              <a:off x="4903761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8" name="object 328"/>
            <p:cNvSpPr/>
            <p:nvPr/>
          </p:nvSpPr>
          <p:spPr>
            <a:xfrm>
              <a:off x="5663630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9" name="object 329"/>
            <p:cNvSpPr/>
            <p:nvPr/>
          </p:nvSpPr>
          <p:spPr>
            <a:xfrm>
              <a:off x="5717906" y="277756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6" name="object 336"/>
            <p:cNvSpPr txBox="1"/>
            <p:nvPr/>
          </p:nvSpPr>
          <p:spPr>
            <a:xfrm>
              <a:off x="3712326" y="2701684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2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37" name="object 337"/>
            <p:cNvSpPr/>
            <p:nvPr/>
          </p:nvSpPr>
          <p:spPr>
            <a:xfrm>
              <a:off x="3872509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8" name="object 338"/>
            <p:cNvSpPr/>
            <p:nvPr/>
          </p:nvSpPr>
          <p:spPr>
            <a:xfrm>
              <a:off x="3926786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9" name="object 339"/>
            <p:cNvSpPr/>
            <p:nvPr/>
          </p:nvSpPr>
          <p:spPr>
            <a:xfrm>
              <a:off x="3981062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0" name="object 340"/>
            <p:cNvSpPr/>
            <p:nvPr/>
          </p:nvSpPr>
          <p:spPr>
            <a:xfrm>
              <a:off x="4035338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1" name="object 341"/>
            <p:cNvSpPr/>
            <p:nvPr/>
          </p:nvSpPr>
          <p:spPr>
            <a:xfrm>
              <a:off x="4089615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2" name="object 342"/>
            <p:cNvSpPr/>
            <p:nvPr/>
          </p:nvSpPr>
          <p:spPr>
            <a:xfrm>
              <a:off x="4143892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3" name="object 343"/>
            <p:cNvSpPr/>
            <p:nvPr/>
          </p:nvSpPr>
          <p:spPr>
            <a:xfrm>
              <a:off x="4849485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4" name="object 344"/>
            <p:cNvSpPr/>
            <p:nvPr/>
          </p:nvSpPr>
          <p:spPr>
            <a:xfrm>
              <a:off x="4903761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5" name="object 345"/>
            <p:cNvSpPr/>
            <p:nvPr/>
          </p:nvSpPr>
          <p:spPr>
            <a:xfrm>
              <a:off x="5663630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6" name="object 346"/>
            <p:cNvSpPr/>
            <p:nvPr/>
          </p:nvSpPr>
          <p:spPr>
            <a:xfrm>
              <a:off x="5717906" y="2411794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3" name="object 353"/>
            <p:cNvSpPr txBox="1"/>
            <p:nvPr/>
          </p:nvSpPr>
          <p:spPr>
            <a:xfrm>
              <a:off x="3712326" y="2335914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4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54" name="object 354"/>
            <p:cNvSpPr/>
            <p:nvPr/>
          </p:nvSpPr>
          <p:spPr>
            <a:xfrm>
              <a:off x="3872509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5" name="object 355"/>
            <p:cNvSpPr/>
            <p:nvPr/>
          </p:nvSpPr>
          <p:spPr>
            <a:xfrm>
              <a:off x="3926786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6" name="object 356"/>
            <p:cNvSpPr/>
            <p:nvPr/>
          </p:nvSpPr>
          <p:spPr>
            <a:xfrm>
              <a:off x="3981062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7" name="object 357"/>
            <p:cNvSpPr/>
            <p:nvPr/>
          </p:nvSpPr>
          <p:spPr>
            <a:xfrm>
              <a:off x="4035338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8" name="object 358"/>
            <p:cNvSpPr/>
            <p:nvPr/>
          </p:nvSpPr>
          <p:spPr>
            <a:xfrm>
              <a:off x="4089615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9" name="object 359"/>
            <p:cNvSpPr/>
            <p:nvPr/>
          </p:nvSpPr>
          <p:spPr>
            <a:xfrm>
              <a:off x="4143892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0" name="object 360"/>
            <p:cNvSpPr/>
            <p:nvPr/>
          </p:nvSpPr>
          <p:spPr>
            <a:xfrm>
              <a:off x="4849485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1" name="object 361"/>
            <p:cNvSpPr/>
            <p:nvPr/>
          </p:nvSpPr>
          <p:spPr>
            <a:xfrm>
              <a:off x="4903761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2" name="object 362"/>
            <p:cNvSpPr/>
            <p:nvPr/>
          </p:nvSpPr>
          <p:spPr>
            <a:xfrm>
              <a:off x="5663630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3" name="object 363"/>
            <p:cNvSpPr/>
            <p:nvPr/>
          </p:nvSpPr>
          <p:spPr>
            <a:xfrm>
              <a:off x="5717906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4" name="object 364"/>
            <p:cNvSpPr/>
            <p:nvPr/>
          </p:nvSpPr>
          <p:spPr>
            <a:xfrm>
              <a:off x="5772183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5" name="object 365"/>
            <p:cNvSpPr/>
            <p:nvPr/>
          </p:nvSpPr>
          <p:spPr>
            <a:xfrm>
              <a:off x="5826459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6" name="object 366"/>
            <p:cNvSpPr/>
            <p:nvPr/>
          </p:nvSpPr>
          <p:spPr>
            <a:xfrm>
              <a:off x="5880735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7" name="object 367"/>
            <p:cNvSpPr/>
            <p:nvPr/>
          </p:nvSpPr>
          <p:spPr>
            <a:xfrm>
              <a:off x="5935012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grpSp>
          <p:nvGrpSpPr>
            <p:cNvPr id="368" name="object 368"/>
            <p:cNvGrpSpPr/>
            <p:nvPr/>
          </p:nvGrpSpPr>
          <p:grpSpPr>
            <a:xfrm>
              <a:off x="5989288" y="1963163"/>
              <a:ext cx="226359" cy="173691"/>
              <a:chOff x="6432260" y="2224918"/>
              <a:chExt cx="256540" cy="196850"/>
            </a:xfrm>
          </p:grpSpPr>
          <p:sp>
            <p:nvSpPr>
              <p:cNvPr id="369" name="object 369"/>
              <p:cNvSpPr/>
              <p:nvPr/>
            </p:nvSpPr>
            <p:spPr>
              <a:xfrm>
                <a:off x="6432258" y="2318829"/>
                <a:ext cx="256540" cy="20955"/>
              </a:xfrm>
              <a:custGeom>
                <a:avLst/>
                <a:gdLst/>
                <a:ahLst/>
                <a:cxnLst/>
                <a:rect l="l" t="t" r="r" b="b"/>
                <a:pathLst>
                  <a:path w="256540" h="20955">
                    <a:moveTo>
                      <a:pt x="10248" y="0"/>
                    </a:moveTo>
                    <a:lnTo>
                      <a:pt x="0" y="0"/>
                    </a:lnTo>
                    <a:lnTo>
                      <a:pt x="0" y="20485"/>
                    </a:lnTo>
                    <a:lnTo>
                      <a:pt x="10248" y="20485"/>
                    </a:lnTo>
                    <a:lnTo>
                      <a:pt x="10248" y="0"/>
                    </a:lnTo>
                    <a:close/>
                  </a:path>
                  <a:path w="256540" h="20955">
                    <a:moveTo>
                      <a:pt x="71767" y="0"/>
                    </a:moveTo>
                    <a:lnTo>
                      <a:pt x="61506" y="0"/>
                    </a:lnTo>
                    <a:lnTo>
                      <a:pt x="61506" y="20485"/>
                    </a:lnTo>
                    <a:lnTo>
                      <a:pt x="71767" y="20485"/>
                    </a:lnTo>
                    <a:lnTo>
                      <a:pt x="71767" y="0"/>
                    </a:lnTo>
                    <a:close/>
                  </a:path>
                  <a:path w="256540" h="20955">
                    <a:moveTo>
                      <a:pt x="133273" y="0"/>
                    </a:moveTo>
                    <a:lnTo>
                      <a:pt x="123024" y="0"/>
                    </a:lnTo>
                    <a:lnTo>
                      <a:pt x="123024" y="20485"/>
                    </a:lnTo>
                    <a:lnTo>
                      <a:pt x="133273" y="20485"/>
                    </a:lnTo>
                    <a:lnTo>
                      <a:pt x="133273" y="0"/>
                    </a:lnTo>
                    <a:close/>
                  </a:path>
                  <a:path w="256540" h="20955">
                    <a:moveTo>
                      <a:pt x="194792" y="0"/>
                    </a:moveTo>
                    <a:lnTo>
                      <a:pt x="184531" y="0"/>
                    </a:lnTo>
                    <a:lnTo>
                      <a:pt x="184531" y="20485"/>
                    </a:lnTo>
                    <a:lnTo>
                      <a:pt x="194792" y="20485"/>
                    </a:lnTo>
                    <a:lnTo>
                      <a:pt x="194792" y="0"/>
                    </a:lnTo>
                    <a:close/>
                  </a:path>
                  <a:path w="256540" h="20955">
                    <a:moveTo>
                      <a:pt x="256298" y="0"/>
                    </a:moveTo>
                    <a:lnTo>
                      <a:pt x="246049" y="0"/>
                    </a:lnTo>
                    <a:lnTo>
                      <a:pt x="246049" y="20485"/>
                    </a:lnTo>
                    <a:lnTo>
                      <a:pt x="256298" y="20485"/>
                    </a:lnTo>
                    <a:lnTo>
                      <a:pt x="256298" y="0"/>
                    </a:lnTo>
                    <a:close/>
                  </a:path>
                </a:pathLst>
              </a:custGeom>
              <a:solidFill>
                <a:srgbClr val="C7C6C3"/>
              </a:solid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  <p:sp>
            <p:nvSpPr>
              <p:cNvPr id="370" name="object 370"/>
              <p:cNvSpPr/>
              <p:nvPr/>
            </p:nvSpPr>
            <p:spPr>
              <a:xfrm>
                <a:off x="6450072" y="2224918"/>
                <a:ext cx="230354" cy="196662"/>
              </a:xfrm>
              <a:prstGeom prst="rect">
                <a:avLst/>
              </a:prstGeom>
              <a:blipFill>
                <a:blip r:embed="rId6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1588" dirty="0"/>
              </a:p>
            </p:txBody>
          </p:sp>
        </p:grpSp>
        <p:sp>
          <p:nvSpPr>
            <p:cNvPr id="371" name="object 371"/>
            <p:cNvSpPr/>
            <p:nvPr/>
          </p:nvSpPr>
          <p:spPr>
            <a:xfrm>
              <a:off x="6260670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2" name="object 372"/>
            <p:cNvSpPr/>
            <p:nvPr/>
          </p:nvSpPr>
          <p:spPr>
            <a:xfrm>
              <a:off x="6314947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3" name="object 373"/>
            <p:cNvSpPr/>
            <p:nvPr/>
          </p:nvSpPr>
          <p:spPr>
            <a:xfrm>
              <a:off x="6369224" y="2046025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1" name="object 381"/>
            <p:cNvSpPr txBox="1"/>
            <p:nvPr/>
          </p:nvSpPr>
          <p:spPr>
            <a:xfrm>
              <a:off x="3712326" y="1970145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6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82" name="object 382"/>
            <p:cNvSpPr/>
            <p:nvPr/>
          </p:nvSpPr>
          <p:spPr>
            <a:xfrm>
              <a:off x="3872509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3" name="object 383"/>
            <p:cNvSpPr/>
            <p:nvPr/>
          </p:nvSpPr>
          <p:spPr>
            <a:xfrm>
              <a:off x="3926786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4" name="object 384"/>
            <p:cNvSpPr/>
            <p:nvPr/>
          </p:nvSpPr>
          <p:spPr>
            <a:xfrm>
              <a:off x="398106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5" name="object 385"/>
            <p:cNvSpPr/>
            <p:nvPr/>
          </p:nvSpPr>
          <p:spPr>
            <a:xfrm>
              <a:off x="4035338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6" name="object 386"/>
            <p:cNvSpPr/>
            <p:nvPr/>
          </p:nvSpPr>
          <p:spPr>
            <a:xfrm>
              <a:off x="408961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7" name="object 387"/>
            <p:cNvSpPr/>
            <p:nvPr/>
          </p:nvSpPr>
          <p:spPr>
            <a:xfrm>
              <a:off x="414389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8" name="object 388"/>
            <p:cNvSpPr/>
            <p:nvPr/>
          </p:nvSpPr>
          <p:spPr>
            <a:xfrm>
              <a:off x="484948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9" name="object 389"/>
            <p:cNvSpPr/>
            <p:nvPr/>
          </p:nvSpPr>
          <p:spPr>
            <a:xfrm>
              <a:off x="4903761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0" name="object 390"/>
            <p:cNvSpPr/>
            <p:nvPr/>
          </p:nvSpPr>
          <p:spPr>
            <a:xfrm>
              <a:off x="4958037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1" name="object 391"/>
            <p:cNvSpPr/>
            <p:nvPr/>
          </p:nvSpPr>
          <p:spPr>
            <a:xfrm>
              <a:off x="5012313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2" name="object 392"/>
            <p:cNvSpPr/>
            <p:nvPr/>
          </p:nvSpPr>
          <p:spPr>
            <a:xfrm>
              <a:off x="5066590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3" name="object 393"/>
            <p:cNvSpPr/>
            <p:nvPr/>
          </p:nvSpPr>
          <p:spPr>
            <a:xfrm>
              <a:off x="5120866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4" name="object 394"/>
            <p:cNvSpPr/>
            <p:nvPr/>
          </p:nvSpPr>
          <p:spPr>
            <a:xfrm>
              <a:off x="5175143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5" name="object 395"/>
            <p:cNvSpPr/>
            <p:nvPr/>
          </p:nvSpPr>
          <p:spPr>
            <a:xfrm>
              <a:off x="5229420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6" name="object 396"/>
            <p:cNvSpPr/>
            <p:nvPr/>
          </p:nvSpPr>
          <p:spPr>
            <a:xfrm>
              <a:off x="528369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7" name="object 397"/>
            <p:cNvSpPr/>
            <p:nvPr/>
          </p:nvSpPr>
          <p:spPr>
            <a:xfrm>
              <a:off x="533797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8" name="object 398"/>
            <p:cNvSpPr/>
            <p:nvPr/>
          </p:nvSpPr>
          <p:spPr>
            <a:xfrm>
              <a:off x="5392248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99" name="object 399"/>
            <p:cNvSpPr/>
            <p:nvPr/>
          </p:nvSpPr>
          <p:spPr>
            <a:xfrm>
              <a:off x="5446524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0" name="object 400"/>
            <p:cNvSpPr/>
            <p:nvPr/>
          </p:nvSpPr>
          <p:spPr>
            <a:xfrm>
              <a:off x="5500801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1" name="object 401"/>
            <p:cNvSpPr/>
            <p:nvPr/>
          </p:nvSpPr>
          <p:spPr>
            <a:xfrm>
              <a:off x="5555078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2" name="object 402"/>
            <p:cNvSpPr/>
            <p:nvPr/>
          </p:nvSpPr>
          <p:spPr>
            <a:xfrm>
              <a:off x="5609354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3" name="object 403"/>
            <p:cNvSpPr/>
            <p:nvPr/>
          </p:nvSpPr>
          <p:spPr>
            <a:xfrm>
              <a:off x="5663630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4" name="object 404"/>
            <p:cNvSpPr/>
            <p:nvPr/>
          </p:nvSpPr>
          <p:spPr>
            <a:xfrm>
              <a:off x="5717906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5" name="object 405"/>
            <p:cNvSpPr/>
            <p:nvPr/>
          </p:nvSpPr>
          <p:spPr>
            <a:xfrm>
              <a:off x="5772183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6" name="object 406"/>
            <p:cNvSpPr/>
            <p:nvPr/>
          </p:nvSpPr>
          <p:spPr>
            <a:xfrm>
              <a:off x="5826459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7" name="object 407"/>
            <p:cNvSpPr/>
            <p:nvPr/>
          </p:nvSpPr>
          <p:spPr>
            <a:xfrm>
              <a:off x="588073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8" name="object 408"/>
            <p:cNvSpPr/>
            <p:nvPr/>
          </p:nvSpPr>
          <p:spPr>
            <a:xfrm>
              <a:off x="5935012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9" name="object 409"/>
            <p:cNvSpPr/>
            <p:nvPr/>
          </p:nvSpPr>
          <p:spPr>
            <a:xfrm>
              <a:off x="5989289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0" name="object 410"/>
            <p:cNvSpPr/>
            <p:nvPr/>
          </p:nvSpPr>
          <p:spPr>
            <a:xfrm>
              <a:off x="6043565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1" name="object 411"/>
            <p:cNvSpPr/>
            <p:nvPr/>
          </p:nvSpPr>
          <p:spPr>
            <a:xfrm>
              <a:off x="6097841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2" name="object 412"/>
            <p:cNvSpPr/>
            <p:nvPr/>
          </p:nvSpPr>
          <p:spPr>
            <a:xfrm>
              <a:off x="6152117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3" name="object 413"/>
            <p:cNvSpPr/>
            <p:nvPr/>
          </p:nvSpPr>
          <p:spPr>
            <a:xfrm>
              <a:off x="6206394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4" name="object 414"/>
            <p:cNvSpPr/>
            <p:nvPr/>
          </p:nvSpPr>
          <p:spPr>
            <a:xfrm>
              <a:off x="6260670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5" name="object 415"/>
            <p:cNvSpPr/>
            <p:nvPr/>
          </p:nvSpPr>
          <p:spPr>
            <a:xfrm>
              <a:off x="6314947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6" name="object 416"/>
            <p:cNvSpPr/>
            <p:nvPr/>
          </p:nvSpPr>
          <p:spPr>
            <a:xfrm>
              <a:off x="6369224" y="1680256"/>
              <a:ext cx="9525" cy="18490"/>
            </a:xfrm>
            <a:custGeom>
              <a:avLst/>
              <a:gdLst/>
              <a:ahLst/>
              <a:cxnLst/>
              <a:rect l="l" t="t" r="r" b="b"/>
              <a:pathLst>
                <a:path w="10795" h="20955">
                  <a:moveTo>
                    <a:pt x="10252" y="20473"/>
                  </a:moveTo>
                  <a:lnTo>
                    <a:pt x="0" y="20473"/>
                  </a:lnTo>
                  <a:lnTo>
                    <a:pt x="0" y="0"/>
                  </a:lnTo>
                  <a:lnTo>
                    <a:pt x="10252" y="0"/>
                  </a:lnTo>
                  <a:lnTo>
                    <a:pt x="10252" y="2047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4" name="object 424"/>
            <p:cNvSpPr txBox="1"/>
            <p:nvPr/>
          </p:nvSpPr>
          <p:spPr>
            <a:xfrm>
              <a:off x="3712326" y="1604377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8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25" name="object 425"/>
            <p:cNvSpPr txBox="1"/>
            <p:nvPr/>
          </p:nvSpPr>
          <p:spPr>
            <a:xfrm>
              <a:off x="4816737" y="3517001"/>
              <a:ext cx="1006288" cy="185118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marL="11206">
                <a:spcBef>
                  <a:spcPts val="124"/>
                </a:spcBef>
              </a:pPr>
              <a:r>
                <a:rPr sz="1100" spc="-31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Review</a:t>
              </a:r>
              <a:r>
                <a:rPr sz="1100" spc="-11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100" spc="-3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ategory</a:t>
              </a:r>
              <a:endParaRPr sz="1100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426" name="object 426"/>
            <p:cNvSpPr txBox="1"/>
            <p:nvPr/>
          </p:nvSpPr>
          <p:spPr>
            <a:xfrm>
              <a:off x="3484414" y="1391744"/>
              <a:ext cx="128240" cy="1467069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1015"/>
                </a:lnSpc>
              </a:pPr>
              <a:r>
                <a:rPr sz="1050" spc="-35" dirty="0">
                  <a:solidFill>
                    <a:srgbClr val="252423"/>
                  </a:solidFill>
                  <a:latin typeface="Trebuchet MS"/>
                  <a:cs typeface="Trebuchet MS"/>
                </a:rPr>
                <a:t>Average Sentence</a:t>
              </a:r>
              <a:r>
                <a:rPr sz="1050" spc="-124" dirty="0">
                  <a:solidFill>
                    <a:srgbClr val="252423"/>
                  </a:solidFill>
                  <a:latin typeface="Trebuchet MS"/>
                  <a:cs typeface="Trebuchet MS"/>
                </a:rPr>
                <a:t> </a:t>
              </a:r>
              <a:r>
                <a:rPr sz="1050" spc="-44" dirty="0">
                  <a:solidFill>
                    <a:srgbClr val="252423"/>
                  </a:solidFill>
                  <a:latin typeface="Trebuchet MS"/>
                  <a:cs typeface="Trebuchet MS"/>
                </a:rPr>
                <a:t>Count</a:t>
              </a:r>
              <a:endParaRPr sz="1050" dirty="0">
                <a:latin typeface="Trebuchet MS"/>
                <a:cs typeface="Trebuchet MS"/>
              </a:endParaRPr>
            </a:p>
          </p:txBody>
        </p:sp>
        <p:sp>
          <p:nvSpPr>
            <p:cNvPr id="427" name="object 427"/>
            <p:cNvSpPr txBox="1"/>
            <p:nvPr/>
          </p:nvSpPr>
          <p:spPr>
            <a:xfrm>
              <a:off x="4187574" y="3247858"/>
              <a:ext cx="656665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Video</a:t>
              </a:r>
              <a:r>
                <a:rPr sz="838" spc="-44" dirty="0">
                  <a:solidFill>
                    <a:srgbClr val="605D5C"/>
                  </a:solidFill>
                  <a:latin typeface="Segoe UI"/>
                  <a:cs typeface="Segoe UI"/>
                </a:rPr>
                <a:t> </a:t>
              </a: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Games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28" name="object 428"/>
            <p:cNvSpPr txBox="1"/>
            <p:nvPr/>
          </p:nvSpPr>
          <p:spPr>
            <a:xfrm>
              <a:off x="5163678" y="3247858"/>
              <a:ext cx="312084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Books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29" name="object 429"/>
            <p:cNvSpPr txBox="1"/>
            <p:nvPr/>
          </p:nvSpPr>
          <p:spPr>
            <a:xfrm>
              <a:off x="5861721" y="3233264"/>
              <a:ext cx="523875" cy="302112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83488" marR="4483" indent="-72842">
                <a:lnSpc>
                  <a:spcPct val="113199"/>
                </a:lnSpc>
                <a:spcBef>
                  <a:spcPts val="84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Home</a:t>
              </a:r>
              <a:r>
                <a:rPr sz="838" spc="-71" dirty="0">
                  <a:solidFill>
                    <a:srgbClr val="605D5C"/>
                  </a:solidFill>
                  <a:latin typeface="Segoe UI"/>
                  <a:cs typeface="Segoe UI"/>
                </a:rPr>
                <a:t> </a:t>
              </a: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and  </a:t>
              </a: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Kitchen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30" name="object 430"/>
            <p:cNvSpPr/>
            <p:nvPr/>
          </p:nvSpPr>
          <p:spPr>
            <a:xfrm>
              <a:off x="4397113" y="1355345"/>
              <a:ext cx="203254" cy="173525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1" name="object 431"/>
            <p:cNvSpPr/>
            <p:nvPr/>
          </p:nvSpPr>
          <p:spPr>
            <a:xfrm>
              <a:off x="5201059" y="1741675"/>
              <a:ext cx="203254" cy="173525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2" name="object 432"/>
            <p:cNvSpPr txBox="1"/>
            <p:nvPr/>
          </p:nvSpPr>
          <p:spPr>
            <a:xfrm>
              <a:off x="4458276" y="1373142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9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33" name="object 433"/>
            <p:cNvSpPr txBox="1"/>
            <p:nvPr/>
          </p:nvSpPr>
          <p:spPr>
            <a:xfrm>
              <a:off x="5262223" y="1759472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6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434" name="object 434"/>
            <p:cNvSpPr txBox="1"/>
            <p:nvPr/>
          </p:nvSpPr>
          <p:spPr>
            <a:xfrm>
              <a:off x="6066168" y="1980960"/>
              <a:ext cx="81243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5</a:t>
              </a:r>
              <a:endParaRPr sz="838" dirty="0">
                <a:latin typeface="Segoe UI"/>
                <a:cs typeface="Segoe UI"/>
              </a:endParaRPr>
            </a:p>
          </p:txBody>
        </p:sp>
      </p:grpSp>
      <p:grpSp>
        <p:nvGrpSpPr>
          <p:cNvPr id="443" name="Group 442">
            <a:extLst>
              <a:ext uri="{FF2B5EF4-FFF2-40B4-BE49-F238E27FC236}">
                <a16:creationId xmlns:a16="http://schemas.microsoft.com/office/drawing/2014/main" id="{1AD3C983-A510-4812-B8C1-7D6630ACAF60}"/>
              </a:ext>
            </a:extLst>
          </p:cNvPr>
          <p:cNvGrpSpPr/>
          <p:nvPr/>
        </p:nvGrpSpPr>
        <p:grpSpPr>
          <a:xfrm>
            <a:off x="506954" y="2652044"/>
            <a:ext cx="2908428" cy="4093871"/>
            <a:chOff x="352547" y="2561144"/>
            <a:chExt cx="2908428" cy="4093871"/>
          </a:xfrm>
        </p:grpSpPr>
        <p:sp>
          <p:nvSpPr>
            <p:cNvPr id="2" name="object 2"/>
            <p:cNvSpPr txBox="1"/>
            <p:nvPr/>
          </p:nvSpPr>
          <p:spPr>
            <a:xfrm>
              <a:off x="669021" y="6005123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" name="object 3"/>
            <p:cNvSpPr/>
            <p:nvPr/>
          </p:nvSpPr>
          <p:spPr>
            <a:xfrm>
              <a:off x="917995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" name="object 4"/>
            <p:cNvSpPr/>
            <p:nvPr/>
          </p:nvSpPr>
          <p:spPr>
            <a:xfrm>
              <a:off x="972262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" name="object 5"/>
            <p:cNvSpPr/>
            <p:nvPr/>
          </p:nvSpPr>
          <p:spPr>
            <a:xfrm>
              <a:off x="1026528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" name="object 6"/>
            <p:cNvSpPr/>
            <p:nvPr/>
          </p:nvSpPr>
          <p:spPr>
            <a:xfrm>
              <a:off x="1080795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7" name="object 7"/>
            <p:cNvSpPr/>
            <p:nvPr/>
          </p:nvSpPr>
          <p:spPr>
            <a:xfrm>
              <a:off x="1731991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" name="object 8"/>
            <p:cNvSpPr/>
            <p:nvPr/>
          </p:nvSpPr>
          <p:spPr>
            <a:xfrm>
              <a:off x="2383187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9" name="object 9"/>
            <p:cNvSpPr/>
            <p:nvPr/>
          </p:nvSpPr>
          <p:spPr>
            <a:xfrm>
              <a:off x="3034384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0" name="object 10"/>
            <p:cNvSpPr/>
            <p:nvPr/>
          </p:nvSpPr>
          <p:spPr>
            <a:xfrm>
              <a:off x="3088650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1" name="object 11"/>
            <p:cNvSpPr/>
            <p:nvPr/>
          </p:nvSpPr>
          <p:spPr>
            <a:xfrm>
              <a:off x="3142917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2" name="object 12"/>
            <p:cNvSpPr/>
            <p:nvPr/>
          </p:nvSpPr>
          <p:spPr>
            <a:xfrm>
              <a:off x="3197183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3" name="object 13"/>
            <p:cNvSpPr/>
            <p:nvPr/>
          </p:nvSpPr>
          <p:spPr>
            <a:xfrm>
              <a:off x="3251450" y="5505033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4" name="object 14"/>
            <p:cNvSpPr txBox="1"/>
            <p:nvPr/>
          </p:nvSpPr>
          <p:spPr>
            <a:xfrm>
              <a:off x="610515" y="5424662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2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917995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6" name="object 16"/>
            <p:cNvSpPr/>
            <p:nvPr/>
          </p:nvSpPr>
          <p:spPr>
            <a:xfrm>
              <a:off x="972262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7" name="object 17"/>
            <p:cNvSpPr/>
            <p:nvPr/>
          </p:nvSpPr>
          <p:spPr>
            <a:xfrm>
              <a:off x="1026528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8" name="object 18"/>
            <p:cNvSpPr/>
            <p:nvPr/>
          </p:nvSpPr>
          <p:spPr>
            <a:xfrm>
              <a:off x="1080795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19" name="object 19"/>
            <p:cNvSpPr/>
            <p:nvPr/>
          </p:nvSpPr>
          <p:spPr>
            <a:xfrm>
              <a:off x="1731991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0" name="object 20"/>
            <p:cNvSpPr/>
            <p:nvPr/>
          </p:nvSpPr>
          <p:spPr>
            <a:xfrm>
              <a:off x="2383187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1" name="object 21"/>
            <p:cNvSpPr/>
            <p:nvPr/>
          </p:nvSpPr>
          <p:spPr>
            <a:xfrm>
              <a:off x="3034384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2" name="object 22"/>
            <p:cNvSpPr/>
            <p:nvPr/>
          </p:nvSpPr>
          <p:spPr>
            <a:xfrm>
              <a:off x="3088650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3" name="object 23"/>
            <p:cNvSpPr/>
            <p:nvPr/>
          </p:nvSpPr>
          <p:spPr>
            <a:xfrm>
              <a:off x="3142917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4" name="object 24"/>
            <p:cNvSpPr/>
            <p:nvPr/>
          </p:nvSpPr>
          <p:spPr>
            <a:xfrm>
              <a:off x="3197183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5" name="object 25"/>
            <p:cNvSpPr/>
            <p:nvPr/>
          </p:nvSpPr>
          <p:spPr>
            <a:xfrm>
              <a:off x="3251450" y="492457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6" name="object 26"/>
            <p:cNvSpPr txBox="1"/>
            <p:nvPr/>
          </p:nvSpPr>
          <p:spPr>
            <a:xfrm>
              <a:off x="610515" y="4844200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4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917995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8" name="object 28"/>
            <p:cNvSpPr/>
            <p:nvPr/>
          </p:nvSpPr>
          <p:spPr>
            <a:xfrm>
              <a:off x="972262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29" name="object 29"/>
            <p:cNvSpPr/>
            <p:nvPr/>
          </p:nvSpPr>
          <p:spPr>
            <a:xfrm>
              <a:off x="1026528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0" name="object 30"/>
            <p:cNvSpPr/>
            <p:nvPr/>
          </p:nvSpPr>
          <p:spPr>
            <a:xfrm>
              <a:off x="1080795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1" name="object 31"/>
            <p:cNvSpPr/>
            <p:nvPr/>
          </p:nvSpPr>
          <p:spPr>
            <a:xfrm>
              <a:off x="1731991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2" name="object 32"/>
            <p:cNvSpPr/>
            <p:nvPr/>
          </p:nvSpPr>
          <p:spPr>
            <a:xfrm>
              <a:off x="2383187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3" name="object 33"/>
            <p:cNvSpPr/>
            <p:nvPr/>
          </p:nvSpPr>
          <p:spPr>
            <a:xfrm>
              <a:off x="3034384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4" name="object 34"/>
            <p:cNvSpPr/>
            <p:nvPr/>
          </p:nvSpPr>
          <p:spPr>
            <a:xfrm>
              <a:off x="3088650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5" name="object 35"/>
            <p:cNvSpPr/>
            <p:nvPr/>
          </p:nvSpPr>
          <p:spPr>
            <a:xfrm>
              <a:off x="3142917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6" name="object 36"/>
            <p:cNvSpPr/>
            <p:nvPr/>
          </p:nvSpPr>
          <p:spPr>
            <a:xfrm>
              <a:off x="3197183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7" name="object 37"/>
            <p:cNvSpPr/>
            <p:nvPr/>
          </p:nvSpPr>
          <p:spPr>
            <a:xfrm>
              <a:off x="3251450" y="43441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38" name="object 38"/>
            <p:cNvSpPr txBox="1"/>
            <p:nvPr/>
          </p:nvSpPr>
          <p:spPr>
            <a:xfrm>
              <a:off x="610515" y="4263738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6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39" name="object 39"/>
            <p:cNvSpPr/>
            <p:nvPr/>
          </p:nvSpPr>
          <p:spPr>
            <a:xfrm>
              <a:off x="917995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0" name="object 40"/>
            <p:cNvSpPr/>
            <p:nvPr/>
          </p:nvSpPr>
          <p:spPr>
            <a:xfrm>
              <a:off x="972262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1" name="object 41"/>
            <p:cNvSpPr/>
            <p:nvPr/>
          </p:nvSpPr>
          <p:spPr>
            <a:xfrm>
              <a:off x="1026528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2" name="object 42"/>
            <p:cNvSpPr/>
            <p:nvPr/>
          </p:nvSpPr>
          <p:spPr>
            <a:xfrm>
              <a:off x="1080795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3" name="object 43"/>
            <p:cNvSpPr/>
            <p:nvPr/>
          </p:nvSpPr>
          <p:spPr>
            <a:xfrm>
              <a:off x="1731991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4" name="object 44"/>
            <p:cNvSpPr/>
            <p:nvPr/>
          </p:nvSpPr>
          <p:spPr>
            <a:xfrm>
              <a:off x="2383187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5" name="object 45"/>
            <p:cNvSpPr/>
            <p:nvPr/>
          </p:nvSpPr>
          <p:spPr>
            <a:xfrm>
              <a:off x="3034384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6" name="object 46"/>
            <p:cNvSpPr/>
            <p:nvPr/>
          </p:nvSpPr>
          <p:spPr>
            <a:xfrm>
              <a:off x="3088650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7" name="object 47"/>
            <p:cNvSpPr/>
            <p:nvPr/>
          </p:nvSpPr>
          <p:spPr>
            <a:xfrm>
              <a:off x="3142917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8" name="object 48"/>
            <p:cNvSpPr/>
            <p:nvPr/>
          </p:nvSpPr>
          <p:spPr>
            <a:xfrm>
              <a:off x="3197183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49" name="object 49"/>
            <p:cNvSpPr/>
            <p:nvPr/>
          </p:nvSpPr>
          <p:spPr>
            <a:xfrm>
              <a:off x="3251450" y="3763647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0" name="object 50"/>
            <p:cNvSpPr txBox="1"/>
            <p:nvPr/>
          </p:nvSpPr>
          <p:spPr>
            <a:xfrm>
              <a:off x="610515" y="3683277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8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917995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2" name="object 52"/>
            <p:cNvSpPr/>
            <p:nvPr/>
          </p:nvSpPr>
          <p:spPr>
            <a:xfrm>
              <a:off x="972262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3" name="object 53"/>
            <p:cNvSpPr/>
            <p:nvPr/>
          </p:nvSpPr>
          <p:spPr>
            <a:xfrm>
              <a:off x="1026528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4" name="object 54"/>
            <p:cNvSpPr/>
            <p:nvPr/>
          </p:nvSpPr>
          <p:spPr>
            <a:xfrm>
              <a:off x="1080795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5" name="object 55"/>
            <p:cNvSpPr/>
            <p:nvPr/>
          </p:nvSpPr>
          <p:spPr>
            <a:xfrm>
              <a:off x="1731991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6" name="object 56"/>
            <p:cNvSpPr/>
            <p:nvPr/>
          </p:nvSpPr>
          <p:spPr>
            <a:xfrm>
              <a:off x="2383187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7" name="object 57"/>
            <p:cNvSpPr/>
            <p:nvPr/>
          </p:nvSpPr>
          <p:spPr>
            <a:xfrm>
              <a:off x="3034384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8" name="object 58"/>
            <p:cNvSpPr/>
            <p:nvPr/>
          </p:nvSpPr>
          <p:spPr>
            <a:xfrm>
              <a:off x="3088650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59" name="object 59"/>
            <p:cNvSpPr/>
            <p:nvPr/>
          </p:nvSpPr>
          <p:spPr>
            <a:xfrm>
              <a:off x="3142917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0" name="object 60"/>
            <p:cNvSpPr/>
            <p:nvPr/>
          </p:nvSpPr>
          <p:spPr>
            <a:xfrm>
              <a:off x="3197183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1" name="object 61"/>
            <p:cNvSpPr/>
            <p:nvPr/>
          </p:nvSpPr>
          <p:spPr>
            <a:xfrm>
              <a:off x="3251450" y="3183186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10795" h="10795">
                  <a:moveTo>
                    <a:pt x="10250" y="10233"/>
                  </a:moveTo>
                  <a:lnTo>
                    <a:pt x="0" y="10233"/>
                  </a:lnTo>
                  <a:lnTo>
                    <a:pt x="0" y="0"/>
                  </a:lnTo>
                  <a:lnTo>
                    <a:pt x="10250" y="0"/>
                  </a:lnTo>
                  <a:lnTo>
                    <a:pt x="10250" y="10233"/>
                  </a:lnTo>
                  <a:close/>
                </a:path>
              </a:pathLst>
            </a:custGeom>
            <a:solidFill>
              <a:srgbClr val="C7C6C3"/>
            </a:solid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62" name="object 62"/>
            <p:cNvSpPr txBox="1"/>
            <p:nvPr/>
          </p:nvSpPr>
          <p:spPr>
            <a:xfrm>
              <a:off x="552008" y="3102815"/>
              <a:ext cx="286871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10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3" name="object 63"/>
            <p:cNvSpPr txBox="1"/>
            <p:nvPr/>
          </p:nvSpPr>
          <p:spPr>
            <a:xfrm>
              <a:off x="1590347" y="6454508"/>
              <a:ext cx="1005728" cy="200507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marL="11206">
                <a:spcBef>
                  <a:spcPts val="124"/>
                </a:spcBef>
              </a:pPr>
              <a:r>
                <a:rPr sz="1200" spc="-31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Review</a:t>
              </a:r>
              <a:r>
                <a:rPr sz="1200" spc="-119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200" spc="-3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ategory</a:t>
              </a:r>
              <a:endParaRPr sz="1200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64" name="object 64"/>
            <p:cNvSpPr txBox="1"/>
            <p:nvPr/>
          </p:nvSpPr>
          <p:spPr>
            <a:xfrm>
              <a:off x="352547" y="4098480"/>
              <a:ext cx="153888" cy="1080807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1206">
                <a:lnSpc>
                  <a:spcPts val="1204"/>
                </a:lnSpc>
              </a:pPr>
              <a:r>
                <a:rPr sz="1147" spc="-57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Rating</a:t>
              </a:r>
              <a:r>
                <a:rPr sz="1147" spc="-128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147" spc="-66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Percentage</a:t>
              </a:r>
              <a:endParaRPr sz="1147" dirty="0">
                <a:latin typeface="Arial Narrow" panose="020B0606020202030204" pitchFamily="34" charset="0"/>
                <a:cs typeface="Trebuchet MS"/>
              </a:endParaRPr>
            </a:p>
          </p:txBody>
        </p:sp>
        <p:sp>
          <p:nvSpPr>
            <p:cNvPr id="65" name="object 65"/>
            <p:cNvSpPr txBox="1"/>
            <p:nvPr/>
          </p:nvSpPr>
          <p:spPr>
            <a:xfrm>
              <a:off x="1178487" y="6170873"/>
              <a:ext cx="1070722" cy="302112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83488" marR="4483" indent="-72842">
                <a:lnSpc>
                  <a:spcPct val="113199"/>
                </a:lnSpc>
                <a:spcBef>
                  <a:spcPts val="84"/>
                </a:spcBef>
                <a:tabLst>
                  <a:tab pos="769885" algn="l"/>
                </a:tabLst>
              </a:pP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Home</a:t>
              </a: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 </a:t>
              </a: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and</a:t>
              </a:r>
              <a:r>
                <a:rPr sz="838" dirty="0">
                  <a:solidFill>
                    <a:srgbClr val="605D5C"/>
                  </a:solidFill>
                  <a:latin typeface="Segoe UI"/>
                  <a:cs typeface="Segoe UI"/>
                </a:rPr>
                <a:t>	</a:t>
              </a: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Books  Kitchen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6" name="object 66"/>
            <p:cNvSpPr txBox="1"/>
            <p:nvPr/>
          </p:nvSpPr>
          <p:spPr>
            <a:xfrm>
              <a:off x="2571792" y="6170873"/>
              <a:ext cx="348503" cy="302112"/>
            </a:xfrm>
            <a:prstGeom prst="rect">
              <a:avLst/>
            </a:prstGeom>
          </p:spPr>
          <p:txBody>
            <a:bodyPr vert="horz" wrap="square" lIns="0" tIns="10646" rIns="0" bIns="0" rtlCol="0">
              <a:spAutoFit/>
            </a:bodyPr>
            <a:lstStyle/>
            <a:p>
              <a:pPr marL="11206" marR="4483" indent="23534">
                <a:lnSpc>
                  <a:spcPct val="113199"/>
                </a:lnSpc>
                <a:spcBef>
                  <a:spcPts val="84"/>
                </a:spcBef>
              </a:pPr>
              <a:r>
                <a:rPr sz="838" spc="4" dirty="0">
                  <a:solidFill>
                    <a:srgbClr val="605D5C"/>
                  </a:solidFill>
                  <a:latin typeface="Segoe UI"/>
                  <a:cs typeface="Segoe UI"/>
                </a:rPr>
                <a:t>Video  </a:t>
              </a:r>
              <a:r>
                <a:rPr sz="838" spc="9" dirty="0">
                  <a:solidFill>
                    <a:srgbClr val="605D5C"/>
                  </a:solidFill>
                  <a:latin typeface="Segoe UI"/>
                  <a:cs typeface="Segoe UI"/>
                </a:rPr>
                <a:t>Games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7" name="object 67"/>
            <p:cNvSpPr txBox="1"/>
            <p:nvPr/>
          </p:nvSpPr>
          <p:spPr>
            <a:xfrm>
              <a:off x="1341665" y="5896980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9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8" name="object 68"/>
            <p:cNvSpPr txBox="1"/>
            <p:nvPr/>
          </p:nvSpPr>
          <p:spPr>
            <a:xfrm>
              <a:off x="1994518" y="5950987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5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69" name="object 69"/>
            <p:cNvSpPr txBox="1"/>
            <p:nvPr/>
          </p:nvSpPr>
          <p:spPr>
            <a:xfrm>
              <a:off x="2647371" y="5914984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7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0" name="object 70"/>
            <p:cNvSpPr txBox="1"/>
            <p:nvPr/>
          </p:nvSpPr>
          <p:spPr>
            <a:xfrm>
              <a:off x="1341665" y="5679235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6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1" name="object 71"/>
            <p:cNvSpPr txBox="1"/>
            <p:nvPr/>
          </p:nvSpPr>
          <p:spPr>
            <a:xfrm>
              <a:off x="1994518" y="5782190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7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2" name="object 72"/>
            <p:cNvSpPr txBox="1"/>
            <p:nvPr/>
          </p:nvSpPr>
          <p:spPr>
            <a:xfrm>
              <a:off x="2647371" y="5699506"/>
              <a:ext cx="16976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8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3" name="object 73"/>
            <p:cNvSpPr txBox="1"/>
            <p:nvPr/>
          </p:nvSpPr>
          <p:spPr>
            <a:xfrm>
              <a:off x="1312412" y="5440725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1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4" name="object 74"/>
            <p:cNvSpPr txBox="1"/>
            <p:nvPr/>
          </p:nvSpPr>
          <p:spPr>
            <a:xfrm>
              <a:off x="1965265" y="5495118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13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5" name="object 75"/>
            <p:cNvSpPr txBox="1"/>
            <p:nvPr/>
          </p:nvSpPr>
          <p:spPr>
            <a:xfrm>
              <a:off x="2618117" y="5369489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15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6" name="object 76"/>
            <p:cNvSpPr txBox="1"/>
            <p:nvPr/>
          </p:nvSpPr>
          <p:spPr>
            <a:xfrm>
              <a:off x="1312412" y="5017034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19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7" name="object 77"/>
            <p:cNvSpPr txBox="1"/>
            <p:nvPr/>
          </p:nvSpPr>
          <p:spPr>
            <a:xfrm>
              <a:off x="1965265" y="4936713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26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8" name="object 78"/>
            <p:cNvSpPr txBox="1"/>
            <p:nvPr/>
          </p:nvSpPr>
          <p:spPr>
            <a:xfrm>
              <a:off x="2618117" y="4763193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27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79" name="object 79"/>
            <p:cNvSpPr txBox="1"/>
            <p:nvPr/>
          </p:nvSpPr>
          <p:spPr>
            <a:xfrm>
              <a:off x="1312412" y="3928473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56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80" name="object 80"/>
            <p:cNvSpPr txBox="1"/>
            <p:nvPr/>
          </p:nvSpPr>
          <p:spPr>
            <a:xfrm>
              <a:off x="1965265" y="3842707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50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81" name="object 81"/>
            <p:cNvSpPr txBox="1"/>
            <p:nvPr/>
          </p:nvSpPr>
          <p:spPr>
            <a:xfrm>
              <a:off x="2618117" y="3748138"/>
              <a:ext cx="228599" cy="141958"/>
            </a:xfrm>
            <a:prstGeom prst="rect">
              <a:avLst/>
            </a:prstGeom>
          </p:spPr>
          <p:txBody>
            <a:bodyPr vert="horz" wrap="square" lIns="0" tIns="12886" rIns="0" bIns="0" rtlCol="0">
              <a:spAutoFit/>
            </a:bodyPr>
            <a:lstStyle/>
            <a:p>
              <a:pPr marL="11206">
                <a:spcBef>
                  <a:spcPts val="101"/>
                </a:spcBef>
              </a:pPr>
              <a:r>
                <a:rPr sz="838" spc="9" dirty="0">
                  <a:solidFill>
                    <a:srgbClr val="FFFFFF"/>
                  </a:solidFill>
                  <a:latin typeface="Segoe UI"/>
                  <a:cs typeface="Segoe UI"/>
                </a:rPr>
                <a:t>43%</a:t>
              </a:r>
              <a:endParaRPr sz="838" dirty="0">
                <a:latin typeface="Segoe UI"/>
                <a:cs typeface="Segoe UI"/>
              </a:endParaRPr>
            </a:p>
          </p:txBody>
        </p:sp>
        <p:sp>
          <p:nvSpPr>
            <p:cNvPr id="82" name="object 82"/>
            <p:cNvSpPr/>
            <p:nvPr/>
          </p:nvSpPr>
          <p:spPr>
            <a:xfrm>
              <a:off x="1470714" y="2926999"/>
              <a:ext cx="89416" cy="89336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3" name="object 83"/>
            <p:cNvSpPr/>
            <p:nvPr/>
          </p:nvSpPr>
          <p:spPr>
            <a:xfrm>
              <a:off x="1696583" y="2926999"/>
              <a:ext cx="89416" cy="89336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4" name="object 84"/>
            <p:cNvSpPr/>
            <p:nvPr/>
          </p:nvSpPr>
          <p:spPr>
            <a:xfrm>
              <a:off x="1923246" y="2926999"/>
              <a:ext cx="96866" cy="89336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5" name="object 85"/>
            <p:cNvSpPr/>
            <p:nvPr/>
          </p:nvSpPr>
          <p:spPr>
            <a:xfrm>
              <a:off x="2157355" y="2926999"/>
              <a:ext cx="89416" cy="89336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6" name="object 86"/>
            <p:cNvSpPr/>
            <p:nvPr/>
          </p:nvSpPr>
          <p:spPr>
            <a:xfrm>
              <a:off x="2383223" y="2926999"/>
              <a:ext cx="89416" cy="89336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88" dirty="0"/>
            </a:p>
          </p:txBody>
        </p:sp>
        <p:sp>
          <p:nvSpPr>
            <p:cNvPr id="87" name="object 87"/>
            <p:cNvSpPr txBox="1"/>
            <p:nvPr/>
          </p:nvSpPr>
          <p:spPr>
            <a:xfrm>
              <a:off x="641190" y="2561144"/>
              <a:ext cx="2374268" cy="473980"/>
            </a:xfrm>
            <a:prstGeom prst="rect">
              <a:avLst/>
            </a:prstGeom>
          </p:spPr>
          <p:txBody>
            <a:bodyPr vert="horz" wrap="square" lIns="0" tIns="15688" rIns="0" bIns="0" rtlCol="0">
              <a:spAutoFit/>
            </a:bodyPr>
            <a:lstStyle/>
            <a:p>
              <a:pPr algn="ctr">
                <a:spcBef>
                  <a:spcPts val="124"/>
                </a:spcBef>
              </a:pPr>
              <a:r>
                <a:rPr sz="1300" b="1" spc="-44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Percentage </a:t>
              </a:r>
              <a:r>
                <a:rPr sz="1300" b="1" spc="-71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of </a:t>
              </a:r>
              <a:r>
                <a:rPr sz="1300" b="1" spc="-22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Ratings </a:t>
              </a:r>
              <a:r>
                <a:rPr sz="1300" b="1" spc="-40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by</a:t>
              </a:r>
              <a:r>
                <a:rPr sz="1300" b="1" spc="-154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 </a:t>
              </a:r>
              <a:r>
                <a:rPr sz="1300" b="1" spc="-35" dirty="0">
                  <a:solidFill>
                    <a:srgbClr val="252423"/>
                  </a:solidFill>
                  <a:latin typeface="Arial Narrow" panose="020B0606020202030204" pitchFamily="34" charset="0"/>
                  <a:cs typeface="Trebuchet MS"/>
                </a:rPr>
                <a:t>Category</a:t>
              </a:r>
              <a:endParaRPr sz="1300" b="1" dirty="0">
                <a:latin typeface="Arial Narrow" panose="020B0606020202030204" pitchFamily="34" charset="0"/>
                <a:cs typeface="Trebuchet MS"/>
              </a:endParaRPr>
            </a:p>
            <a:p>
              <a:pPr marR="38662" algn="ctr">
                <a:spcBef>
                  <a:spcPts val="913"/>
                </a:spcBef>
                <a:tabLst>
                  <a:tab pos="558083" algn="l"/>
                  <a:tab pos="787255" algn="l"/>
                  <a:tab pos="1016428" algn="l"/>
                  <a:tab pos="1245600" algn="l"/>
                  <a:tab pos="1475333" algn="l"/>
                </a:tabLst>
              </a:pPr>
              <a:r>
                <a:rPr sz="927" b="1" spc="9" dirty="0">
                  <a:solidFill>
                    <a:srgbClr val="605D5C"/>
                  </a:solidFill>
                  <a:latin typeface="Segoe UI"/>
                  <a:cs typeface="Segoe UI"/>
                </a:rPr>
                <a:t>Rating	</a:t>
              </a:r>
              <a:r>
                <a:rPr sz="927" spc="9" dirty="0">
                  <a:solidFill>
                    <a:srgbClr val="605D5C"/>
                  </a:solidFill>
                  <a:latin typeface="Segoe UI"/>
                  <a:cs typeface="Segoe UI"/>
                </a:rPr>
                <a:t>1	2	3	4	5</a:t>
              </a:r>
              <a:endParaRPr sz="927" dirty="0">
                <a:latin typeface="Segoe UI"/>
                <a:cs typeface="Segoe UI"/>
              </a:endParaRPr>
            </a:p>
          </p:txBody>
        </p:sp>
        <p:pic>
          <p:nvPicPr>
            <p:cNvPr id="437" name="Picture 436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143964" y="3156216"/>
              <a:ext cx="1833096" cy="2978577"/>
            </a:xfrm>
            <a:prstGeom prst="rect">
              <a:avLst/>
            </a:prstGeom>
          </p:spPr>
        </p:pic>
      </p:grpSp>
      <p:cxnSp>
        <p:nvCxnSpPr>
          <p:cNvPr id="438" name="Google Shape;1480;p34">
            <a:extLst>
              <a:ext uri="{FF2B5EF4-FFF2-40B4-BE49-F238E27FC236}">
                <a16:creationId xmlns:a16="http://schemas.microsoft.com/office/drawing/2014/main" id="{0F22E61A-90DB-4AEC-998E-CE83092DA2D5}"/>
              </a:ext>
            </a:extLst>
          </p:cNvPr>
          <p:cNvCxnSpPr>
            <a:cxnSpLocks/>
          </p:cNvCxnSpPr>
          <p:nvPr/>
        </p:nvCxnSpPr>
        <p:spPr>
          <a:xfrm>
            <a:off x="156721" y="486157"/>
            <a:ext cx="1017334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39" name="Google Shape;1480;p34">
            <a:extLst>
              <a:ext uri="{FF2B5EF4-FFF2-40B4-BE49-F238E27FC236}">
                <a16:creationId xmlns:a16="http://schemas.microsoft.com/office/drawing/2014/main" id="{FA3DD112-679C-4010-B371-46B8A3966D15}"/>
              </a:ext>
            </a:extLst>
          </p:cNvPr>
          <p:cNvCxnSpPr>
            <a:cxnSpLocks/>
          </p:cNvCxnSpPr>
          <p:nvPr/>
        </p:nvCxnSpPr>
        <p:spPr>
          <a:xfrm>
            <a:off x="5201059" y="486157"/>
            <a:ext cx="6792019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450" name="Picture 2" descr="See the source image">
            <a:extLst>
              <a:ext uri="{FF2B5EF4-FFF2-40B4-BE49-F238E27FC236}">
                <a16:creationId xmlns:a16="http://schemas.microsoft.com/office/drawing/2014/main" id="{A1BE1CC9-13D1-4DED-A3BD-6B02549381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4770" y="6358988"/>
            <a:ext cx="1620969" cy="52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1" name="Slide Number Placeholder 450">
            <a:extLst>
              <a:ext uri="{FF2B5EF4-FFF2-40B4-BE49-F238E27FC236}">
                <a16:creationId xmlns:a16="http://schemas.microsoft.com/office/drawing/2014/main" id="{2DEAAF41-7C69-4733-A087-A0AF4219C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5729A4-FE25-4C7A-A98B-1CBE1D27D1F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08947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3</TotalTime>
  <Words>2356</Words>
  <Application>Microsoft Office PowerPoint</Application>
  <PresentationFormat>Widescreen</PresentationFormat>
  <Paragraphs>919</Paragraphs>
  <Slides>3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52" baseType="lpstr">
      <vt:lpstr>Arial</vt:lpstr>
      <vt:lpstr>Arial Black</vt:lpstr>
      <vt:lpstr>Arial Narrow</vt:lpstr>
      <vt:lpstr>Calibri</vt:lpstr>
      <vt:lpstr>Calibri (Headings)</vt:lpstr>
      <vt:lpstr>Calibri Light</vt:lpstr>
      <vt:lpstr>Calibri Light (Headings)</vt:lpstr>
      <vt:lpstr>Fira Sans Extra Condensed Medium</vt:lpstr>
      <vt:lpstr>Linotype Univers W01</vt:lpstr>
      <vt:lpstr>Roboto</vt:lpstr>
      <vt:lpstr>Segoe MDL2 Assets</vt:lpstr>
      <vt:lpstr>Segoe UI</vt:lpstr>
      <vt:lpstr>Segoe UI Semibold</vt:lpstr>
      <vt:lpstr>Tahoma</vt:lpstr>
      <vt:lpstr>Times New Roman</vt:lpstr>
      <vt:lpstr>Trebuchet MS</vt:lpstr>
      <vt:lpstr>Office Theme</vt:lpstr>
      <vt:lpstr>think-cell Slide</vt:lpstr>
      <vt:lpstr>PowerPoint Presentation</vt:lpstr>
      <vt:lpstr>EXPLANATORY DATA ANALY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viewing Habits per Category: Home and Kitchen </vt:lpstr>
      <vt:lpstr>Reviewing Habits per Category: Books</vt:lpstr>
      <vt:lpstr>Reviewing Habits per Category: Video Gam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 FOR LISTENING</vt:lpstr>
      <vt:lpstr>APPENDIC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nh Dang</dc:creator>
  <cp:lastModifiedBy>Linh Dang</cp:lastModifiedBy>
  <cp:revision>122</cp:revision>
  <dcterms:created xsi:type="dcterms:W3CDTF">2020-10-06T20:52:03Z</dcterms:created>
  <dcterms:modified xsi:type="dcterms:W3CDTF">2020-10-07T23:43:03Z</dcterms:modified>
</cp:coreProperties>
</file>